
<file path=[Content_Types].xml><?xml version="1.0" encoding="utf-8"?>
<Types xmlns="http://schemas.openxmlformats.org/package/2006/content-types">
  <Default Extension="xml" ContentType="application/xml"/>
  <Default Extension="rels" ContentType="application/vnd.openxmlformats-package.relationships+xml"/>
  <Default Extension="png" ContentType="image/png"/>
  <Default Extension="jpeg" ContentType="image/jpeg"/>
  <Override PartName="/_rels/.rels" ContentType="application/vnd.openxmlformats-package.relationship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presentation.xml" ContentType="application/vnd.openxmlformats-officedocument.presentationml.presentation.main+xml"/>
  <Override PartName="/ppt/slideMasters/_rels/slideMaster9.xml.rels" ContentType="application/vnd.openxmlformats-package.relationships+xml"/>
  <Override PartName="/ppt/slideMasters/_rels/slideMaster8.xml.rels" ContentType="application/vnd.openxmlformats-package.relationships+xml"/>
  <Override PartName="/ppt/slideMasters/_rels/slideMaster26.xml.rels" ContentType="application/vnd.openxmlformats-package.relationships+xml"/>
  <Override PartName="/ppt/slideMasters/_rels/slideMaster7.xml.rels" ContentType="application/vnd.openxmlformats-package.relationships+xml"/>
  <Override PartName="/ppt/slideMasters/_rels/slideMaster27.xml.rels" ContentType="application/vnd.openxmlformats-package.relationships+xml"/>
  <Override PartName="/ppt/slideMasters/_rels/slideMaster13.xml.rels" ContentType="application/vnd.openxmlformats-package.relationships+xml"/>
  <Override PartName="/ppt/slideMasters/_rels/slideMaster2.xml.rels" ContentType="application/vnd.openxmlformats-package.relationships+xml"/>
  <Override PartName="/ppt/slideMasters/_rels/slideMaster14.xml.rels" ContentType="application/vnd.openxmlformats-package.relationships+xml"/>
  <Override PartName="/ppt/slideMasters/_rels/slideMaster3.xml.rels" ContentType="application/vnd.openxmlformats-package.relationships+xml"/>
  <Override PartName="/ppt/slideMasters/_rels/slideMaster15.xml.rels" ContentType="application/vnd.openxmlformats-package.relationships+xml"/>
  <Override PartName="/ppt/slideMasters/_rels/slideMaster31.xml.rels" ContentType="application/vnd.openxmlformats-package.relationships+xml"/>
  <Override PartName="/ppt/slideMasters/_rels/slideMaster29.xml.rels" ContentType="application/vnd.openxmlformats-package.relationships+xml"/>
  <Override PartName="/ppt/slideMasters/_rels/slideMaster28.xml.rels" ContentType="application/vnd.openxmlformats-package.relationships+xml"/>
  <Override PartName="/ppt/slideMasters/_rels/slideMaster30.xml.rels" ContentType="application/vnd.openxmlformats-package.relationships+xml"/>
  <Override PartName="/ppt/slideMasters/_rels/slideMaster16.xml.rels" ContentType="application/vnd.openxmlformats-package.relationships+xml"/>
  <Override PartName="/ppt/slideMasters/_rels/slideMaster5.xml.rels" ContentType="application/vnd.openxmlformats-package.relationships+xml"/>
  <Override PartName="/ppt/slideMasters/_rels/slideMaster17.xml.rels" ContentType="application/vnd.openxmlformats-package.relationships+xml"/>
  <Override PartName="/ppt/slideMasters/_rels/slideMaster6.xml.rels" ContentType="application/vnd.openxmlformats-package.relationships+xml"/>
  <Override PartName="/ppt/slideMasters/_rels/slideMaster18.xml.rels" ContentType="application/vnd.openxmlformats-package.relationships+xml"/>
  <Override PartName="/ppt/slideMasters/_rels/slideMaster20.xml.rels" ContentType="application/vnd.openxmlformats-package.relationships+xml"/>
  <Override PartName="/ppt/slideMasters/_rels/slideMaster19.xml.rels" ContentType="application/vnd.openxmlformats-package.relationships+xml"/>
  <Override PartName="/ppt/slideMasters/_rels/slideMaster21.xml.rels" ContentType="application/vnd.openxmlformats-package.relationships+xml"/>
  <Override PartName="/ppt/slideMasters/_rels/slideMaster22.xml.rels" ContentType="application/vnd.openxmlformats-package.relationships+xml"/>
  <Override PartName="/ppt/slideMasters/_rels/slideMaster23.xml.rels" ContentType="application/vnd.openxmlformats-package.relationships+xml"/>
  <Override PartName="/ppt/slideMasters/_rels/slideMaster24.xml.rels" ContentType="application/vnd.openxmlformats-package.relationships+xml"/>
  <Override PartName="/ppt/slideMasters/_rels/slideMaster25.xml.rels" ContentType="application/vnd.openxmlformats-package.relationships+xml"/>
  <Override PartName="/ppt/slideMasters/_rels/slideMaster32.xml.rels" ContentType="application/vnd.openxmlformats-package.relationships+xml"/>
  <Override PartName="/ppt/slideMasters/_rels/slideMaster33.xml.rels" ContentType="application/vnd.openxmlformats-package.relationships+xml"/>
  <Override PartName="/ppt/slideMasters/_rels/slideMaster34.xml.rels" ContentType="application/vnd.openxmlformats-package.relationships+xml"/>
  <Override PartName="/ppt/slideMasters/_rels/slideMaster11.xml.rels" ContentType="application/vnd.openxmlformats-package.relationships+xml"/>
  <Override PartName="/ppt/slideMasters/_rels/slideMaster35.xml.rels" ContentType="application/vnd.openxmlformats-package.relationships+xml"/>
  <Override PartName="/ppt/slideMasters/_rels/slideMaster12.xml.rels" ContentType="application/vnd.openxmlformats-package.relationships+xml"/>
  <Override PartName="/ppt/slideMasters/_rels/slideMaster1.xml.rels" ContentType="application/vnd.openxmlformats-package.relationships+xml"/>
  <Override PartName="/ppt/slideMasters/_rels/slideMaster36.xml.rels" ContentType="application/vnd.openxmlformats-package.relationships+xml"/>
  <Override PartName="/ppt/slideMasters/_rels/slideMaster37.xml.rels" ContentType="application/vnd.openxmlformats-package.relationships+xml"/>
  <Override PartName="/ppt/slideMasters/_rels/slideMaster38.xml.rels" ContentType="application/vnd.openxmlformats-package.relationships+xml"/>
  <Override PartName="/ppt/slideMasters/_rels/slideMaster39.xml.rels" ContentType="application/vnd.openxmlformats-package.relationships+xml"/>
  <Override PartName="/ppt/slideMasters/_rels/slideMaster10.xml.rels" ContentType="application/vnd.openxmlformats-package.relationships+xml"/>
  <Override PartName="/ppt/slideMasters/_rels/slideMaster4.xml.rels" ContentType="application/vnd.openxmlformats-package.relationships+xml"/>
  <Override PartName="/ppt/slideMasters/slideMaster25.xml" ContentType="application/vnd.openxmlformats-officedocument.presentationml.slideMaster+xml"/>
  <Override PartName="/ppt/slideMasters/slideMaster24.xml" ContentType="application/vnd.openxmlformats-officedocument.presentationml.slideMaster+xml"/>
  <Override PartName="/ppt/slideMasters/slideMaster23.xml" ContentType="application/vnd.openxmlformats-officedocument.presentationml.slideMaster+xml"/>
  <Override PartName="/ppt/slideMasters/slideMaster22.xml" ContentType="application/vnd.openxmlformats-officedocument.presentationml.slideMaster+xml"/>
  <Override PartName="/ppt/slideMasters/slideMaster21.xml" ContentType="application/vnd.openxmlformats-officedocument.presentationml.slideMaster+xml"/>
  <Override PartName="/ppt/slideMasters/slideMaster19.xml" ContentType="application/vnd.openxmlformats-officedocument.presentationml.slideMaster+xml"/>
  <Override PartName="/ppt/slideMasters/slideMaster20.xml" ContentType="application/vnd.openxmlformats-officedocument.presentationml.slideMaster+xml"/>
  <Override PartName="/ppt/slideMasters/slideMaster18.xml" ContentType="application/vnd.openxmlformats-officedocument.presentationml.slideMaster+xml"/>
  <Override PartName="/ppt/slideMasters/slideMaster17.xml" ContentType="application/vnd.openxmlformats-officedocument.presentationml.slideMaster+xml"/>
  <Override PartName="/ppt/slideMasters/slideMaster16.xml" ContentType="application/vnd.openxmlformats-officedocument.presentationml.slideMaster+xml"/>
  <Override PartName="/ppt/slideMasters/slideMaster33.xml" ContentType="application/vnd.openxmlformats-officedocument.presentationml.slideMaster+xml"/>
  <Override PartName="/ppt/slideMasters/slideMaster30.xml" ContentType="application/vnd.openxmlformats-officedocument.presentationml.slideMaster+xml"/>
  <Override PartName="/ppt/slideMasters/slideMaster3.xml" ContentType="application/vnd.openxmlformats-officedocument.presentationml.slideMaster+xml"/>
  <Override PartName="/ppt/slideMasters/slideMaster28.xml" ContentType="application/vnd.openxmlformats-officedocument.presentationml.slideMaster+xml"/>
  <Override PartName="/ppt/slideMasters/slideMaster31.xml" ContentType="application/vnd.openxmlformats-officedocument.presentationml.slideMaster+xml"/>
  <Override PartName="/ppt/slideMasters/slideMaster29.xml" ContentType="application/vnd.openxmlformats-officedocument.presentationml.slideMaster+xml"/>
  <Override PartName="/ppt/slideMasters/slideMaster32.xml" ContentType="application/vnd.openxmlformats-officedocument.presentationml.slideMaster+xml"/>
  <Override PartName="/ppt/slideMasters/slideMaster34.xml" ContentType="application/vnd.openxmlformats-officedocument.presentationml.slideMaster+xml"/>
  <Override PartName="/ppt/slideMasters/slideMaster5.xml" ContentType="application/vnd.openxmlformats-officedocument.presentationml.slideMaster+xml"/>
  <Override PartName="/ppt/slideMasters/slideMaster11.xml" ContentType="application/vnd.openxmlformats-officedocument.presentationml.slideMaster+xml"/>
  <Override PartName="/ppt/slideMasters/slideMaster35.xml" ContentType="application/vnd.openxmlformats-officedocument.presentationml.slideMaster+xml"/>
  <Override PartName="/ppt/slideMasters/slideMaster6.xml" ContentType="application/vnd.openxmlformats-officedocument.presentationml.slideMaster+xml"/>
  <Override PartName="/ppt/slideMasters/slideMaster12.xml" ContentType="application/vnd.openxmlformats-officedocument.presentationml.slideMaster+xml"/>
  <Override PartName="/ppt/slideMasters/slideMaster36.xml" ContentType="application/vnd.openxmlformats-officedocument.presentationml.slideMaster+xml"/>
  <Override PartName="/ppt/slideMasters/slideMaster37.xml" ContentType="application/vnd.openxmlformats-officedocument.presentationml.slideMaster+xml"/>
  <Override PartName="/ppt/slideMasters/slideMaster38.xml" ContentType="application/vnd.openxmlformats-officedocument.presentationml.slideMaster+xml"/>
  <Override PartName="/ppt/slideMasters/slideMaster39.xml" ContentType="application/vnd.openxmlformats-officedocument.presentationml.slideMaster+xml"/>
  <Override PartName="/ppt/slideMasters/slideMaster4.xml" ContentType="application/vnd.openxmlformats-officedocument.presentationml.slideMaster+xml"/>
  <Override PartName="/ppt/slideMasters/slideMaster10.xml" ContentType="application/vnd.openxmlformats-officedocument.presentationml.slideMaster+xml"/>
  <Override PartName="/ppt/slideMasters/slideMaster2.xml" ContentType="application/vnd.openxmlformats-officedocument.presentationml.slideMaster+xml"/>
  <Override PartName="/ppt/slideMasters/slideMaster27.xml" ContentType="application/vnd.openxmlformats-officedocument.presentationml.slideMaster+xml"/>
  <Override PartName="/ppt/slideMasters/slideMaster7.xml" ContentType="application/vnd.openxmlformats-officedocument.presentationml.slideMaster+xml"/>
  <Override PartName="/ppt/slideMasters/slideMaster13.xml" ContentType="application/vnd.openxmlformats-officedocument.presentationml.slideMaster+xml"/>
  <Override PartName="/ppt/slideMasters/slideMaster1.xml" ContentType="application/vnd.openxmlformats-officedocument.presentationml.slideMaster+xml"/>
  <Override PartName="/ppt/slideMasters/slideMaster26.xml" ContentType="application/vnd.openxmlformats-officedocument.presentationml.slideMaster+xml"/>
  <Override PartName="/ppt/slideMasters/slideMaster8.xml" ContentType="application/vnd.openxmlformats-officedocument.presentationml.slideMaster+xml"/>
  <Override PartName="/ppt/slideMasters/slideMaster14.xml" ContentType="application/vnd.openxmlformats-officedocument.presentationml.slideMaster+xml"/>
  <Override PartName="/ppt/slideMasters/slideMaster9.xml" ContentType="application/vnd.openxmlformats-officedocument.presentationml.slideMaster+xml"/>
  <Override PartName="/ppt/slideMasters/slideMaster15.xml" ContentType="application/vnd.openxmlformats-officedocument.presentationml.slideMaster+xml"/>
  <Override PartName="/ppt/presProps.xml" ContentType="application/vnd.openxmlformats-officedocument.presentationml.presProps+xml"/>
  <Override PartName="/ppt/theme/theme29.xml" ContentType="application/vnd.openxmlformats-officedocument.theme+xml"/>
  <Override PartName="/ppt/theme/theme28.xml" ContentType="application/vnd.openxmlformats-officedocument.theme+xml"/>
  <Override PartName="/ppt/theme/theme27.xml" ContentType="application/vnd.openxmlformats-officedocument.theme+xml"/>
  <Override PartName="/ppt/theme/theme26.xml" ContentType="application/vnd.openxmlformats-officedocument.theme+xml"/>
  <Override PartName="/ppt/theme/theme25.xml" ContentType="application/vnd.openxmlformats-officedocument.theme+xml"/>
  <Override PartName="/ppt/theme/theme24.xml" ContentType="application/vnd.openxmlformats-officedocument.theme+xml"/>
  <Override PartName="/ppt/theme/theme23.xml" ContentType="application/vnd.openxmlformats-officedocument.theme+xml"/>
  <Override PartName="/ppt/theme/theme22.xml" ContentType="application/vnd.openxmlformats-officedocument.theme+xml"/>
  <Override PartName="/ppt/theme/theme21.xml" ContentType="application/vnd.openxmlformats-officedocument.theme+xml"/>
  <Override PartName="/ppt/theme/theme19.xml" ContentType="application/vnd.openxmlformats-officedocument.theme+xml"/>
  <Override PartName="/ppt/theme/theme20.xml" ContentType="application/vnd.openxmlformats-officedocument.theme+xml"/>
  <Override PartName="/ppt/theme/theme6.xml" ContentType="application/vnd.openxmlformats-officedocument.theme+xml"/>
  <Override PartName="/ppt/theme/theme33.xml" ContentType="application/vnd.openxmlformats-officedocument.theme+xml"/>
  <Override PartName="/ppt/theme/theme8.xml" ContentType="application/vnd.openxmlformats-officedocument.theme+xml"/>
  <Override PartName="/ppt/theme/theme35.xml" ContentType="application/vnd.openxmlformats-officedocument.theme+xml"/>
  <Override PartName="/ppt/theme/theme1.xml" ContentType="application/vnd.openxmlformats-officedocument.theme+xml"/>
  <Override PartName="/ppt/theme/theme10.xml" ContentType="application/vnd.openxmlformats-officedocument.theme+xml"/>
  <Override PartName="/ppt/theme/theme9.xml" ContentType="application/vnd.openxmlformats-officedocument.theme+xml"/>
  <Override PartName="/ppt/theme/theme36.xml" ContentType="application/vnd.openxmlformats-officedocument.theme+xml"/>
  <Override PartName="/ppt/theme/theme2.xml" ContentType="application/vnd.openxmlformats-officedocument.theme+xml"/>
  <Override PartName="/ppt/theme/theme37.xml" ContentType="application/vnd.openxmlformats-officedocument.theme+xml"/>
  <Override PartName="/ppt/theme/theme38.xml" ContentType="application/vnd.openxmlformats-officedocument.theme+xml"/>
  <Override PartName="/ppt/theme/theme40.xml" ContentType="application/vnd.openxmlformats-officedocument.theme+xml"/>
  <Override PartName="/ppt/theme/theme39.xml" ContentType="application/vnd.openxmlformats-officedocument.theme+xml"/>
  <Override PartName="/ppt/theme/theme34.xml" ContentType="application/vnd.openxmlformats-officedocument.theme+xml"/>
  <Override PartName="/ppt/theme/theme7.xml" ContentType="application/vnd.openxmlformats-officedocument.theme+xml"/>
  <Override PartName="/ppt/theme/theme5.xml" ContentType="application/vnd.openxmlformats-officedocument.theme+xml"/>
  <Override PartName="/ppt/theme/theme32.xml" ContentType="application/vnd.openxmlformats-officedocument.theme+xml"/>
  <Override PartName="/ppt/theme/theme4.xml" ContentType="application/vnd.openxmlformats-officedocument.theme+xml"/>
  <Override PartName="/ppt/theme/theme31.xml" ContentType="application/vnd.openxmlformats-officedocument.theme+xml"/>
  <Override PartName="/ppt/theme/theme13.xml" ContentType="application/vnd.openxmlformats-officedocument.theme+xml"/>
  <Override PartName="/ppt/theme/theme3.xml" ContentType="application/vnd.openxmlformats-officedocument.theme+xml"/>
  <Override PartName="/ppt/theme/theme30.xml" ContentType="application/vnd.openxmlformats-officedocument.theme+xml"/>
  <Override PartName="/ppt/theme/theme12.xml" ContentType="application/vnd.openxmlformats-officedocument.theme+xml"/>
  <Override PartName="/ppt/theme/theme11.xml" ContentType="application/vnd.openxmlformats-officedocument.theme+xml"/>
  <Override PartName="/ppt/theme/theme14.xml" ContentType="application/vnd.openxmlformats-officedocument.theme+xml"/>
  <Override PartName="/ppt/theme/theme15.xml" ContentType="application/vnd.openxmlformats-officedocument.theme+xml"/>
  <Override PartName="/ppt/theme/theme16.xml" ContentType="application/vnd.openxmlformats-officedocument.theme+xml"/>
  <Override PartName="/ppt/theme/theme17.xml" ContentType="application/vnd.openxmlformats-officedocument.theme+xml"/>
  <Override PartName="/ppt/theme/theme18.xml" ContentType="application/vnd.openxmlformats-officedocument.theme+xml"/>
  <Override PartName="/ppt/_rels/presentation.xml.rels" ContentType="application/vnd.openxmlformats-package.relationships+xml"/>
  <Override PartName="/ppt/media/image27.jpeg" ContentType="image/jpeg"/>
  <Override PartName="/ppt/media/image5.jpeg" ContentType="image/jpeg"/>
  <Override PartName="/ppt/media/image50.png" ContentType="image/png"/>
  <Override PartName="/ppt/media/image25.jpeg" ContentType="image/jpeg"/>
  <Override PartName="/ppt/media/image30.png" ContentType="image/png"/>
  <Override PartName="/ppt/media/image29.png" ContentType="image/png"/>
  <Override PartName="/ppt/media/image24.jpeg" ContentType="image/jpeg"/>
  <Override PartName="/ppt/media/image20.png" ContentType="image/png"/>
  <Override PartName="/ppt/media/image57.png" ContentType="image/png"/>
  <Override PartName="/ppt/media/image23.png" ContentType="image/png"/>
  <Override PartName="/ppt/media/image16.jpeg" ContentType="image/jpeg"/>
  <Override PartName="/ppt/media/image21.wmf" ContentType="image/x-wmf"/>
  <Override PartName="/ppt/media/image19.jpeg" ContentType="image/jpeg"/>
  <Override PartName="/ppt/media/image17.jpeg" ContentType="image/jpeg"/>
  <Override PartName="/ppt/media/image26.jpeg" ContentType="image/jpeg"/>
  <Override PartName="/ppt/media/image40.png" ContentType="image/png"/>
  <Override PartName="/ppt/media/image14.png" ContentType="image/png"/>
  <Override PartName="/ppt/media/image1.wmf" ContentType="image/x-wmf"/>
  <Override PartName="/ppt/media/image13.jpeg" ContentType="image/jpeg"/>
  <Override PartName="/ppt/media/image18.jpeg" ContentType="image/jpeg"/>
  <Override PartName="/ppt/media/image2.wmf" ContentType="image/x-wmf"/>
  <Override PartName="/ppt/media/image9.jpeg" ContentType="image/jpeg"/>
  <Override PartName="/ppt/media/image11.png" ContentType="image/png"/>
  <Override PartName="/ppt/media/image3.wmf" ContentType="image/x-wmf"/>
  <Override PartName="/ppt/media/image34.jpeg" ContentType="image/jpeg"/>
  <Override PartName="/ppt/media/image15.png" ContentType="image/png"/>
  <Override PartName="/ppt/media/image36.jpeg" ContentType="image/jpeg"/>
  <Override PartName="/ppt/media/image6.png" ContentType="image/png"/>
  <Override PartName="/ppt/media/image8.jpeg" ContentType="image/jpeg"/>
  <Override PartName="/ppt/media/image41.png" ContentType="image/png"/>
  <Override PartName="/ppt/media/image42.png" ContentType="image/png"/>
  <Override PartName="/ppt/media/image38.jpeg" ContentType="image/jpeg"/>
  <Override PartName="/ppt/media/image46.jpeg" ContentType="image/jpeg"/>
  <Override PartName="/ppt/media/image48.jpeg" ContentType="image/jpeg"/>
  <Override PartName="/ppt/media/image49.jpeg" ContentType="image/jpeg"/>
  <Override PartName="/ppt/media/image58.png" ContentType="image/png"/>
  <Override PartName="/ppt/media/image4.png" ContentType="image/png"/>
  <Override PartName="/ppt/media/image51.jpeg" ContentType="image/jpeg"/>
  <Override PartName="/ppt/media/image52.jpeg" ContentType="image/jpeg"/>
  <Override PartName="/ppt/media/image43.jpeg" ContentType="image/jpeg"/>
  <Override PartName="/ppt/media/image53.jpeg" ContentType="image/jpeg"/>
  <Override PartName="/ppt/media/image56.png" ContentType="image/png"/>
  <Override PartName="/ppt/media/image55.png" ContentType="image/png"/>
  <Override PartName="/ppt/media/image28.png" ContentType="image/png"/>
  <Override PartName="/ppt/media/image7.jpeg" ContentType="image/jpeg"/>
  <Override PartName="/ppt/media/image54.jpeg" ContentType="image/jpeg"/>
  <Override PartName="/ppt/media/image45.png" ContentType="image/png"/>
  <Override PartName="/ppt/media/image39.jpeg" ContentType="image/jpeg"/>
  <Override PartName="/ppt/media/image37.jpeg" ContentType="image/jpeg"/>
  <Override PartName="/ppt/media/image35.jpeg" ContentType="image/jpeg"/>
  <Override PartName="/ppt/media/image44.jpeg" ContentType="image/jpeg"/>
  <Override PartName="/ppt/media/image12.png" ContentType="image/png"/>
  <Override PartName="/ppt/media/image10.png" ContentType="image/png"/>
  <Override PartName="/ppt/media/image47.png" ContentType="image/png"/>
  <Override PartName="/ppt/media/image33.jpeg" ContentType="image/jpeg"/>
  <Override PartName="/ppt/media/image32.jpeg" ContentType="image/jpeg"/>
  <Override PartName="/ppt/media/image31.jpeg" ContentType="image/jpeg"/>
  <Override PartName="/ppt/media/image22.jpeg" ContentType="image/jpeg"/>
  <Override PartName="/ppt/notesMasters/_rels/notesMaster1.xml.rels" ContentType="application/vnd.openxmlformats-package.relationships+xml"/>
  <Override PartName="/ppt/notesMasters/notesMaster1.xml" ContentType="application/vnd.openxmlformats-officedocument.presentationml.notesMaster+xml"/>
  <Override PartName="/ppt/embeddings/oleObject1.bin" ContentType="application/vnd.openxmlformats-officedocument.oleObject"/>
  <Override PartName="/ppt/slideLayouts/slideLayout22.xml" ContentType="application/vnd.openxmlformats-officedocument.presentationml.slideLayout+xml"/>
  <Override PartName="/ppt/slideLayouts/_rels/slideLayout1.xml.rels" ContentType="application/vnd.openxmlformats-package.relationships+xml"/>
  <Override PartName="/ppt/slideLayouts/_rels/slideLayout39.xml.rels" ContentType="application/vnd.openxmlformats-package.relationships+xml"/>
  <Override PartName="/ppt/slideLayouts/_rels/slideLayout2.xml.rels" ContentType="application/vnd.openxmlformats-package.relationships+xml"/>
  <Override PartName="/ppt/slideLayouts/_rels/slideLayout10.xml.rels" ContentType="application/vnd.openxmlformats-package.relationships+xml"/>
  <Override PartName="/ppt/slideLayouts/_rels/slideLayout3.xml.rels" ContentType="application/vnd.openxmlformats-package.relationships+xml"/>
  <Override PartName="/ppt/slideLayouts/_rels/slideLayout11.xml.rels" ContentType="application/vnd.openxmlformats-package.relationships+xml"/>
  <Override PartName="/ppt/slideLayouts/_rels/slideLayout24.xml.rels" ContentType="application/vnd.openxmlformats-package.relationships+xml"/>
  <Override PartName="/ppt/slideLayouts/_rels/slideLayout4.xml.rels" ContentType="application/vnd.openxmlformats-package.relationships+xml"/>
  <Override PartName="/ppt/slideLayouts/_rels/slideLayout12.xml.rels" ContentType="application/vnd.openxmlformats-package.relationships+xml"/>
  <Override PartName="/ppt/slideLayouts/_rels/slideLayout25.xml.rels" ContentType="application/vnd.openxmlformats-package.relationships+xml"/>
  <Override PartName="/ppt/slideLayouts/_rels/slideLayout31.xml.rels" ContentType="application/vnd.openxmlformats-package.relationships+xml"/>
  <Override PartName="/ppt/slideLayouts/_rels/slideLayout29.xml.rels" ContentType="application/vnd.openxmlformats-package.relationships+xml"/>
  <Override PartName="/ppt/slideLayouts/_rels/slideLayout9.xml.rels" ContentType="application/vnd.openxmlformats-package.relationships+xml"/>
  <Override PartName="/ppt/slideLayouts/_rels/slideLayout17.xml.rels" ContentType="application/vnd.openxmlformats-package.relationships+xml"/>
  <Override PartName="/ppt/slideLayouts/_rels/slideLayout28.xml.rels" ContentType="application/vnd.openxmlformats-package.relationships+xml"/>
  <Override PartName="/ppt/slideLayouts/_rels/slideLayout30.xml.rels" ContentType="application/vnd.openxmlformats-package.relationships+xml"/>
  <Override PartName="/ppt/slideLayouts/_rels/slideLayout8.xml.rels" ContentType="application/vnd.openxmlformats-package.relationships+xml"/>
  <Override PartName="/ppt/slideLayouts/_rels/slideLayout16.xml.rels" ContentType="application/vnd.openxmlformats-package.relationships+xml"/>
  <Override PartName="/ppt/slideLayouts/_rels/slideLayout23.xml.rels" ContentType="application/vnd.openxmlformats-package.relationships+xml"/>
  <Override PartName="/ppt/slideLayouts/_rels/slideLayout18.xml.rels" ContentType="application/vnd.openxmlformats-package.relationships+xml"/>
  <Override PartName="/ppt/slideLayouts/_rels/slideLayout20.xml.rels" ContentType="application/vnd.openxmlformats-package.relationships+xml"/>
  <Override PartName="/ppt/slideLayouts/_rels/slideLayout19.xml.rels" ContentType="application/vnd.openxmlformats-package.relationships+xml"/>
  <Override PartName="/ppt/slideLayouts/_rels/slideLayout21.xml.rels" ContentType="application/vnd.openxmlformats-package.relationships+xml"/>
  <Override PartName="/ppt/slideLayouts/_rels/slideLayout22.xml.rels" ContentType="application/vnd.openxmlformats-package.relationships+xml"/>
  <Override PartName="/ppt/slideLayouts/_rels/slideLayout32.xml.rels" ContentType="application/vnd.openxmlformats-package.relationships+xml"/>
  <Override PartName="/ppt/slideLayouts/_rels/slideLayout33.xml.rels" ContentType="application/vnd.openxmlformats-package.relationships+xml"/>
  <Override PartName="/ppt/slideLayouts/_rels/slideLayout34.xml.rels" ContentType="application/vnd.openxmlformats-package.relationships+xml"/>
  <Override PartName="/ppt/slideLayouts/_rels/slideLayout35.xml.rels" ContentType="application/vnd.openxmlformats-package.relationships+xml"/>
  <Override PartName="/ppt/slideLayouts/_rels/slideLayout36.xml.rels" ContentType="application/vnd.openxmlformats-package.relationships+xml"/>
  <Override PartName="/ppt/slideLayouts/_rels/slideLayout37.xml.rels" ContentType="application/vnd.openxmlformats-package.relationships+xml"/>
  <Override PartName="/ppt/slideLayouts/_rels/slideLayout38.xml.rels" ContentType="application/vnd.openxmlformats-package.relationships+xml"/>
  <Override PartName="/ppt/slideLayouts/_rels/slideLayout15.xml.rels" ContentType="application/vnd.openxmlformats-package.relationships+xml"/>
  <Override PartName="/ppt/slideLayouts/_rels/slideLayout7.xml.rels" ContentType="application/vnd.openxmlformats-package.relationships+xml"/>
  <Override PartName="/ppt/slideLayouts/_rels/slideLayout27.xml.rels" ContentType="application/vnd.openxmlformats-package.relationships+xml"/>
  <Override PartName="/ppt/slideLayouts/_rels/slideLayout14.xml.rels" ContentType="application/vnd.openxmlformats-package.relationships+xml"/>
  <Override PartName="/ppt/slideLayouts/_rels/slideLayout6.xml.rels" ContentType="application/vnd.openxmlformats-package.relationships+xml"/>
  <Override PartName="/ppt/slideLayouts/_rels/slideLayout26.xml.rels" ContentType="application/vnd.openxmlformats-package.relationships+xml"/>
  <Override PartName="/ppt/slideLayouts/_rels/slideLayout13.xml.rels" ContentType="application/vnd.openxmlformats-package.relationships+xml"/>
  <Override PartName="/ppt/slideLayouts/_rels/slideLayout5.xml.rels" ContentType="application/vnd.openxmlformats-package.relationships+xml"/>
  <Override PartName="/ppt/slideLayouts/slideLayout21.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18.xml" ContentType="application/vnd.openxmlformats-officedocument.presentationml.slideLayout+xml"/>
  <Override PartName="/ppt/slideLayouts/slideLayout17.xml" ContentType="application/vnd.openxmlformats-officedocument.presentationml.slideLayout+xml"/>
  <Override PartName="/ppt/slideLayouts/slideLayout16.xml" ContentType="application/vnd.openxmlformats-officedocument.presentationml.slideLayout+xml"/>
  <Override PartName="/ppt/slideLayouts/slideLayout15.xml" ContentType="application/vnd.openxmlformats-officedocument.presentationml.slideLayout+xml"/>
  <Override PartName="/ppt/slideLayouts/slideLayout14.xml" ContentType="application/vnd.openxmlformats-officedocument.presentationml.slideLayout+xml"/>
  <Override PartName="/ppt/slideLayouts/slideLayout23.xml" ContentType="application/vnd.openxmlformats-officedocument.presentationml.slideLayout+xml"/>
  <Override PartName="/ppt/slideLayouts/slideLayout30.xml" ContentType="application/vnd.openxmlformats-officedocument.presentationml.slideLayout+xml"/>
  <Override PartName="/ppt/slideLayouts/slideLayout6.xml" ContentType="application/vnd.openxmlformats-officedocument.presentationml.slideLayout+xml"/>
  <Override PartName="/ppt/slideLayouts/slideLayout28.xml" ContentType="application/vnd.openxmlformats-officedocument.presentationml.slideLayout+xml"/>
  <Override PartName="/ppt/slideLayouts/slideLayout31.xml" ContentType="application/vnd.openxmlformats-officedocument.presentationml.slideLayout+xml"/>
  <Override PartName="/ppt/slideLayouts/slideLayout7.xml" ContentType="application/vnd.openxmlformats-officedocument.presentationml.slideLayout+xml"/>
  <Override PartName="/ppt/slideLayouts/slideLayout29.xml" ContentType="application/vnd.openxmlformats-officedocument.presentationml.slideLayout+xml"/>
  <Override PartName="/ppt/slideLayouts/slideLayout32.xml" ContentType="application/vnd.openxmlformats-officedocument.presentationml.slideLayout+xml"/>
  <Override PartName="/ppt/slideLayouts/slideLayout8.xml" ContentType="application/vnd.openxmlformats-officedocument.presentationml.slideLayout+xml"/>
  <Override PartName="/ppt/slideLayouts/slideLayout33.xml" ContentType="application/vnd.openxmlformats-officedocument.presentationml.slideLayout+xml"/>
  <Override PartName="/ppt/slideLayouts/slideLayout9.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12.xml" ContentType="application/vnd.openxmlformats-officedocument.presentationml.slideLayout+xml"/>
  <Override PartName="/ppt/slideLayouts/slideLayout36.xml" ContentType="application/vnd.openxmlformats-officedocument.presentationml.slideLayout+xml"/>
  <Override PartName="/ppt/slideLayouts/slideLayout13.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11.xml" ContentType="application/vnd.openxmlformats-officedocument.presentationml.slideLayout+xml"/>
  <Override PartName="/ppt/slideLayouts/slideLayout10.xml" ContentType="application/vnd.openxmlformats-officedocument.presentationml.slideLayout+xml"/>
  <Override PartName="/ppt/slideLayouts/slideLayout5.xml" ContentType="application/vnd.openxmlformats-officedocument.presentationml.slideLayout+xml"/>
  <Override PartName="/ppt/slideLayouts/slideLayout27.xml" ContentType="application/vnd.openxmlformats-officedocument.presentationml.slideLayout+xml"/>
  <Override PartName="/ppt/slideLayouts/slideLayout4.xml" ContentType="application/vnd.openxmlformats-officedocument.presentationml.slideLayout+xml"/>
  <Override PartName="/ppt/slideLayouts/slideLayout26.xml" ContentType="application/vnd.openxmlformats-officedocument.presentationml.slideLayout+xml"/>
  <Override PartName="/ppt/slideLayouts/slideLayout3.xml" ContentType="application/vnd.openxmlformats-officedocument.presentationml.slideLayout+xml"/>
  <Override PartName="/ppt/slideLayouts/slideLayout25.xml" ContentType="application/vnd.openxmlformats-officedocument.presentationml.slideLayout+xml"/>
  <Override PartName="/ppt/slideLayouts/slideLayout2.xml" ContentType="application/vnd.openxmlformats-officedocument.presentationml.slideLayout+xml"/>
  <Override PartName="/ppt/slideLayouts/slideLayout24.xml" ContentType="application/vnd.openxmlformats-officedocument.presentationml.slideLayout+xml"/>
  <Override PartName="/ppt/slideLayouts/slideLayout39.xml" ContentType="application/vnd.openxmlformats-officedocument.presentationml.slideLayout+xml"/>
  <Override PartName="/ppt/slideLayouts/slideLayout1.xml" ContentType="application/vnd.openxmlformats-officedocument.presentationml.slideLayout+xml"/>
  <Override PartName="/ppt/slides/slide1.xml" ContentType="application/vnd.openxmlformats-officedocument.presentationml.slide+xml"/>
  <Override PartName="/ppt/slides/_rels/slide12.xml.rels" ContentType="application/vnd.openxmlformats-package.relationships+xml"/>
  <Override PartName="/ppt/slides/_rels/slide9.xml.rels" ContentType="application/vnd.openxmlformats-package.relationships+xml"/>
  <Override PartName="/ppt/slides/_rels/slide11.xml.rels" ContentType="application/vnd.openxmlformats-package.relationships+xml"/>
  <Override PartName="/ppt/slides/_rels/slide8.xml.rels" ContentType="application/vnd.openxmlformats-package.relationships+xml"/>
  <Override PartName="/ppt/slides/_rels/slide10.xml.rels" ContentType="application/vnd.openxmlformats-package.relationships+xml"/>
  <Override PartName="/ppt/slides/_rels/slide7.xml.rels" ContentType="application/vnd.openxmlformats-package.relationships+xml"/>
  <Override PartName="/ppt/slides/_rels/slide6.xml.rels" ContentType="application/vnd.openxmlformats-package.relationships+xml"/>
  <Override PartName="/ppt/slides/_rels/slide5.xml.rels" ContentType="application/vnd.openxmlformats-package.relationships+xml"/>
  <Override PartName="/ppt/slides/_rels/slide4.xml.rels" ContentType="application/vnd.openxmlformats-package.relationships+xml"/>
  <Override PartName="/ppt/slides/_rels/slide3.xml.rels" ContentType="application/vnd.openxmlformats-package.relationships+xml"/>
  <Override PartName="/ppt/slides/_rels/slide2.xml.rels" ContentType="application/vnd.openxmlformats-package.relationships+xml"/>
  <Override PartName="/ppt/slides/_rels/slide1.xml.rels" ContentType="application/vnd.openxmlformats-package.relationships+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10.xml" ContentType="application/vnd.openxmlformats-officedocument.presentationml.slide+xml"/>
  <Override PartName="/ppt/slides/slide8.xml" ContentType="application/vnd.openxmlformats-officedocument.presentationml.slide+xml"/>
  <Override PartName="/ppt/slides/slide11.xml" ContentType="application/vnd.openxmlformats-officedocument.presentationml.slide+xml"/>
  <Override PartName="/ppt/slides/slide9.xml" ContentType="application/vnd.openxmlformats-officedocument.presentationml.slide+xml"/>
  <Override PartName="/ppt/slides/slide12.xml" ContentType="application/vnd.openxmlformats-officedocument.presentationml.slide+xml"/>
  <Override PartName="/ppt/notesSlides/_rels/notesSlide8.xml.rels" ContentType="application/vnd.openxmlformats-package.relationships+xml"/>
  <Override PartName="/ppt/notesSlides/_rels/notesSlide5.xml.rels" ContentType="application/vnd.openxmlformats-package.relationships+xml"/>
  <Override PartName="/ppt/notesSlides/_rels/notesSlide4.xml.rels" ContentType="application/vnd.openxmlformats-package.relationships+xml"/>
  <Override PartName="/ppt/notesSlides/_rels/notesSlide3.xml.rels" ContentType="application/vnd.openxmlformats-package.relationships+xml"/>
  <Override PartName="/ppt/notesSlides/_rels/notesSlide2.xml.rels" ContentType="application/vnd.openxmlformats-package.relationship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8.xml" ContentType="application/vnd.openxmlformats-officedocument.presentationml.notesSlide+xml"/>
</Types>
</file>

<file path=_rels/.rels><?xml version="1.0" encoding="UTF-8"?>
<Relationships xmlns="http://schemas.openxmlformats.org/package/2006/relationships"><Relationship Id="rId1" Type="http://schemas.openxmlformats.org/package/2006/relationships/metadata/core-properties" Target="docProps/core.xml"/><Relationship Id="rId2" Type="http://schemas.openxmlformats.org/officeDocument/2006/relationships/extended-properties" Target="docProps/app.xml"/><Relationship Id="rId3" Type="http://schemas.openxmlformats.org/officeDocument/2006/relationships/custom-properties" Target="docProps/custom.xml"/><Relationship Id="rId4" Type="http://schemas.openxmlformats.org/officeDocument/2006/relationships/officeDocument" Target="ppt/presentation.xml"/>
</Relationships>
</file>

<file path=ppt/presentation.xml><?xml version="1.0" encoding="utf-8"?>
<p:presentation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p:sldMasterIdLst>
    <p:sldMasterId id="2147483648" r:id="rId2"/>
    <p:sldMasterId id="2147483650" r:id="rId3"/>
    <p:sldMasterId id="2147483652" r:id="rId4"/>
    <p:sldMasterId id="2147483654" r:id="rId5"/>
    <p:sldMasterId id="2147483656" r:id="rId6"/>
    <p:sldMasterId id="2147483658" r:id="rId7"/>
    <p:sldMasterId id="2147483660" r:id="rId8"/>
    <p:sldMasterId id="2147483662" r:id="rId9"/>
    <p:sldMasterId id="2147483664" r:id="rId10"/>
    <p:sldMasterId id="2147483666" r:id="rId11"/>
    <p:sldMasterId id="2147483668" r:id="rId12"/>
    <p:sldMasterId id="2147483670" r:id="rId13"/>
    <p:sldMasterId id="2147483672" r:id="rId14"/>
    <p:sldMasterId id="2147483674" r:id="rId15"/>
    <p:sldMasterId id="2147483676" r:id="rId16"/>
    <p:sldMasterId id="2147483678" r:id="rId17"/>
    <p:sldMasterId id="2147483680" r:id="rId18"/>
    <p:sldMasterId id="2147483682" r:id="rId19"/>
    <p:sldMasterId id="2147483684" r:id="rId20"/>
    <p:sldMasterId id="2147483686" r:id="rId21"/>
    <p:sldMasterId id="2147483688" r:id="rId22"/>
    <p:sldMasterId id="2147483690" r:id="rId23"/>
    <p:sldMasterId id="2147483692" r:id="rId24"/>
    <p:sldMasterId id="2147483694" r:id="rId25"/>
    <p:sldMasterId id="2147483696" r:id="rId26"/>
    <p:sldMasterId id="2147483698" r:id="rId27"/>
    <p:sldMasterId id="2147483700" r:id="rId28"/>
    <p:sldMasterId id="2147483702" r:id="rId29"/>
    <p:sldMasterId id="2147483704" r:id="rId30"/>
    <p:sldMasterId id="2147483706" r:id="rId31"/>
    <p:sldMasterId id="2147483708" r:id="rId32"/>
    <p:sldMasterId id="2147483710" r:id="rId33"/>
    <p:sldMasterId id="2147483712" r:id="rId34"/>
    <p:sldMasterId id="2147483714" r:id="rId35"/>
    <p:sldMasterId id="2147483716" r:id="rId36"/>
    <p:sldMasterId id="2147483718" r:id="rId37"/>
    <p:sldMasterId id="2147483720" r:id="rId38"/>
    <p:sldMasterId id="2147483722" r:id="rId39"/>
    <p:sldMasterId id="2147483724" r:id="rId40"/>
  </p:sldMasterIdLst>
  <p:notesMasterIdLst>
    <p:notesMasterId r:id="rId41"/>
  </p:notesMasterIdLst>
  <p:sldIdLst>
    <p:sldId id="256" r:id="rId42"/>
    <p:sldId id="257" r:id="rId43"/>
    <p:sldId id="258" r:id="rId44"/>
    <p:sldId id="259" r:id="rId45"/>
    <p:sldId id="260" r:id="rId46"/>
    <p:sldId id="261" r:id="rId47"/>
    <p:sldId id="262" r:id="rId48"/>
    <p:sldId id="263" r:id="rId49"/>
    <p:sldId id="264" r:id="rId50"/>
    <p:sldId id="265" r:id="rId51"/>
    <p:sldId id="266" r:id="rId52"/>
    <p:sldId id="267" r:id="rId53"/>
  </p:sldIdLst>
  <p:sldSz cx="12192000" cy="6858000"/>
  <p:notesSz cx="12192000" cy="6858000"/>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ationPr>
</file>

<file path=ppt/_rels/presentation.xml.rels><?xml version="1.0" encoding="UTF-8"?>
<Relationships xmlns="http://schemas.openxmlformats.org/package/2006/relationships"><Relationship Id="rId1" Type="http://schemas.openxmlformats.org/officeDocument/2006/relationships/theme" Target="theme/theme1.xml"/><Relationship Id="rId2" Type="http://schemas.openxmlformats.org/officeDocument/2006/relationships/slideMaster" Target="slideMasters/slideMaster1.xml"/><Relationship Id="rId3" Type="http://schemas.openxmlformats.org/officeDocument/2006/relationships/slideMaster" Target="slideMasters/slideMaster2.xml"/><Relationship Id="rId4" Type="http://schemas.openxmlformats.org/officeDocument/2006/relationships/slideMaster" Target="slideMasters/slideMaster3.xml"/><Relationship Id="rId5" Type="http://schemas.openxmlformats.org/officeDocument/2006/relationships/slideMaster" Target="slideMasters/slideMaster4.xml"/><Relationship Id="rId6" Type="http://schemas.openxmlformats.org/officeDocument/2006/relationships/slideMaster" Target="slideMasters/slideMaster5.xml"/><Relationship Id="rId7" Type="http://schemas.openxmlformats.org/officeDocument/2006/relationships/slideMaster" Target="slideMasters/slideMaster6.xml"/><Relationship Id="rId8" Type="http://schemas.openxmlformats.org/officeDocument/2006/relationships/slideMaster" Target="slideMasters/slideMaster7.xml"/><Relationship Id="rId9" Type="http://schemas.openxmlformats.org/officeDocument/2006/relationships/slideMaster" Target="slideMasters/slideMaster8.xml"/><Relationship Id="rId10" Type="http://schemas.openxmlformats.org/officeDocument/2006/relationships/slideMaster" Target="slideMasters/slideMaster9.xml"/><Relationship Id="rId11" Type="http://schemas.openxmlformats.org/officeDocument/2006/relationships/slideMaster" Target="slideMasters/slideMaster10.xml"/><Relationship Id="rId12" Type="http://schemas.openxmlformats.org/officeDocument/2006/relationships/slideMaster" Target="slideMasters/slideMaster11.xml"/><Relationship Id="rId13" Type="http://schemas.openxmlformats.org/officeDocument/2006/relationships/slideMaster" Target="slideMasters/slideMaster12.xml"/><Relationship Id="rId14" Type="http://schemas.openxmlformats.org/officeDocument/2006/relationships/slideMaster" Target="slideMasters/slideMaster13.xml"/><Relationship Id="rId15" Type="http://schemas.openxmlformats.org/officeDocument/2006/relationships/slideMaster" Target="slideMasters/slideMaster14.xml"/><Relationship Id="rId16" Type="http://schemas.openxmlformats.org/officeDocument/2006/relationships/slideMaster" Target="slideMasters/slideMaster15.xml"/><Relationship Id="rId17" Type="http://schemas.openxmlformats.org/officeDocument/2006/relationships/slideMaster" Target="slideMasters/slideMaster16.xml"/><Relationship Id="rId18" Type="http://schemas.openxmlformats.org/officeDocument/2006/relationships/slideMaster" Target="slideMasters/slideMaster17.xml"/><Relationship Id="rId19" Type="http://schemas.openxmlformats.org/officeDocument/2006/relationships/slideMaster" Target="slideMasters/slideMaster18.xml"/><Relationship Id="rId20" Type="http://schemas.openxmlformats.org/officeDocument/2006/relationships/slideMaster" Target="slideMasters/slideMaster19.xml"/><Relationship Id="rId21" Type="http://schemas.openxmlformats.org/officeDocument/2006/relationships/slideMaster" Target="slideMasters/slideMaster20.xml"/><Relationship Id="rId22" Type="http://schemas.openxmlformats.org/officeDocument/2006/relationships/slideMaster" Target="slideMasters/slideMaster21.xml"/><Relationship Id="rId23" Type="http://schemas.openxmlformats.org/officeDocument/2006/relationships/slideMaster" Target="slideMasters/slideMaster22.xml"/><Relationship Id="rId24" Type="http://schemas.openxmlformats.org/officeDocument/2006/relationships/slideMaster" Target="slideMasters/slideMaster23.xml"/><Relationship Id="rId25" Type="http://schemas.openxmlformats.org/officeDocument/2006/relationships/slideMaster" Target="slideMasters/slideMaster24.xml"/><Relationship Id="rId26" Type="http://schemas.openxmlformats.org/officeDocument/2006/relationships/slideMaster" Target="slideMasters/slideMaster25.xml"/><Relationship Id="rId27" Type="http://schemas.openxmlformats.org/officeDocument/2006/relationships/slideMaster" Target="slideMasters/slideMaster26.xml"/><Relationship Id="rId28" Type="http://schemas.openxmlformats.org/officeDocument/2006/relationships/slideMaster" Target="slideMasters/slideMaster27.xml"/><Relationship Id="rId29" Type="http://schemas.openxmlformats.org/officeDocument/2006/relationships/slideMaster" Target="slideMasters/slideMaster28.xml"/><Relationship Id="rId30" Type="http://schemas.openxmlformats.org/officeDocument/2006/relationships/slideMaster" Target="slideMasters/slideMaster29.xml"/><Relationship Id="rId31" Type="http://schemas.openxmlformats.org/officeDocument/2006/relationships/slideMaster" Target="slideMasters/slideMaster30.xml"/><Relationship Id="rId32" Type="http://schemas.openxmlformats.org/officeDocument/2006/relationships/slideMaster" Target="slideMasters/slideMaster31.xml"/><Relationship Id="rId33" Type="http://schemas.openxmlformats.org/officeDocument/2006/relationships/slideMaster" Target="slideMasters/slideMaster32.xml"/><Relationship Id="rId34" Type="http://schemas.openxmlformats.org/officeDocument/2006/relationships/slideMaster" Target="slideMasters/slideMaster33.xml"/><Relationship Id="rId35" Type="http://schemas.openxmlformats.org/officeDocument/2006/relationships/slideMaster" Target="slideMasters/slideMaster34.xml"/><Relationship Id="rId36" Type="http://schemas.openxmlformats.org/officeDocument/2006/relationships/slideMaster" Target="slideMasters/slideMaster35.xml"/><Relationship Id="rId37" Type="http://schemas.openxmlformats.org/officeDocument/2006/relationships/slideMaster" Target="slideMasters/slideMaster36.xml"/><Relationship Id="rId38" Type="http://schemas.openxmlformats.org/officeDocument/2006/relationships/slideMaster" Target="slideMasters/slideMaster37.xml"/><Relationship Id="rId39" Type="http://schemas.openxmlformats.org/officeDocument/2006/relationships/slideMaster" Target="slideMasters/slideMaster38.xml"/><Relationship Id="rId40" Type="http://schemas.openxmlformats.org/officeDocument/2006/relationships/slideMaster" Target="slideMasters/slideMaster39.xml"/><Relationship Id="rId41" Type="http://schemas.openxmlformats.org/officeDocument/2006/relationships/notesMaster" Target="notesMasters/notesMaster1.xml"/><Relationship Id="rId42" Type="http://schemas.openxmlformats.org/officeDocument/2006/relationships/slide" Target="slides/slide1.xml"/><Relationship Id="rId43" Type="http://schemas.openxmlformats.org/officeDocument/2006/relationships/slide" Target="slides/slide2.xml"/><Relationship Id="rId44" Type="http://schemas.openxmlformats.org/officeDocument/2006/relationships/slide" Target="slides/slide3.xml"/><Relationship Id="rId45" Type="http://schemas.openxmlformats.org/officeDocument/2006/relationships/slide" Target="slides/slide4.xml"/><Relationship Id="rId46" Type="http://schemas.openxmlformats.org/officeDocument/2006/relationships/slide" Target="slides/slide5.xml"/><Relationship Id="rId47" Type="http://schemas.openxmlformats.org/officeDocument/2006/relationships/slide" Target="slides/slide6.xml"/><Relationship Id="rId48" Type="http://schemas.openxmlformats.org/officeDocument/2006/relationships/slide" Target="slides/slide7.xml"/><Relationship Id="rId49" Type="http://schemas.openxmlformats.org/officeDocument/2006/relationships/slide" Target="slides/slide8.xml"/><Relationship Id="rId50" Type="http://schemas.openxmlformats.org/officeDocument/2006/relationships/slide" Target="slides/slide9.xml"/><Relationship Id="rId51" Type="http://schemas.openxmlformats.org/officeDocument/2006/relationships/slide" Target="slides/slide10.xml"/><Relationship Id="rId52" Type="http://schemas.openxmlformats.org/officeDocument/2006/relationships/slide" Target="slides/slide11.xml"/><Relationship Id="rId53" Type="http://schemas.openxmlformats.org/officeDocument/2006/relationships/slide" Target="slides/slide12.xml"/><Relationship Id="rId54" Type="http://schemas.openxmlformats.org/officeDocument/2006/relationships/presProps" Target="presProps.xml"/>
</Relationships>
</file>

<file path=ppt/notesMasters/_rels/notesMaster1.xml.rels><?xml version="1.0" encoding="UTF-8"?>
<Relationships xmlns="http://schemas.openxmlformats.org/package/2006/relationships"><Relationship Id="rId1" Type="http://schemas.openxmlformats.org/officeDocument/2006/relationships/theme" Target="../theme/theme40.xml"/>
</Relationships>
</file>

<file path=ppt/notesMasters/notesMaster1.xml><?xml version="1.0" encoding="utf-8"?>
<p:notesMaster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p:cSld>
    <p:spTree>
      <p:nvGrpSpPr>
        <p:cNvPr id="1" name=""/>
        <p:cNvGrpSpPr/>
        <p:nvPr/>
      </p:nvGrpSpPr>
      <p:grpSpPr>
        <a:xfrm>
          <a:off x="0" y="0"/>
          <a:ext cx="0" cy="0"/>
          <a:chOff x="0" y="0"/>
          <a:chExt cx="0" cy="0"/>
        </a:xfrm>
      </p:grpSpPr>
      <p:sp>
        <p:nvSpPr>
          <p:cNvPr id="262" name="PlaceHolder 1"/>
          <p:cNvSpPr>
            <a:spLocks noGrp="1"/>
          </p:cNvSpPr>
          <p:nvPr>
            <p:ph type="sldImg"/>
          </p:nvPr>
        </p:nvSpPr>
        <p:spPr>
          <a:xfrm>
            <a:off x="0" y="764280"/>
            <a:ext cx="0" cy="0"/>
          </a:xfrm>
          <a:prstGeom prst="rect">
            <a:avLst/>
          </a:prstGeom>
          <a:noFill/>
          <a:ln w="0">
            <a:noFill/>
          </a:ln>
        </p:spPr>
        <p:txBody>
          <a:bodyPr lIns="0" rIns="0" tIns="0" bIns="0" anchor="ctr">
            <a:noAutofit/>
          </a:bodyPr>
          <a:p>
            <a:r>
              <a:rPr b="0" lang="en-US" sz="1900" spc="-1" strike="noStrike">
                <a:solidFill>
                  <a:schemeClr val="dk1"/>
                </a:solidFill>
                <a:latin typeface="Arial"/>
              </a:rPr>
              <a:t>Click to move the slide</a:t>
            </a:r>
            <a:endParaRPr b="0" lang="en-US" sz="1900" spc="-1" strike="noStrike">
              <a:solidFill>
                <a:schemeClr val="dk1"/>
              </a:solidFill>
              <a:latin typeface="Arial"/>
            </a:endParaRPr>
          </a:p>
        </p:txBody>
      </p:sp>
      <p:sp>
        <p:nvSpPr>
          <p:cNvPr id="263" name="PlaceHolder 2"/>
          <p:cNvSpPr>
            <a:spLocks noGrp="1"/>
          </p:cNvSpPr>
          <p:nvPr>
            <p:ph type="body"/>
          </p:nvPr>
        </p:nvSpPr>
        <p:spPr>
          <a:xfrm>
            <a:off x="777240" y="4777560"/>
            <a:ext cx="6217560" cy="4525920"/>
          </a:xfrm>
          <a:prstGeom prst="rect">
            <a:avLst/>
          </a:prstGeom>
          <a:noFill/>
          <a:ln w="0">
            <a:noFill/>
          </a:ln>
        </p:spPr>
        <p:txBody>
          <a:bodyPr lIns="0" rIns="0" tIns="0" bIns="0" anchor="t">
            <a:noAutofit/>
          </a:bodyPr>
          <a:p>
            <a:pPr marL="216000" indent="-216000">
              <a:buNone/>
            </a:pPr>
            <a:r>
              <a:rPr b="0" lang="en-US" sz="2000" spc="-1" strike="noStrike">
                <a:solidFill>
                  <a:srgbClr val="ffffff"/>
                </a:solidFill>
                <a:latin typeface="Calibri"/>
              </a:rPr>
              <a:t>Click to edit the notes format</a:t>
            </a:r>
            <a:endParaRPr b="0" lang="en-US" sz="2000" spc="-1" strike="noStrike">
              <a:solidFill>
                <a:srgbClr val="ffffff"/>
              </a:solidFill>
              <a:latin typeface="Calibri"/>
            </a:endParaRPr>
          </a:p>
        </p:txBody>
      </p:sp>
      <p:sp>
        <p:nvSpPr>
          <p:cNvPr id="264" name="PlaceHolder 3"/>
          <p:cNvSpPr>
            <a:spLocks noGrp="1"/>
          </p:cNvSpPr>
          <p:nvPr>
            <p:ph type="hdr"/>
          </p:nvPr>
        </p:nvSpPr>
        <p:spPr>
          <a:xfrm>
            <a:off x="0" y="0"/>
            <a:ext cx="3372840" cy="502560"/>
          </a:xfrm>
          <a:prstGeom prst="rect">
            <a:avLst/>
          </a:prstGeom>
          <a:noFill/>
          <a:ln w="0">
            <a:noFill/>
          </a:ln>
        </p:spPr>
        <p:txBody>
          <a:bodyPr lIns="0" rIns="0" tIns="0" bIns="0" anchor="t">
            <a:noAutofit/>
          </a:bodyPr>
          <a:p>
            <a:pPr indent="0">
              <a:buNone/>
            </a:pPr>
            <a:r>
              <a:rPr b="0" lang="en-US" sz="1400" spc="-1" strike="noStrike">
                <a:solidFill>
                  <a:srgbClr val="ffffff"/>
                </a:solidFill>
                <a:latin typeface="Calibri"/>
              </a:rPr>
              <a:t>&lt;header&gt;</a:t>
            </a:r>
            <a:endParaRPr b="0" lang="en-US" sz="1400" spc="-1" strike="noStrike">
              <a:solidFill>
                <a:srgbClr val="ffffff"/>
              </a:solidFill>
              <a:latin typeface="Calibri"/>
            </a:endParaRPr>
          </a:p>
        </p:txBody>
      </p:sp>
      <p:sp>
        <p:nvSpPr>
          <p:cNvPr id="265" name="PlaceHolder 4"/>
          <p:cNvSpPr>
            <a:spLocks noGrp="1"/>
          </p:cNvSpPr>
          <p:nvPr>
            <p:ph type="dt" idx="32"/>
          </p:nvPr>
        </p:nvSpPr>
        <p:spPr>
          <a:xfrm>
            <a:off x="4399200" y="0"/>
            <a:ext cx="3372840" cy="502560"/>
          </a:xfrm>
          <a:prstGeom prst="rect">
            <a:avLst/>
          </a:prstGeom>
          <a:noFill/>
          <a:ln w="0">
            <a:noFill/>
          </a:ln>
        </p:spPr>
        <p:txBody>
          <a:bodyPr lIns="0" rIns="0" tIns="0" bIns="0" anchor="t">
            <a:noAutofit/>
          </a:bodyPr>
          <a:lstStyle>
            <a:lvl1pPr indent="0" algn="r">
              <a:buNone/>
              <a:defRPr b="0" lang="en-US" sz="1400" spc="-1" strike="noStrike">
                <a:solidFill>
                  <a:srgbClr val="ffffff"/>
                </a:solidFill>
                <a:latin typeface="Calibri"/>
              </a:defRPr>
            </a:lvl1pPr>
          </a:lstStyle>
          <a:p>
            <a:pPr indent="0" algn="r">
              <a:buNone/>
            </a:pPr>
            <a:r>
              <a:rPr b="0" lang="en-US" sz="1400" spc="-1" strike="noStrike">
                <a:solidFill>
                  <a:srgbClr val="ffffff"/>
                </a:solidFill>
                <a:latin typeface="Calibri"/>
              </a:rPr>
              <a:t>&lt;date/time&gt;</a:t>
            </a:r>
            <a:endParaRPr b="0" lang="en-US" sz="1400" spc="-1" strike="noStrike">
              <a:solidFill>
                <a:srgbClr val="ffffff"/>
              </a:solidFill>
              <a:latin typeface="Calibri"/>
            </a:endParaRPr>
          </a:p>
        </p:txBody>
      </p:sp>
      <p:sp>
        <p:nvSpPr>
          <p:cNvPr id="266" name="PlaceHolder 5"/>
          <p:cNvSpPr>
            <a:spLocks noGrp="1"/>
          </p:cNvSpPr>
          <p:nvPr>
            <p:ph type="ftr" idx="33"/>
          </p:nvPr>
        </p:nvSpPr>
        <p:spPr>
          <a:xfrm>
            <a:off x="0" y="9555480"/>
            <a:ext cx="3372840" cy="502560"/>
          </a:xfrm>
          <a:prstGeom prst="rect">
            <a:avLst/>
          </a:prstGeom>
          <a:noFill/>
          <a:ln w="0">
            <a:noFill/>
          </a:ln>
        </p:spPr>
        <p:txBody>
          <a:bodyPr lIns="0" rIns="0" tIns="0" bIns="0" anchor="b">
            <a:noAutofit/>
          </a:bodyPr>
          <a:lstStyle>
            <a:lvl1pPr indent="0">
              <a:buNone/>
              <a:defRPr b="0" lang="en-US" sz="1400" spc="-1" strike="noStrike">
                <a:solidFill>
                  <a:srgbClr val="ffffff"/>
                </a:solidFill>
                <a:latin typeface="Calibri"/>
              </a:defRPr>
            </a:lvl1pPr>
          </a:lstStyle>
          <a:p>
            <a:pPr indent="0">
              <a:buNone/>
            </a:pPr>
            <a:r>
              <a:rPr b="0" lang="en-US" sz="1400" spc="-1" strike="noStrike">
                <a:solidFill>
                  <a:srgbClr val="ffffff"/>
                </a:solidFill>
                <a:latin typeface="Calibri"/>
              </a:rPr>
              <a:t>&lt;footer&gt;</a:t>
            </a:r>
            <a:endParaRPr b="0" lang="en-US" sz="1400" spc="-1" strike="noStrike">
              <a:solidFill>
                <a:srgbClr val="ffffff"/>
              </a:solidFill>
              <a:latin typeface="Calibri"/>
            </a:endParaRPr>
          </a:p>
        </p:txBody>
      </p:sp>
      <p:sp>
        <p:nvSpPr>
          <p:cNvPr id="267" name="PlaceHolder 6"/>
          <p:cNvSpPr>
            <a:spLocks noGrp="1"/>
          </p:cNvSpPr>
          <p:nvPr>
            <p:ph type="sldNum" idx="34"/>
          </p:nvPr>
        </p:nvSpPr>
        <p:spPr>
          <a:xfrm>
            <a:off x="4399200" y="9555480"/>
            <a:ext cx="3372840" cy="502560"/>
          </a:xfrm>
          <a:prstGeom prst="rect">
            <a:avLst/>
          </a:prstGeom>
          <a:noFill/>
          <a:ln w="0">
            <a:noFill/>
          </a:ln>
        </p:spPr>
        <p:txBody>
          <a:bodyPr lIns="0" rIns="0" tIns="0" bIns="0" anchor="b">
            <a:noAutofit/>
          </a:bodyPr>
          <a:lstStyle>
            <a:lvl1pPr indent="0" algn="r">
              <a:buNone/>
              <a:defRPr b="0" lang="en-US" sz="1400" spc="-1" strike="noStrike">
                <a:solidFill>
                  <a:srgbClr val="ffffff"/>
                </a:solidFill>
                <a:latin typeface="Calibri"/>
              </a:defRPr>
            </a:lvl1pPr>
          </a:lstStyle>
          <a:p>
            <a:pPr indent="0" algn="r">
              <a:buNone/>
            </a:pPr>
            <a:fld id="{CCF85557-D4A3-4139-A751-1C1EA1860998}" type="slidenum">
              <a:rPr b="0" lang="en-US" sz="1400" spc="-1" strike="noStrike">
                <a:solidFill>
                  <a:srgbClr val="ffffff"/>
                </a:solidFill>
                <a:latin typeface="Calibri"/>
              </a:rPr>
              <a:t>&lt;number&gt;</a:t>
            </a:fld>
            <a:endParaRPr b="0" lang="en-US" sz="1400" spc="-1" strike="noStrike">
              <a:solidFill>
                <a:srgbClr val="ffffff"/>
              </a:solidFill>
              <a:latin typeface="Calibri"/>
            </a:endParaRPr>
          </a:p>
        </p:txBody>
      </p:sp>
    </p:spTree>
  </p:cSld>
  <p:clrMap bg1="lt1" bg2="lt2" tx1="dk1" tx2="dk2" accent1="accent1" accent2="accent2" accent3="accent3" accent4="accent4" accent5="accent5" accent6="accent6" hlink="hlink" folHlink="folHlink"/>
</p:notesMaster>
</file>

<file path=ppt/notesSlides/_rels/notesSlide2.xml.rels><?xml version="1.0" encoding="UTF-8"?>
<Relationships xmlns="http://schemas.openxmlformats.org/package/2006/relationships"><Relationship Id="rId1" Type="http://schemas.openxmlformats.org/officeDocument/2006/relationships/slide" Target="../slides/slide2.xml"/><Relationship Id="rId2" Type="http://schemas.openxmlformats.org/officeDocument/2006/relationships/notesMaster" Target="../notesMasters/notesMaster1.xml"/>
</Relationships>
</file>

<file path=ppt/notesSlides/_rels/notesSlide3.xml.rels><?xml version="1.0" encoding="UTF-8"?>
<Relationships xmlns="http://schemas.openxmlformats.org/package/2006/relationships"><Relationship Id="rId1" Type="http://schemas.openxmlformats.org/officeDocument/2006/relationships/slide" Target="../slides/slide3.xml"/><Relationship Id="rId2" Type="http://schemas.openxmlformats.org/officeDocument/2006/relationships/notesMaster" Target="../notesMasters/notesMaster1.xml"/>
</Relationships>
</file>

<file path=ppt/notesSlides/_rels/notesSlide4.xml.rels><?xml version="1.0" encoding="UTF-8"?>
<Relationships xmlns="http://schemas.openxmlformats.org/package/2006/relationships"><Relationship Id="rId1" Type="http://schemas.openxmlformats.org/officeDocument/2006/relationships/slide" Target="../slides/slide4.xml"/><Relationship Id="rId2" Type="http://schemas.openxmlformats.org/officeDocument/2006/relationships/notesMaster" Target="../notesMasters/notesMaster1.xml"/>
</Relationships>
</file>

<file path=ppt/notesSlides/_rels/notesSlide5.xml.rels><?xml version="1.0" encoding="UTF-8"?>
<Relationships xmlns="http://schemas.openxmlformats.org/package/2006/relationships"><Relationship Id="rId1" Type="http://schemas.openxmlformats.org/officeDocument/2006/relationships/slide" Target="../slides/slide5.xml"/><Relationship Id="rId2" Type="http://schemas.openxmlformats.org/officeDocument/2006/relationships/notesMaster" Target="../notesMasters/notesMaster1.xml"/>
</Relationships>
</file>

<file path=ppt/notesSlides/_rels/notesSlide8.xml.rels><?xml version="1.0" encoding="UTF-8"?>
<Relationships xmlns="http://schemas.openxmlformats.org/package/2006/relationships"><Relationship Id="rId1" Type="http://schemas.openxmlformats.org/officeDocument/2006/relationships/slide" Target="../slides/slide8.xml"/><Relationship Id="rId2" Type="http://schemas.openxmlformats.org/officeDocument/2006/relationships/notesMaster" Target="../notesMasters/notesMaster1.xml"/>
</Relationships>
</file>

<file path=ppt/notesSlides/notesSlide2.xml><?xml version="1.0" encoding="utf-8"?>
<p:notes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p:cSld>
    <p:spTree>
      <p:nvGrpSpPr>
        <p:cNvPr id="1" name=""/>
        <p:cNvGrpSpPr/>
        <p:nvPr/>
      </p:nvGrpSpPr>
      <p:grpSpPr>
        <a:xfrm>
          <a:off x="0" y="0"/>
          <a:ext cx="0" cy="0"/>
          <a:chOff x="0" y="0"/>
          <a:chExt cx="0" cy="0"/>
        </a:xfrm>
      </p:grpSpPr>
      <p:sp>
        <p:nvSpPr>
          <p:cNvPr id="867" name="PlaceHolder 1"/>
          <p:cNvSpPr>
            <a:spLocks noGrp="1"/>
          </p:cNvSpPr>
          <p:nvPr>
            <p:ph type="sldImg"/>
          </p:nvPr>
        </p:nvSpPr>
        <p:spPr>
          <a:xfrm>
            <a:off x="479520" y="1279440"/>
            <a:ext cx="6140160" cy="3454200"/>
          </a:xfrm>
          <a:prstGeom prst="rect">
            <a:avLst/>
          </a:prstGeom>
          <a:ln w="0">
            <a:noFill/>
          </a:ln>
        </p:spPr>
      </p:sp>
      <p:sp>
        <p:nvSpPr>
          <p:cNvPr id="868" name="PlaceHolder 2"/>
          <p:cNvSpPr>
            <a:spLocks noGrp="1"/>
          </p:cNvSpPr>
          <p:nvPr>
            <p:ph type="body"/>
          </p:nvPr>
        </p:nvSpPr>
        <p:spPr>
          <a:xfrm>
            <a:off x="709920" y="4925520"/>
            <a:ext cx="5679000" cy="4624200"/>
          </a:xfrm>
          <a:prstGeom prst="rect">
            <a:avLst/>
          </a:prstGeom>
          <a:noFill/>
          <a:ln w="0">
            <a:noFill/>
          </a:ln>
        </p:spPr>
        <p:txBody>
          <a:bodyPr lIns="94320" rIns="94320" tIns="47160" bIns="47160" anchor="t">
            <a:noAutofit/>
          </a:bodyPr>
          <a:p>
            <a:pPr indent="0">
              <a:lnSpc>
                <a:spcPct val="100000"/>
              </a:lnSpc>
              <a:buNone/>
              <a:tabLst>
                <a:tab algn="l" pos="0"/>
              </a:tabLst>
            </a:pPr>
            <a:r>
              <a:rPr b="0" lang="en-US" sz="2000" spc="-1" strike="noStrike">
                <a:solidFill>
                  <a:srgbClr val="ffffff"/>
                </a:solidFill>
                <a:latin typeface="Calibri"/>
              </a:rPr>
              <a:t>4 key areas of research in two locations, Hamburg and Zeuthen</a:t>
            </a:r>
            <a:endParaRPr b="0" lang="en-US" sz="2000" spc="-1" strike="noStrike">
              <a:solidFill>
                <a:srgbClr val="ffffff"/>
              </a:solidFill>
              <a:latin typeface="Calibri"/>
            </a:endParaRPr>
          </a:p>
          <a:p>
            <a:pPr marL="192600" indent="-192600" defTabSz="990360">
              <a:lnSpc>
                <a:spcPct val="100000"/>
              </a:lnSpc>
              <a:buNone/>
              <a:tabLst>
                <a:tab algn="l" pos="0"/>
              </a:tabLst>
            </a:pPr>
            <a:r>
              <a:rPr b="1" lang="de-DE" sz="2000" spc="-1" strike="noStrike">
                <a:solidFill>
                  <a:schemeClr val="lt1"/>
                </a:solidFill>
                <a:latin typeface="Calibri"/>
              </a:rPr>
              <a:t>Photon Science: </a:t>
            </a:r>
            <a:r>
              <a:rPr b="0" lang="de-DE" sz="2000" spc="-1" strike="noStrike">
                <a:solidFill>
                  <a:schemeClr val="lt1"/>
                </a:solidFill>
                <a:latin typeface="Calibri"/>
              </a:rPr>
              <a:t>Several of the worlds best light sources are located at DESY, their special X-ray radiation makes atomatic structures and reactions in the nanocosmos visible</a:t>
            </a:r>
            <a:r>
              <a:rPr b="1" lang="de-DE" sz="2000" spc="-1" strike="noStrike">
                <a:solidFill>
                  <a:schemeClr val="lt1"/>
                </a:solidFill>
                <a:latin typeface="Calibri"/>
              </a:rPr>
              <a:t>.</a:t>
            </a:r>
            <a:r>
              <a:rPr b="0" lang="de-DE" sz="2000" spc="-1" strike="noStrike">
                <a:solidFill>
                  <a:schemeClr val="lt1"/>
                </a:solidFill>
                <a:latin typeface="Calibri"/>
              </a:rPr>
              <a:t>„Können wir die Funktion von (Bio-) Materialien auf allen relevanten Längen- und Zeitskalen abbilden ?“</a:t>
            </a:r>
            <a:endParaRPr b="0" lang="en-US" sz="2000" spc="-1" strike="noStrike">
              <a:solidFill>
                <a:srgbClr val="ffffff"/>
              </a:solidFill>
              <a:latin typeface="Calibri"/>
            </a:endParaRPr>
          </a:p>
          <a:p>
            <a:pPr marL="192600" indent="-192600" defTabSz="990360">
              <a:lnSpc>
                <a:spcPct val="100000"/>
              </a:lnSpc>
              <a:buNone/>
              <a:tabLst>
                <a:tab algn="l" pos="0"/>
              </a:tabLst>
            </a:pPr>
            <a:r>
              <a:rPr b="1" lang="de-DE" sz="2000" spc="-1" strike="noStrike">
                <a:solidFill>
                  <a:schemeClr val="lt1"/>
                </a:solidFill>
                <a:latin typeface="Calibri"/>
              </a:rPr>
              <a:t>Accelerators: </a:t>
            </a:r>
            <a:r>
              <a:rPr b="0" lang="de-DE" sz="2000" spc="-1" strike="noStrike">
                <a:solidFill>
                  <a:schemeClr val="lt1"/>
                </a:solidFill>
                <a:latin typeface="Calibri"/>
              </a:rPr>
              <a:t>DESY develops, operates and utilizes state of th art accelerator facilities  know-how„Können wir neuartige kompaktere Beschleuniger entwickeln?“</a:t>
            </a:r>
            <a:endParaRPr b="0" lang="en-US" sz="2000" spc="-1" strike="noStrike">
              <a:solidFill>
                <a:srgbClr val="ffffff"/>
              </a:solidFill>
              <a:latin typeface="Calibri"/>
            </a:endParaRPr>
          </a:p>
          <a:p>
            <a:pPr marL="192600" indent="-192600" defTabSz="990360">
              <a:lnSpc>
                <a:spcPct val="100000"/>
              </a:lnSpc>
              <a:buNone/>
              <a:tabLst>
                <a:tab algn="l" pos="0"/>
              </a:tabLst>
            </a:pPr>
            <a:r>
              <a:rPr b="1" lang="de-DE" sz="2000" spc="-1" strike="noStrike">
                <a:solidFill>
                  <a:schemeClr val="lt1"/>
                </a:solidFill>
                <a:latin typeface="Calibri"/>
              </a:rPr>
              <a:t>Particle Physics: </a:t>
            </a:r>
            <a:r>
              <a:rPr b="0" lang="de-DE" sz="2000" spc="-1" strike="noStrike">
                <a:solidFill>
                  <a:schemeClr val="lt1"/>
                </a:solidFill>
                <a:latin typeface="Calibri"/>
              </a:rPr>
              <a:t>Investigation of the fundamental building blocks and forces of nature, „Was ist die Physik jenseits des Standardmodells</a:t>
            </a:r>
            <a:r>
              <a:rPr b="0" lang="en-GB" sz="2000" spc="-1" strike="noStrike">
                <a:solidFill>
                  <a:srgbClr val="ffffff"/>
                </a:solidFill>
                <a:latin typeface="Calibri"/>
              </a:rPr>
              <a:t>. DESY is in charge for the german contribution of the CERN in Switzerland</a:t>
            </a:r>
            <a:endParaRPr b="0" lang="en-US" sz="2000" spc="-1" strike="noStrike">
              <a:solidFill>
                <a:srgbClr val="ffffff"/>
              </a:solidFill>
              <a:latin typeface="Calibri"/>
            </a:endParaRPr>
          </a:p>
          <a:p>
            <a:pPr marL="192600" indent="-192600" defTabSz="990360">
              <a:lnSpc>
                <a:spcPct val="100000"/>
              </a:lnSpc>
              <a:buNone/>
              <a:tabLst>
                <a:tab algn="l" pos="0"/>
              </a:tabLst>
            </a:pPr>
            <a:r>
              <a:rPr b="1" lang="de-DE" sz="2000" spc="-1" strike="noStrike">
                <a:solidFill>
                  <a:schemeClr val="lt1"/>
                </a:solidFill>
                <a:latin typeface="Calibri"/>
              </a:rPr>
              <a:t>Astroparticle Physics</a:t>
            </a:r>
            <a:r>
              <a:rPr b="0" lang="de-DE" sz="2000" spc="-1" strike="noStrike">
                <a:solidFill>
                  <a:schemeClr val="lt1"/>
                </a:solidFill>
                <a:latin typeface="Calibri"/>
              </a:rPr>
              <a:t>: using comis messengers such as gamma rays or neutrinos to understand high-energy processes in the universe. Rolle spielen hochenergetische Teilchen in der Evolution des Universums?“ ,</a:t>
            </a:r>
            <a:r>
              <a:rPr b="0" lang="en-GB" sz="2000" spc="-1" strike="noStrike">
                <a:solidFill>
                  <a:srgbClr val="ffffff"/>
                </a:solidFill>
                <a:latin typeface="Calibri"/>
              </a:rPr>
              <a:t>Zeuthen will be an international reference point for  scientists involved in high-energy astrophysics</a:t>
            </a:r>
            <a:endParaRPr b="0" lang="en-US" sz="2000" spc="-1" strike="noStrike">
              <a:solidFill>
                <a:srgbClr val="ffffff"/>
              </a:solidFill>
              <a:latin typeface="Calibri"/>
            </a:endParaRPr>
          </a:p>
          <a:p>
            <a:pPr indent="0" defTabSz="990360">
              <a:lnSpc>
                <a:spcPct val="100000"/>
              </a:lnSpc>
              <a:buNone/>
              <a:tabLst>
                <a:tab algn="l" pos="0"/>
              </a:tabLst>
            </a:pPr>
            <a:endParaRPr b="0" lang="en-US" sz="2000" spc="-1" strike="noStrike">
              <a:solidFill>
                <a:srgbClr val="ffffff"/>
              </a:solidFill>
              <a:latin typeface="Calibri"/>
            </a:endParaRPr>
          </a:p>
          <a:p>
            <a:pPr indent="0" defTabSz="990360">
              <a:lnSpc>
                <a:spcPct val="100000"/>
              </a:lnSpc>
              <a:buNone/>
              <a:tabLst>
                <a:tab algn="l" pos="0"/>
              </a:tabLst>
            </a:pPr>
            <a:r>
              <a:rPr b="0" lang="en-GB" sz="2000" spc="-1" strike="noStrike">
                <a:solidFill>
                  <a:srgbClr val="ffffff"/>
                </a:solidFill>
                <a:latin typeface="Calibri"/>
              </a:rPr>
              <a:t>Some further info: </a:t>
            </a:r>
            <a:endParaRPr b="0" lang="en-US" sz="2000" spc="-1" strike="noStrike">
              <a:solidFill>
                <a:srgbClr val="ffffff"/>
              </a:solidFill>
              <a:latin typeface="Calibri"/>
            </a:endParaRPr>
          </a:p>
          <a:p>
            <a:pPr indent="0" defTabSz="990360">
              <a:lnSpc>
                <a:spcPct val="100000"/>
              </a:lnSpc>
              <a:buNone/>
              <a:tabLst>
                <a:tab algn="l" pos="0"/>
              </a:tabLst>
            </a:pPr>
            <a:r>
              <a:rPr b="0" lang="en-US" sz="2000" spc="-1" strike="noStrike">
                <a:solidFill>
                  <a:srgbClr val="ffffff"/>
                </a:solidFill>
                <a:latin typeface="Calibri"/>
              </a:rPr>
              <a:t>Employees: approximately 2300, including 650 scientists working in the fields of accelerator operation, research and development</a:t>
            </a:r>
            <a:endParaRPr b="0" lang="en-US" sz="2000" spc="-1" strike="noStrike">
              <a:solidFill>
                <a:srgbClr val="ffffff"/>
              </a:solidFill>
              <a:latin typeface="Calibri"/>
            </a:endParaRPr>
          </a:p>
          <a:p>
            <a:pPr indent="0" defTabSz="990360">
              <a:lnSpc>
                <a:spcPct val="100000"/>
              </a:lnSpc>
              <a:buNone/>
              <a:tabLst>
                <a:tab algn="l" pos="0"/>
              </a:tabLst>
            </a:pPr>
            <a:r>
              <a:rPr b="0" lang="en-US" sz="2000" spc="-1" strike="noStrike">
                <a:solidFill>
                  <a:srgbClr val="ffffff"/>
                </a:solidFill>
                <a:latin typeface="Calibri"/>
              </a:rPr>
              <a:t>Guest scientists: more than 3000 from over 40 countries come to DESY each year to run experiments.</a:t>
            </a:r>
            <a:endParaRPr b="0" lang="en-US" sz="2000" spc="-1" strike="noStrike">
              <a:solidFill>
                <a:srgbClr val="ffffff"/>
              </a:solidFill>
              <a:latin typeface="Calibri"/>
            </a:endParaRPr>
          </a:p>
          <a:p>
            <a:pPr indent="0" defTabSz="990360">
              <a:lnSpc>
                <a:spcPct val="100000"/>
              </a:lnSpc>
              <a:buNone/>
              <a:tabLst>
                <a:tab algn="l" pos="0"/>
              </a:tabLst>
            </a:pPr>
            <a:endParaRPr b="0" lang="en-US" sz="2000" spc="-1" strike="noStrike">
              <a:solidFill>
                <a:srgbClr val="ffffff"/>
              </a:solidFill>
              <a:latin typeface="Calibri"/>
            </a:endParaRPr>
          </a:p>
          <a:p>
            <a:pPr indent="0" defTabSz="990360">
              <a:lnSpc>
                <a:spcPct val="100000"/>
              </a:lnSpc>
              <a:buNone/>
              <a:tabLst>
                <a:tab algn="l" pos="0"/>
              </a:tabLst>
            </a:pPr>
            <a:r>
              <a:rPr b="0" lang="en-US" sz="2000" spc="-1" strike="noStrike">
                <a:solidFill>
                  <a:srgbClr val="ffffff"/>
                </a:solidFill>
                <a:latin typeface="Calibri"/>
              </a:rPr>
              <a:t>DESY cooperates with industry and business to promote new technologies that will benefit society and encourage innovations. This also benefits the metropolitan regions of the two DESY locations, Hamburg and Zeuthen near Berlin.</a:t>
            </a:r>
            <a:endParaRPr b="0" lang="en-US" sz="2000" spc="-1" strike="noStrike">
              <a:solidFill>
                <a:srgbClr val="ffffff"/>
              </a:solidFill>
              <a:latin typeface="Calibri"/>
            </a:endParaRPr>
          </a:p>
        </p:txBody>
      </p:sp>
      <p:sp>
        <p:nvSpPr>
          <p:cNvPr id="869" name="PlaceHolder 3"/>
          <p:cNvSpPr>
            <a:spLocks noGrp="1"/>
          </p:cNvSpPr>
          <p:nvPr>
            <p:ph type="sldNum" idx="42"/>
          </p:nvPr>
        </p:nvSpPr>
        <p:spPr>
          <a:xfrm>
            <a:off x="4021200" y="9721080"/>
            <a:ext cx="3075840" cy="513000"/>
          </a:xfrm>
          <a:prstGeom prst="rect">
            <a:avLst/>
          </a:prstGeom>
          <a:noFill/>
          <a:ln w="0">
            <a:noFill/>
          </a:ln>
        </p:spPr>
        <p:txBody>
          <a:bodyPr lIns="94320" rIns="94320" tIns="47160" bIns="47160" anchor="b">
            <a:noAutofit/>
          </a:bodyPr>
          <a:lstStyle>
            <a:lvl1pPr indent="0" algn="r" defTabSz="457200">
              <a:lnSpc>
                <a:spcPct val="100000"/>
              </a:lnSpc>
              <a:buNone/>
              <a:defRPr b="0" lang="de-DE" sz="1200" spc="-1" strike="noStrike">
                <a:solidFill>
                  <a:schemeClr val="dk1"/>
                </a:solidFill>
                <a:latin typeface="+mn-lt"/>
                <a:ea typeface="+mn-ea"/>
              </a:defRPr>
            </a:lvl1pPr>
          </a:lstStyle>
          <a:p>
            <a:pPr indent="0" algn="r" defTabSz="457200">
              <a:lnSpc>
                <a:spcPct val="100000"/>
              </a:lnSpc>
              <a:buNone/>
            </a:pPr>
            <a:fld id="{5151A52E-EA97-4E3D-A7CE-C163DC544998}" type="slidenum">
              <a:rPr b="0" lang="de-DE" sz="1200" spc="-1" strike="noStrike">
                <a:solidFill>
                  <a:schemeClr val="dk1"/>
                </a:solidFill>
                <a:latin typeface="+mn-lt"/>
                <a:ea typeface="+mn-ea"/>
              </a:rPr>
              <a:t>&lt;number&gt;</a:t>
            </a:fld>
            <a:endParaRPr b="0" lang="en-US" sz="1200" spc="-1" strike="noStrike">
              <a:solidFill>
                <a:srgbClr val="ffffff"/>
              </a:solidFill>
              <a:latin typeface="Calibri"/>
            </a:endParaRPr>
          </a:p>
        </p:txBody>
      </p:sp>
    </p:spTree>
  </p:cSld>
</p:notes>
</file>

<file path=ppt/notesSlides/notesSlide3.xml><?xml version="1.0" encoding="utf-8"?>
<p:notes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p:cSld>
    <p:spTree>
      <p:nvGrpSpPr>
        <p:cNvPr id="1" name=""/>
        <p:cNvGrpSpPr/>
        <p:nvPr/>
      </p:nvGrpSpPr>
      <p:grpSpPr>
        <a:xfrm>
          <a:off x="0" y="0"/>
          <a:ext cx="0" cy="0"/>
          <a:chOff x="0" y="0"/>
          <a:chExt cx="0" cy="0"/>
        </a:xfrm>
      </p:grpSpPr>
      <p:sp>
        <p:nvSpPr>
          <p:cNvPr id="870" name="PlaceHolder 1"/>
          <p:cNvSpPr>
            <a:spLocks noGrp="1"/>
          </p:cNvSpPr>
          <p:nvPr>
            <p:ph type="sldImg"/>
          </p:nvPr>
        </p:nvSpPr>
        <p:spPr>
          <a:xfrm>
            <a:off x="479520" y="1279440"/>
            <a:ext cx="6140160" cy="3454200"/>
          </a:xfrm>
          <a:prstGeom prst="rect">
            <a:avLst/>
          </a:prstGeom>
          <a:ln w="0">
            <a:noFill/>
          </a:ln>
        </p:spPr>
      </p:sp>
      <p:sp>
        <p:nvSpPr>
          <p:cNvPr id="871" name="PlaceHolder 2"/>
          <p:cNvSpPr>
            <a:spLocks noGrp="1"/>
          </p:cNvSpPr>
          <p:nvPr>
            <p:ph type="body"/>
          </p:nvPr>
        </p:nvSpPr>
        <p:spPr>
          <a:xfrm>
            <a:off x="709920" y="4925520"/>
            <a:ext cx="5679000" cy="4624200"/>
          </a:xfrm>
          <a:prstGeom prst="rect">
            <a:avLst/>
          </a:prstGeom>
          <a:noFill/>
          <a:ln w="0">
            <a:noFill/>
          </a:ln>
        </p:spPr>
        <p:txBody>
          <a:bodyPr lIns="94320" rIns="94320" tIns="47160" bIns="47160" anchor="t">
            <a:noAutofit/>
          </a:bodyPr>
          <a:p>
            <a:pPr marL="216000" indent="0">
              <a:lnSpc>
                <a:spcPct val="100000"/>
              </a:lnSpc>
              <a:buNone/>
            </a:pPr>
            <a:r>
              <a:rPr b="0" lang="en-DE" sz="2000" spc="-1" strike="noStrike">
                <a:solidFill>
                  <a:srgbClr val="ffffff"/>
                </a:solidFill>
                <a:latin typeface="Calibri"/>
              </a:rPr>
              <a:t>I said initially that our motto is “the decoding of matter”, and we do this is on practically all possible length scales – starting at the largest structures in the universe (and studying the history and development of the universe) – over intermediate scales down to the smallest imaginable structures – the elementary particles currently known and their interactions. </a:t>
            </a:r>
            <a:endParaRPr b="0" lang="en-US" sz="2000" spc="-1" strike="noStrike">
              <a:solidFill>
                <a:srgbClr val="ffffff"/>
              </a:solidFill>
              <a:latin typeface="Calibri"/>
            </a:endParaRPr>
          </a:p>
          <a:p>
            <a:pPr marL="216000" indent="0">
              <a:lnSpc>
                <a:spcPct val="100000"/>
              </a:lnSpc>
              <a:buNone/>
            </a:pPr>
            <a:r>
              <a:rPr b="0" lang="en-DE" sz="2000" spc="-1" strike="noStrike">
                <a:solidFill>
                  <a:srgbClr val="ffffff"/>
                </a:solidFill>
                <a:latin typeface="Calibri"/>
              </a:rPr>
              <a:t>In trying to answer these and other research questions, we rely on high tech – in particular in the fields of accelerators, but also of particle and radiation detectors, and of computing: (We are experts in big data, in grid &amp; cloud computing and related areas. )</a:t>
            </a:r>
            <a:endParaRPr b="0" lang="en-US" sz="2000" spc="-1" strike="noStrike">
              <a:solidFill>
                <a:srgbClr val="ffffff"/>
              </a:solidFill>
              <a:latin typeface="Calibri"/>
            </a:endParaRPr>
          </a:p>
          <a:p>
            <a:pPr marL="216000" indent="0">
              <a:lnSpc>
                <a:spcPct val="100000"/>
              </a:lnSpc>
              <a:buNone/>
            </a:pPr>
            <a:r>
              <a:rPr b="0" lang="en-DE" sz="2000" spc="-1" strike="noStrike">
                <a:solidFill>
                  <a:srgbClr val="ffffff"/>
                </a:solidFill>
                <a:latin typeface="Calibri"/>
              </a:rPr>
              <a:t>Not only understand – but use! </a:t>
            </a:r>
            <a:r>
              <a:rPr b="0" lang="en-DE" sz="2000" spc="-1" strike="noStrike">
                <a:solidFill>
                  <a:srgbClr val="ffffff"/>
                </a:solidFill>
                <a:latin typeface="Wingdings"/>
              </a:rPr>
              <a:t></a:t>
            </a:r>
            <a:r>
              <a:rPr b="0" lang="en-DE" sz="2000" spc="-1" strike="noStrike">
                <a:solidFill>
                  <a:srgbClr val="ffffff"/>
                </a:solidFill>
                <a:latin typeface="Calibri"/>
              </a:rPr>
              <a:t> function as an important term. </a:t>
            </a:r>
            <a:endParaRPr b="0" lang="en-US" sz="2000" spc="-1" strike="noStrike">
              <a:solidFill>
                <a:srgbClr val="ffffff"/>
              </a:solidFill>
              <a:latin typeface="Calibri"/>
            </a:endParaRPr>
          </a:p>
        </p:txBody>
      </p:sp>
      <p:sp>
        <p:nvSpPr>
          <p:cNvPr id="872" name="PlaceHolder 3"/>
          <p:cNvSpPr>
            <a:spLocks noGrp="1"/>
          </p:cNvSpPr>
          <p:nvPr>
            <p:ph type="sldNum" idx="43"/>
          </p:nvPr>
        </p:nvSpPr>
        <p:spPr>
          <a:xfrm>
            <a:off x="4021200" y="9721080"/>
            <a:ext cx="3075840" cy="513000"/>
          </a:xfrm>
          <a:prstGeom prst="rect">
            <a:avLst/>
          </a:prstGeom>
          <a:noFill/>
          <a:ln w="0">
            <a:noFill/>
          </a:ln>
        </p:spPr>
        <p:txBody>
          <a:bodyPr lIns="94320" rIns="94320" tIns="47160" bIns="47160" anchor="b">
            <a:noAutofit/>
          </a:bodyPr>
          <a:lstStyle>
            <a:lvl1pPr indent="0" algn="r">
              <a:lnSpc>
                <a:spcPct val="100000"/>
              </a:lnSpc>
              <a:buNone/>
              <a:defRPr b="0" lang="de-DE" sz="1200" spc="-1" strike="noStrike">
                <a:solidFill>
                  <a:srgbClr val="ffffff"/>
                </a:solidFill>
                <a:latin typeface="Calibri"/>
              </a:defRPr>
            </a:lvl1pPr>
          </a:lstStyle>
          <a:p>
            <a:pPr indent="0" algn="r">
              <a:lnSpc>
                <a:spcPct val="100000"/>
              </a:lnSpc>
              <a:buNone/>
            </a:pPr>
            <a:fld id="{687BDE7C-B56A-44C1-B958-CC90567302B2}" type="slidenum">
              <a:rPr b="0" lang="de-DE" sz="1200" spc="-1" strike="noStrike">
                <a:solidFill>
                  <a:srgbClr val="ffffff"/>
                </a:solidFill>
                <a:latin typeface="Calibri"/>
              </a:rPr>
              <a:t>&lt;number&gt;</a:t>
            </a:fld>
            <a:endParaRPr b="0" lang="en-US" sz="1200" spc="-1" strike="noStrike">
              <a:solidFill>
                <a:srgbClr val="ffffff"/>
              </a:solidFill>
              <a:latin typeface="Calibri"/>
            </a:endParaRPr>
          </a:p>
        </p:txBody>
      </p:sp>
    </p:spTree>
  </p:cSld>
</p:notes>
</file>

<file path=ppt/notesSlides/notesSlide4.xml><?xml version="1.0" encoding="utf-8"?>
<p:notes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p:cSld>
    <p:spTree>
      <p:nvGrpSpPr>
        <p:cNvPr id="1" name=""/>
        <p:cNvGrpSpPr/>
        <p:nvPr/>
      </p:nvGrpSpPr>
      <p:grpSpPr>
        <a:xfrm>
          <a:off x="0" y="0"/>
          <a:ext cx="0" cy="0"/>
          <a:chOff x="0" y="0"/>
          <a:chExt cx="0" cy="0"/>
        </a:xfrm>
      </p:grpSpPr>
      <p:sp>
        <p:nvSpPr>
          <p:cNvPr id="873" name="PlaceHolder 1"/>
          <p:cNvSpPr>
            <a:spLocks noGrp="1"/>
          </p:cNvSpPr>
          <p:nvPr>
            <p:ph type="sldImg"/>
          </p:nvPr>
        </p:nvSpPr>
        <p:spPr>
          <a:xfrm>
            <a:off x="479520" y="1279440"/>
            <a:ext cx="6140160" cy="3454200"/>
          </a:xfrm>
          <a:prstGeom prst="rect">
            <a:avLst/>
          </a:prstGeom>
          <a:ln w="0">
            <a:noFill/>
          </a:ln>
        </p:spPr>
      </p:sp>
      <p:sp>
        <p:nvSpPr>
          <p:cNvPr id="874" name="PlaceHolder 2"/>
          <p:cNvSpPr>
            <a:spLocks noGrp="1"/>
          </p:cNvSpPr>
          <p:nvPr>
            <p:ph type="body"/>
          </p:nvPr>
        </p:nvSpPr>
        <p:spPr>
          <a:xfrm>
            <a:off x="709920" y="4925520"/>
            <a:ext cx="5679000" cy="4624200"/>
          </a:xfrm>
          <a:prstGeom prst="rect">
            <a:avLst/>
          </a:prstGeom>
          <a:noFill/>
          <a:ln w="0">
            <a:noFill/>
          </a:ln>
        </p:spPr>
        <p:txBody>
          <a:bodyPr lIns="94320" rIns="94320" tIns="47160" bIns="47160" anchor="t">
            <a:noAutofit/>
          </a:bodyPr>
          <a:p>
            <a:pPr indent="0">
              <a:lnSpc>
                <a:spcPct val="100000"/>
              </a:lnSpc>
              <a:buNone/>
              <a:tabLst>
                <a:tab algn="l" pos="0"/>
              </a:tabLst>
            </a:pPr>
            <a:r>
              <a:rPr b="0" lang="en-US" sz="2000" spc="-1" strike="noStrike">
                <a:solidFill>
                  <a:srgbClr val="ffffff"/>
                </a:solidFill>
                <a:latin typeface="Calibri"/>
              </a:rPr>
              <a:t>4 key areas of research in two locations, Hamburg and Zeuthen</a:t>
            </a:r>
            <a:endParaRPr b="0" lang="en-US" sz="2000" spc="-1" strike="noStrike">
              <a:solidFill>
                <a:srgbClr val="ffffff"/>
              </a:solidFill>
              <a:latin typeface="Calibri"/>
            </a:endParaRPr>
          </a:p>
          <a:p>
            <a:pPr marL="192600" indent="-192600" defTabSz="990360">
              <a:lnSpc>
                <a:spcPct val="100000"/>
              </a:lnSpc>
              <a:buNone/>
              <a:tabLst>
                <a:tab algn="l" pos="0"/>
              </a:tabLst>
            </a:pPr>
            <a:r>
              <a:rPr b="1" lang="de-DE" sz="2000" spc="-1" strike="noStrike">
                <a:solidFill>
                  <a:schemeClr val="lt1"/>
                </a:solidFill>
                <a:latin typeface="Calibri"/>
              </a:rPr>
              <a:t>Photon Science: </a:t>
            </a:r>
            <a:r>
              <a:rPr b="0" lang="de-DE" sz="2000" spc="-1" strike="noStrike">
                <a:solidFill>
                  <a:schemeClr val="lt1"/>
                </a:solidFill>
                <a:latin typeface="Calibri"/>
              </a:rPr>
              <a:t>Several of the worlds best light sources are located at DESY, their special X-ray radiation makes atomatic structures and reactions in the nanocosmos visible</a:t>
            </a:r>
            <a:r>
              <a:rPr b="1" lang="de-DE" sz="2000" spc="-1" strike="noStrike">
                <a:solidFill>
                  <a:schemeClr val="lt1"/>
                </a:solidFill>
                <a:latin typeface="Calibri"/>
              </a:rPr>
              <a:t>.</a:t>
            </a:r>
            <a:r>
              <a:rPr b="0" lang="de-DE" sz="2000" spc="-1" strike="noStrike">
                <a:solidFill>
                  <a:schemeClr val="lt1"/>
                </a:solidFill>
                <a:latin typeface="Calibri"/>
              </a:rPr>
              <a:t>„Können wir die Funktion von (Bio-) Materialien auf allen relevanten Längen- und Zeitskalen abbilden ?“</a:t>
            </a:r>
            <a:endParaRPr b="0" lang="en-US" sz="2000" spc="-1" strike="noStrike">
              <a:solidFill>
                <a:srgbClr val="ffffff"/>
              </a:solidFill>
              <a:latin typeface="Calibri"/>
            </a:endParaRPr>
          </a:p>
          <a:p>
            <a:pPr marL="192600" indent="-192600" defTabSz="990360">
              <a:lnSpc>
                <a:spcPct val="100000"/>
              </a:lnSpc>
              <a:buNone/>
              <a:tabLst>
                <a:tab algn="l" pos="0"/>
              </a:tabLst>
            </a:pPr>
            <a:r>
              <a:rPr b="1" lang="de-DE" sz="2000" spc="-1" strike="noStrike">
                <a:solidFill>
                  <a:schemeClr val="lt1"/>
                </a:solidFill>
                <a:latin typeface="Calibri"/>
              </a:rPr>
              <a:t>Accelerators: </a:t>
            </a:r>
            <a:r>
              <a:rPr b="0" lang="de-DE" sz="2000" spc="-1" strike="noStrike">
                <a:solidFill>
                  <a:schemeClr val="lt1"/>
                </a:solidFill>
                <a:latin typeface="Calibri"/>
              </a:rPr>
              <a:t>DESY develops, operates and utilizes state of th art accelerator facilities  know-how„Können wir neuartige kompaktere Beschleuniger entwickeln?“</a:t>
            </a:r>
            <a:endParaRPr b="0" lang="en-US" sz="2000" spc="-1" strike="noStrike">
              <a:solidFill>
                <a:srgbClr val="ffffff"/>
              </a:solidFill>
              <a:latin typeface="Calibri"/>
            </a:endParaRPr>
          </a:p>
          <a:p>
            <a:pPr marL="192600" indent="-192600" defTabSz="990360">
              <a:lnSpc>
                <a:spcPct val="100000"/>
              </a:lnSpc>
              <a:buNone/>
              <a:tabLst>
                <a:tab algn="l" pos="0"/>
              </a:tabLst>
            </a:pPr>
            <a:r>
              <a:rPr b="1" lang="de-DE" sz="2000" spc="-1" strike="noStrike">
                <a:solidFill>
                  <a:schemeClr val="lt1"/>
                </a:solidFill>
                <a:latin typeface="Calibri"/>
              </a:rPr>
              <a:t>Particle Physics: </a:t>
            </a:r>
            <a:r>
              <a:rPr b="0" lang="de-DE" sz="2000" spc="-1" strike="noStrike">
                <a:solidFill>
                  <a:schemeClr val="lt1"/>
                </a:solidFill>
                <a:latin typeface="Calibri"/>
              </a:rPr>
              <a:t>Investigation of the fundamental building blocks and forces of nature, „Was ist die Physik jenseits des Standardmodells</a:t>
            </a:r>
            <a:r>
              <a:rPr b="0" lang="en-GB" sz="2000" spc="-1" strike="noStrike">
                <a:solidFill>
                  <a:srgbClr val="ffffff"/>
                </a:solidFill>
                <a:latin typeface="Calibri"/>
              </a:rPr>
              <a:t>. DESY is in charge for the german contribution of the CERN in Switzerland</a:t>
            </a:r>
            <a:endParaRPr b="0" lang="en-US" sz="2000" spc="-1" strike="noStrike">
              <a:solidFill>
                <a:srgbClr val="ffffff"/>
              </a:solidFill>
              <a:latin typeface="Calibri"/>
            </a:endParaRPr>
          </a:p>
          <a:p>
            <a:pPr marL="192600" indent="-192600" defTabSz="990360">
              <a:lnSpc>
                <a:spcPct val="100000"/>
              </a:lnSpc>
              <a:buNone/>
              <a:tabLst>
                <a:tab algn="l" pos="0"/>
              </a:tabLst>
            </a:pPr>
            <a:r>
              <a:rPr b="1" lang="de-DE" sz="2000" spc="-1" strike="noStrike">
                <a:solidFill>
                  <a:schemeClr val="lt1"/>
                </a:solidFill>
                <a:latin typeface="Calibri"/>
              </a:rPr>
              <a:t>Astroparticle Physics</a:t>
            </a:r>
            <a:r>
              <a:rPr b="0" lang="de-DE" sz="2000" spc="-1" strike="noStrike">
                <a:solidFill>
                  <a:schemeClr val="lt1"/>
                </a:solidFill>
                <a:latin typeface="Calibri"/>
              </a:rPr>
              <a:t>: using comis messengers such as gamma rays or neutrinos to understand high-energy processes in the universe. Rolle spielen hochenergetische Teilchen in der Evolution des Universums?“ ,</a:t>
            </a:r>
            <a:r>
              <a:rPr b="0" lang="en-GB" sz="2000" spc="-1" strike="noStrike">
                <a:solidFill>
                  <a:srgbClr val="ffffff"/>
                </a:solidFill>
                <a:latin typeface="Calibri"/>
              </a:rPr>
              <a:t>Zeuthen will be an international reference point for  scientists involved in high-energy astrophysics</a:t>
            </a:r>
            <a:endParaRPr b="0" lang="en-US" sz="2000" spc="-1" strike="noStrike">
              <a:solidFill>
                <a:srgbClr val="ffffff"/>
              </a:solidFill>
              <a:latin typeface="Calibri"/>
            </a:endParaRPr>
          </a:p>
          <a:p>
            <a:pPr indent="0" defTabSz="990360">
              <a:lnSpc>
                <a:spcPct val="100000"/>
              </a:lnSpc>
              <a:buNone/>
              <a:tabLst>
                <a:tab algn="l" pos="0"/>
              </a:tabLst>
            </a:pPr>
            <a:endParaRPr b="0" lang="en-US" sz="2000" spc="-1" strike="noStrike">
              <a:solidFill>
                <a:srgbClr val="ffffff"/>
              </a:solidFill>
              <a:latin typeface="Calibri"/>
            </a:endParaRPr>
          </a:p>
          <a:p>
            <a:pPr indent="0" defTabSz="990360">
              <a:lnSpc>
                <a:spcPct val="100000"/>
              </a:lnSpc>
              <a:buNone/>
              <a:tabLst>
                <a:tab algn="l" pos="0"/>
              </a:tabLst>
            </a:pPr>
            <a:r>
              <a:rPr b="0" lang="en-GB" sz="2000" spc="-1" strike="noStrike">
                <a:solidFill>
                  <a:srgbClr val="ffffff"/>
                </a:solidFill>
                <a:latin typeface="Calibri"/>
              </a:rPr>
              <a:t>Some further info: </a:t>
            </a:r>
            <a:endParaRPr b="0" lang="en-US" sz="2000" spc="-1" strike="noStrike">
              <a:solidFill>
                <a:srgbClr val="ffffff"/>
              </a:solidFill>
              <a:latin typeface="Calibri"/>
            </a:endParaRPr>
          </a:p>
          <a:p>
            <a:pPr indent="0" defTabSz="990360">
              <a:lnSpc>
                <a:spcPct val="100000"/>
              </a:lnSpc>
              <a:buNone/>
              <a:tabLst>
                <a:tab algn="l" pos="0"/>
              </a:tabLst>
            </a:pPr>
            <a:r>
              <a:rPr b="0" lang="en-US" sz="2000" spc="-1" strike="noStrike">
                <a:solidFill>
                  <a:srgbClr val="ffffff"/>
                </a:solidFill>
                <a:latin typeface="Calibri"/>
              </a:rPr>
              <a:t>Employees: approximately 2300, including 650 scientists working in the fields of accelerator operation, research and development</a:t>
            </a:r>
            <a:endParaRPr b="0" lang="en-US" sz="2000" spc="-1" strike="noStrike">
              <a:solidFill>
                <a:srgbClr val="ffffff"/>
              </a:solidFill>
              <a:latin typeface="Calibri"/>
            </a:endParaRPr>
          </a:p>
          <a:p>
            <a:pPr indent="0" defTabSz="990360">
              <a:lnSpc>
                <a:spcPct val="100000"/>
              </a:lnSpc>
              <a:buNone/>
              <a:tabLst>
                <a:tab algn="l" pos="0"/>
              </a:tabLst>
            </a:pPr>
            <a:r>
              <a:rPr b="0" lang="en-US" sz="2000" spc="-1" strike="noStrike">
                <a:solidFill>
                  <a:srgbClr val="ffffff"/>
                </a:solidFill>
                <a:latin typeface="Calibri"/>
              </a:rPr>
              <a:t>Guest scientists: more than 3000 from over 40 countries come to DESY each year to run experiments.</a:t>
            </a:r>
            <a:endParaRPr b="0" lang="en-US" sz="2000" spc="-1" strike="noStrike">
              <a:solidFill>
                <a:srgbClr val="ffffff"/>
              </a:solidFill>
              <a:latin typeface="Calibri"/>
            </a:endParaRPr>
          </a:p>
          <a:p>
            <a:pPr indent="0" defTabSz="990360">
              <a:lnSpc>
                <a:spcPct val="100000"/>
              </a:lnSpc>
              <a:buNone/>
              <a:tabLst>
                <a:tab algn="l" pos="0"/>
              </a:tabLst>
            </a:pPr>
            <a:endParaRPr b="0" lang="en-US" sz="2000" spc="-1" strike="noStrike">
              <a:solidFill>
                <a:srgbClr val="ffffff"/>
              </a:solidFill>
              <a:latin typeface="Calibri"/>
            </a:endParaRPr>
          </a:p>
          <a:p>
            <a:pPr indent="0" defTabSz="990360">
              <a:lnSpc>
                <a:spcPct val="100000"/>
              </a:lnSpc>
              <a:buNone/>
              <a:tabLst>
                <a:tab algn="l" pos="0"/>
              </a:tabLst>
            </a:pPr>
            <a:r>
              <a:rPr b="0" lang="en-US" sz="2000" spc="-1" strike="noStrike">
                <a:solidFill>
                  <a:srgbClr val="ffffff"/>
                </a:solidFill>
                <a:latin typeface="Calibri"/>
              </a:rPr>
              <a:t>DESY cooperates with industry and business to promote new technologies that will benefit society and encourage innovations. This also benefits the metropolitan regions of the two DESY locations, Hamburg and Zeuthen near Berlin.</a:t>
            </a:r>
            <a:endParaRPr b="0" lang="en-US" sz="2000" spc="-1" strike="noStrike">
              <a:solidFill>
                <a:srgbClr val="ffffff"/>
              </a:solidFill>
              <a:latin typeface="Calibri"/>
            </a:endParaRPr>
          </a:p>
        </p:txBody>
      </p:sp>
      <p:sp>
        <p:nvSpPr>
          <p:cNvPr id="875" name="PlaceHolder 3"/>
          <p:cNvSpPr>
            <a:spLocks noGrp="1"/>
          </p:cNvSpPr>
          <p:nvPr>
            <p:ph type="sldNum" idx="44"/>
          </p:nvPr>
        </p:nvSpPr>
        <p:spPr>
          <a:xfrm>
            <a:off x="4021200" y="9721080"/>
            <a:ext cx="3075840" cy="513000"/>
          </a:xfrm>
          <a:prstGeom prst="rect">
            <a:avLst/>
          </a:prstGeom>
          <a:noFill/>
          <a:ln w="0">
            <a:noFill/>
          </a:ln>
        </p:spPr>
        <p:txBody>
          <a:bodyPr lIns="94320" rIns="94320" tIns="47160" bIns="47160" anchor="b">
            <a:noAutofit/>
          </a:bodyPr>
          <a:lstStyle>
            <a:lvl1pPr indent="0" algn="r" defTabSz="457200">
              <a:lnSpc>
                <a:spcPct val="100000"/>
              </a:lnSpc>
              <a:buNone/>
              <a:defRPr b="0" lang="de-DE" sz="1200" spc="-1" strike="noStrike">
                <a:solidFill>
                  <a:schemeClr val="dk1"/>
                </a:solidFill>
                <a:latin typeface="+mn-lt"/>
                <a:ea typeface="+mn-ea"/>
              </a:defRPr>
            </a:lvl1pPr>
          </a:lstStyle>
          <a:p>
            <a:pPr indent="0" algn="r" defTabSz="457200">
              <a:lnSpc>
                <a:spcPct val="100000"/>
              </a:lnSpc>
              <a:buNone/>
            </a:pPr>
            <a:fld id="{087FB22F-A985-41BE-A506-36B33FDE70FD}" type="slidenum">
              <a:rPr b="0" lang="de-DE" sz="1200" spc="-1" strike="noStrike">
                <a:solidFill>
                  <a:schemeClr val="dk1"/>
                </a:solidFill>
                <a:latin typeface="+mn-lt"/>
                <a:ea typeface="+mn-ea"/>
              </a:rPr>
              <a:t>&lt;number&gt;</a:t>
            </a:fld>
            <a:endParaRPr b="0" lang="en-US" sz="1200" spc="-1" strike="noStrike">
              <a:solidFill>
                <a:srgbClr val="ffffff"/>
              </a:solidFill>
              <a:latin typeface="Calibri"/>
            </a:endParaRPr>
          </a:p>
        </p:txBody>
      </p:sp>
    </p:spTree>
  </p:cSld>
</p:notes>
</file>

<file path=ppt/notesSlides/notesSlide5.xml><?xml version="1.0" encoding="utf-8"?>
<p:notes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p:cSld>
    <p:spTree>
      <p:nvGrpSpPr>
        <p:cNvPr id="1" name=""/>
        <p:cNvGrpSpPr/>
        <p:nvPr/>
      </p:nvGrpSpPr>
      <p:grpSpPr>
        <a:xfrm>
          <a:off x="0" y="0"/>
          <a:ext cx="0" cy="0"/>
          <a:chOff x="0" y="0"/>
          <a:chExt cx="0" cy="0"/>
        </a:xfrm>
      </p:grpSpPr>
      <p:sp>
        <p:nvSpPr>
          <p:cNvPr id="876" name="PlaceHolder 1"/>
          <p:cNvSpPr>
            <a:spLocks noGrp="1"/>
          </p:cNvSpPr>
          <p:nvPr>
            <p:ph type="sldImg"/>
          </p:nvPr>
        </p:nvSpPr>
        <p:spPr>
          <a:xfrm>
            <a:off x="479520" y="1279440"/>
            <a:ext cx="6140160" cy="3454200"/>
          </a:xfrm>
          <a:prstGeom prst="rect">
            <a:avLst/>
          </a:prstGeom>
          <a:ln w="0">
            <a:noFill/>
          </a:ln>
        </p:spPr>
      </p:sp>
      <p:sp>
        <p:nvSpPr>
          <p:cNvPr id="877" name="PlaceHolder 2"/>
          <p:cNvSpPr>
            <a:spLocks noGrp="1"/>
          </p:cNvSpPr>
          <p:nvPr>
            <p:ph type="body"/>
          </p:nvPr>
        </p:nvSpPr>
        <p:spPr>
          <a:xfrm>
            <a:off x="709920" y="4925520"/>
            <a:ext cx="5679000" cy="4624200"/>
          </a:xfrm>
          <a:prstGeom prst="rect">
            <a:avLst/>
          </a:prstGeom>
          <a:noFill/>
          <a:ln w="0">
            <a:noFill/>
          </a:ln>
        </p:spPr>
        <p:txBody>
          <a:bodyPr lIns="94320" rIns="94320" tIns="47160" bIns="47160" anchor="t">
            <a:noAutofit/>
          </a:bodyPr>
          <a:p>
            <a:pPr marL="216000" indent="0">
              <a:lnSpc>
                <a:spcPct val="100000"/>
              </a:lnSpc>
              <a:buNone/>
            </a:pPr>
            <a:r>
              <a:rPr b="0" lang="de-DE" sz="2000" spc="-1" strike="noStrike">
                <a:solidFill>
                  <a:srgbClr val="ffffff"/>
                </a:solidFill>
                <a:latin typeface="Calibri"/>
              </a:rPr>
              <a:t>HD</a:t>
            </a:r>
            <a:br>
              <a:rPr sz="2000"/>
            </a:br>
            <a:r>
              <a:rPr b="0" lang="de-DE" sz="2000" spc="-1" strike="noStrike">
                <a:solidFill>
                  <a:srgbClr val="ffffff"/>
                </a:solidFill>
                <a:latin typeface="Calibri"/>
              </a:rPr>
              <a:t>An important aspect of DESY are its large scale facilities which are open to all scientists worldwide by a peer-review system.</a:t>
            </a:r>
            <a:endParaRPr b="0" lang="en-US" sz="2000" spc="-1" strike="noStrike">
              <a:solidFill>
                <a:srgbClr val="ffffff"/>
              </a:solidFill>
              <a:latin typeface="Calibri"/>
            </a:endParaRPr>
          </a:p>
          <a:p>
            <a:pPr marL="216000" indent="0">
              <a:lnSpc>
                <a:spcPct val="100000"/>
              </a:lnSpc>
              <a:buNone/>
            </a:pPr>
            <a:endParaRPr b="0" lang="en-US" sz="2000" spc="-1" strike="noStrike">
              <a:solidFill>
                <a:srgbClr val="ffffff"/>
              </a:solidFill>
              <a:latin typeface="Calibri"/>
            </a:endParaRPr>
          </a:p>
          <a:p>
            <a:pPr marL="216000" indent="0">
              <a:lnSpc>
                <a:spcPct val="100000"/>
              </a:lnSpc>
              <a:buNone/>
            </a:pPr>
            <a:r>
              <a:rPr b="0" lang="de-DE" sz="2000" spc="-1" strike="noStrike">
                <a:solidFill>
                  <a:srgbClr val="ffffff"/>
                </a:solidFill>
                <a:latin typeface="Calibri"/>
              </a:rPr>
              <a:t>the 6 GeV PETRA III Storage Ring</a:t>
            </a:r>
            <a:endParaRPr b="0" lang="en-US" sz="2000" spc="-1" strike="noStrike">
              <a:solidFill>
                <a:srgbClr val="ffffff"/>
              </a:solidFill>
              <a:latin typeface="Calibri"/>
            </a:endParaRPr>
          </a:p>
          <a:p>
            <a:pPr marL="216000" indent="0">
              <a:lnSpc>
                <a:spcPct val="100000"/>
              </a:lnSpc>
              <a:buNone/>
            </a:pPr>
            <a:r>
              <a:rPr b="0" lang="de-DE" sz="2000" spc="-1" strike="noStrike">
                <a:solidFill>
                  <a:srgbClr val="ffffff"/>
                </a:solidFill>
                <a:latin typeface="Calibri"/>
              </a:rPr>
              <a:t>the 1,5 GeV Soft X-Ray Laser FLASH</a:t>
            </a:r>
            <a:endParaRPr b="0" lang="en-US" sz="2000" spc="-1" strike="noStrike">
              <a:solidFill>
                <a:srgbClr val="ffffff"/>
              </a:solidFill>
              <a:latin typeface="Calibri"/>
            </a:endParaRPr>
          </a:p>
          <a:p>
            <a:pPr marL="216000" indent="0">
              <a:lnSpc>
                <a:spcPct val="100000"/>
              </a:lnSpc>
              <a:buNone/>
            </a:pPr>
            <a:r>
              <a:rPr b="0" lang="de-DE" sz="2000" spc="-1" strike="noStrike">
                <a:solidFill>
                  <a:srgbClr val="ffffff"/>
                </a:solidFill>
                <a:latin typeface="Calibri"/>
              </a:rPr>
              <a:t>the TIER-2 Center</a:t>
            </a:r>
            <a:endParaRPr b="0" lang="en-US" sz="2000" spc="-1" strike="noStrike">
              <a:solidFill>
                <a:srgbClr val="ffffff"/>
              </a:solidFill>
              <a:latin typeface="Calibri"/>
            </a:endParaRPr>
          </a:p>
          <a:p>
            <a:pPr marL="216000" indent="0">
              <a:lnSpc>
                <a:spcPct val="100000"/>
              </a:lnSpc>
              <a:buNone/>
            </a:pPr>
            <a:endParaRPr b="0" lang="en-US" sz="2000" spc="-1" strike="noStrike">
              <a:solidFill>
                <a:srgbClr val="ffffff"/>
              </a:solidFill>
              <a:latin typeface="Calibri"/>
            </a:endParaRPr>
          </a:p>
          <a:p>
            <a:pPr marL="216000" indent="0">
              <a:lnSpc>
                <a:spcPct val="100000"/>
              </a:lnSpc>
              <a:buNone/>
            </a:pPr>
            <a:r>
              <a:rPr b="0" lang="de-DE" sz="2000" spc="-1" strike="noStrike">
                <a:solidFill>
                  <a:srgbClr val="ffffff"/>
                </a:solidFill>
                <a:latin typeface="Calibri"/>
              </a:rPr>
              <a:t>These 3 facilities are supported by the Helmholtz Association within the special LK II funding scheme, also under review this week.</a:t>
            </a:r>
            <a:endParaRPr b="0" lang="en-US" sz="2000" spc="-1" strike="noStrike">
              <a:solidFill>
                <a:srgbClr val="ffffff"/>
              </a:solidFill>
              <a:latin typeface="Calibri"/>
            </a:endParaRPr>
          </a:p>
          <a:p>
            <a:pPr marL="216000" indent="0">
              <a:lnSpc>
                <a:spcPct val="100000"/>
              </a:lnSpc>
              <a:buNone/>
            </a:pPr>
            <a:r>
              <a:rPr b="0" lang="de-DE" sz="2000" spc="-1" strike="noStrike">
                <a:solidFill>
                  <a:srgbClr val="ffffff"/>
                </a:solidFill>
                <a:latin typeface="Calibri"/>
              </a:rPr>
              <a:t>DESY also operates the DESY Testbeam facility for detector tests.</a:t>
            </a:r>
            <a:endParaRPr b="0" lang="en-US" sz="2000" spc="-1" strike="noStrike">
              <a:solidFill>
                <a:srgbClr val="ffffff"/>
              </a:solidFill>
              <a:latin typeface="Calibri"/>
            </a:endParaRPr>
          </a:p>
          <a:p>
            <a:pPr marL="216000" indent="0">
              <a:lnSpc>
                <a:spcPct val="100000"/>
              </a:lnSpc>
              <a:buNone/>
            </a:pPr>
            <a:endParaRPr b="0" lang="en-US" sz="2000" spc="-1" strike="noStrike">
              <a:solidFill>
                <a:srgbClr val="ffffff"/>
              </a:solidFill>
              <a:latin typeface="Calibri"/>
            </a:endParaRPr>
          </a:p>
          <a:p>
            <a:pPr marL="216000" indent="0">
              <a:lnSpc>
                <a:spcPct val="100000"/>
              </a:lnSpc>
              <a:buNone/>
            </a:pPr>
            <a:r>
              <a:rPr b="0" lang="de-DE" sz="2000" spc="-1" strike="noStrike">
                <a:solidFill>
                  <a:srgbClr val="ffffff"/>
                </a:solidFill>
                <a:latin typeface="Calibri"/>
              </a:rPr>
              <a:t>From Sep 2017 on, DESY is also responsable for the operation of the XFEL accelerator.</a:t>
            </a:r>
            <a:endParaRPr b="0" lang="en-US" sz="2000" spc="-1" strike="noStrike">
              <a:solidFill>
                <a:srgbClr val="ffffff"/>
              </a:solidFill>
              <a:latin typeface="Calibri"/>
            </a:endParaRPr>
          </a:p>
          <a:p>
            <a:pPr marL="216000" indent="0">
              <a:lnSpc>
                <a:spcPct val="100000"/>
              </a:lnSpc>
              <a:buNone/>
            </a:pPr>
            <a:endParaRPr b="0" lang="en-US" sz="2000" spc="-1" strike="noStrike">
              <a:solidFill>
                <a:srgbClr val="ffffff"/>
              </a:solidFill>
              <a:latin typeface="Calibri"/>
            </a:endParaRPr>
          </a:p>
        </p:txBody>
      </p:sp>
      <p:sp>
        <p:nvSpPr>
          <p:cNvPr id="878" name="PlaceHolder 3"/>
          <p:cNvSpPr>
            <a:spLocks noGrp="1"/>
          </p:cNvSpPr>
          <p:nvPr>
            <p:ph type="sldNum" idx="45"/>
          </p:nvPr>
        </p:nvSpPr>
        <p:spPr>
          <a:xfrm>
            <a:off x="4021200" y="9721080"/>
            <a:ext cx="3075840" cy="513000"/>
          </a:xfrm>
          <a:prstGeom prst="rect">
            <a:avLst/>
          </a:prstGeom>
          <a:noFill/>
          <a:ln w="0">
            <a:noFill/>
          </a:ln>
        </p:spPr>
        <p:txBody>
          <a:bodyPr lIns="94320" rIns="94320" tIns="47160" bIns="47160" anchor="b">
            <a:noAutofit/>
          </a:bodyPr>
          <a:lstStyle>
            <a:lvl1pPr indent="0" algn="r">
              <a:lnSpc>
                <a:spcPct val="100000"/>
              </a:lnSpc>
              <a:buNone/>
              <a:defRPr b="0" lang="de-DE" sz="1200" spc="-1" strike="noStrike">
                <a:solidFill>
                  <a:srgbClr val="ffffff"/>
                </a:solidFill>
                <a:latin typeface="Calibri"/>
              </a:defRPr>
            </a:lvl1pPr>
          </a:lstStyle>
          <a:p>
            <a:pPr indent="0" algn="r">
              <a:lnSpc>
                <a:spcPct val="100000"/>
              </a:lnSpc>
              <a:buNone/>
            </a:pPr>
            <a:fld id="{CC5C8F91-D306-4B6D-A56D-D5006F35146C}" type="slidenum">
              <a:rPr b="0" lang="de-DE" sz="1200" spc="-1" strike="noStrike">
                <a:solidFill>
                  <a:srgbClr val="ffffff"/>
                </a:solidFill>
                <a:latin typeface="Calibri"/>
              </a:rPr>
              <a:t>&lt;number&gt;</a:t>
            </a:fld>
            <a:endParaRPr b="0" lang="en-US" sz="1200" spc="-1" strike="noStrike">
              <a:solidFill>
                <a:srgbClr val="ffffff"/>
              </a:solidFill>
              <a:latin typeface="Calibri"/>
            </a:endParaRPr>
          </a:p>
        </p:txBody>
      </p:sp>
    </p:spTree>
  </p:cSld>
</p:notes>
</file>

<file path=ppt/notesSlides/notesSlide8.xml><?xml version="1.0" encoding="utf-8"?>
<p:notes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p:cSld>
    <p:spTree>
      <p:nvGrpSpPr>
        <p:cNvPr id="1" name=""/>
        <p:cNvGrpSpPr/>
        <p:nvPr/>
      </p:nvGrpSpPr>
      <p:grpSpPr>
        <a:xfrm>
          <a:off x="0" y="0"/>
          <a:ext cx="0" cy="0"/>
          <a:chOff x="0" y="0"/>
          <a:chExt cx="0" cy="0"/>
        </a:xfrm>
      </p:grpSpPr>
      <p:sp>
        <p:nvSpPr>
          <p:cNvPr id="879" name="PlaceHolder 1"/>
          <p:cNvSpPr>
            <a:spLocks noGrp="1"/>
          </p:cNvSpPr>
          <p:nvPr>
            <p:ph type="sldImg"/>
          </p:nvPr>
        </p:nvSpPr>
        <p:spPr>
          <a:xfrm>
            <a:off x="479520" y="1279440"/>
            <a:ext cx="6140160" cy="3454200"/>
          </a:xfrm>
          <a:prstGeom prst="rect">
            <a:avLst/>
          </a:prstGeom>
          <a:ln w="0">
            <a:noFill/>
          </a:ln>
        </p:spPr>
      </p:sp>
      <p:sp>
        <p:nvSpPr>
          <p:cNvPr id="880" name="PlaceHolder 2"/>
          <p:cNvSpPr>
            <a:spLocks noGrp="1"/>
          </p:cNvSpPr>
          <p:nvPr>
            <p:ph type="body"/>
          </p:nvPr>
        </p:nvSpPr>
        <p:spPr>
          <a:xfrm>
            <a:off x="709920" y="4925520"/>
            <a:ext cx="5679000" cy="4624200"/>
          </a:xfrm>
          <a:prstGeom prst="rect">
            <a:avLst/>
          </a:prstGeom>
          <a:noFill/>
          <a:ln w="0">
            <a:noFill/>
          </a:ln>
        </p:spPr>
        <p:txBody>
          <a:bodyPr lIns="94320" rIns="94320" tIns="47160" bIns="47160" anchor="t">
            <a:noAutofit/>
          </a:bodyPr>
          <a:p>
            <a:pPr marL="171360" indent="-171360">
              <a:lnSpc>
                <a:spcPct val="100000"/>
              </a:lnSpc>
              <a:buClr>
                <a:srgbClr val="ffffff"/>
              </a:buClr>
              <a:buFont typeface="Arial"/>
              <a:buChar char="•"/>
            </a:pPr>
            <a:r>
              <a:rPr b="0" lang="de-DE" sz="2000" spc="-1" strike="noStrike">
                <a:solidFill>
                  <a:srgbClr val="ffffff"/>
                </a:solidFill>
                <a:latin typeface="Calibri"/>
              </a:rPr>
              <a:t>Biodistribution von Nanopartikeln in Mäusen</a:t>
            </a:r>
            <a:endParaRPr b="0" lang="en-US" sz="2000" spc="-1" strike="noStrike">
              <a:solidFill>
                <a:srgbClr val="ffffff"/>
              </a:solidFill>
              <a:latin typeface="Calibri"/>
            </a:endParaRPr>
          </a:p>
          <a:p>
            <a:pPr marL="171360" indent="-171360">
              <a:lnSpc>
                <a:spcPct val="100000"/>
              </a:lnSpc>
              <a:buClr>
                <a:srgbClr val="ffffff"/>
              </a:buClr>
              <a:buFont typeface="Arial"/>
              <a:buChar char="•"/>
            </a:pPr>
            <a:r>
              <a:rPr b="0" lang="de-DE" sz="2000" spc="-1" strike="noStrike">
                <a:solidFill>
                  <a:srgbClr val="ffffff"/>
                </a:solidFill>
                <a:latin typeface="Calibri"/>
              </a:rPr>
              <a:t>DESY wird Einzelzell-XFI-Messungen durchführen um Verteilungskarten von Nanopartikeln zu erstellen, die von einzelnen Zellen aufgenommen werden</a:t>
            </a:r>
            <a:endParaRPr b="0" lang="en-US" sz="2000" spc="-1" strike="noStrike">
              <a:solidFill>
                <a:srgbClr val="ffffff"/>
              </a:solidFill>
              <a:latin typeface="Calibri"/>
            </a:endParaRPr>
          </a:p>
          <a:p>
            <a:pPr marL="171360" indent="-171360">
              <a:lnSpc>
                <a:spcPct val="100000"/>
              </a:lnSpc>
              <a:buClr>
                <a:srgbClr val="ffffff"/>
              </a:buClr>
              <a:buFont typeface="Arial"/>
              <a:buChar char="•"/>
            </a:pPr>
            <a:r>
              <a:rPr b="0" lang="de-DE" sz="2000" spc="-1" strike="noStrike">
                <a:solidFill>
                  <a:srgbClr val="ffffff"/>
                </a:solidFill>
                <a:latin typeface="Calibri"/>
              </a:rPr>
              <a:t>Erste Messungen erfolgt, Ergebnisse liegen aber noch nicht vor</a:t>
            </a:r>
            <a:endParaRPr b="0" lang="en-US" sz="2000" spc="-1" strike="noStrike">
              <a:solidFill>
                <a:srgbClr val="ffffff"/>
              </a:solidFill>
              <a:latin typeface="Calibri"/>
            </a:endParaRPr>
          </a:p>
          <a:p>
            <a:pPr indent="0">
              <a:lnSpc>
                <a:spcPct val="100000"/>
              </a:lnSpc>
              <a:buNone/>
            </a:pPr>
            <a:endParaRPr b="0" lang="en-US" sz="2000" spc="-1" strike="noStrike">
              <a:solidFill>
                <a:srgbClr val="ffffff"/>
              </a:solidFill>
              <a:latin typeface="Calibri"/>
            </a:endParaRPr>
          </a:p>
          <a:p>
            <a:pPr indent="0" defTabSz="914400">
              <a:lnSpc>
                <a:spcPct val="100000"/>
              </a:lnSpc>
              <a:buNone/>
              <a:tabLst>
                <a:tab algn="l" pos="0"/>
              </a:tabLst>
            </a:pPr>
            <a:r>
              <a:rPr b="0" lang="de-DE" sz="1200" spc="-1" strike="noStrike">
                <a:solidFill>
                  <a:schemeClr val="dk1"/>
                </a:solidFill>
                <a:latin typeface="+mn-lt"/>
                <a:ea typeface="+mn-ea"/>
              </a:rPr>
              <a:t>Aktuell werden bei DESY an PETRA III bildgebende Röntgenfluoreszenzmessungen durchgeführt, vorbereitend zur Entwicklung einer Methode zur Verfolgung der  biologischen Verteilung von Nanopartikeln. Diese Erkenntnisse sind insbesondere auch relevant für die mRNA-Wirkstoffentwicklung. Hierbei kooperieren BioNTech, die Exzellenzuniversität Hamburg und DESY gemeinsam für einen Zeitraum von zwei Jahren. Erste Auswertungen der Messungen laufen, mit Ergebnissen wird noch im Laufe von 2023 gerechnet. </a:t>
            </a:r>
            <a:endParaRPr b="0" lang="en-US" sz="1200" spc="-1" strike="noStrike">
              <a:solidFill>
                <a:srgbClr val="ffffff"/>
              </a:solidFill>
              <a:latin typeface="Calibri"/>
            </a:endParaRPr>
          </a:p>
          <a:p>
            <a:pPr indent="0" defTabSz="914400">
              <a:lnSpc>
                <a:spcPct val="100000"/>
              </a:lnSpc>
              <a:buNone/>
              <a:tabLst>
                <a:tab algn="l" pos="0"/>
              </a:tabLst>
            </a:pPr>
            <a:endParaRPr b="0" lang="en-US" sz="1200" spc="-1" strike="noStrike">
              <a:solidFill>
                <a:srgbClr val="ffffff"/>
              </a:solidFill>
              <a:latin typeface="Calibri"/>
            </a:endParaRPr>
          </a:p>
          <a:p>
            <a:pPr indent="0" defTabSz="914400">
              <a:lnSpc>
                <a:spcPct val="100000"/>
              </a:lnSpc>
              <a:buNone/>
              <a:tabLst>
                <a:tab algn="l" pos="0"/>
              </a:tabLst>
            </a:pPr>
            <a:endParaRPr b="0" lang="en-US" sz="1200" spc="-1" strike="noStrike">
              <a:solidFill>
                <a:srgbClr val="ffffff"/>
              </a:solidFill>
              <a:latin typeface="Calibri"/>
            </a:endParaRPr>
          </a:p>
        </p:txBody>
      </p:sp>
      <p:sp>
        <p:nvSpPr>
          <p:cNvPr id="881" name="PlaceHolder 3"/>
          <p:cNvSpPr>
            <a:spLocks noGrp="1"/>
          </p:cNvSpPr>
          <p:nvPr>
            <p:ph type="sldNum" idx="46"/>
          </p:nvPr>
        </p:nvSpPr>
        <p:spPr>
          <a:xfrm>
            <a:off x="4021200" y="9721080"/>
            <a:ext cx="3075840" cy="513000"/>
          </a:xfrm>
          <a:prstGeom prst="rect">
            <a:avLst/>
          </a:prstGeom>
          <a:noFill/>
          <a:ln w="0">
            <a:noFill/>
          </a:ln>
        </p:spPr>
        <p:txBody>
          <a:bodyPr lIns="94320" rIns="94320" tIns="47160" bIns="47160" anchor="b">
            <a:noAutofit/>
          </a:bodyPr>
          <a:lstStyle>
            <a:lvl1pPr indent="0" algn="r" defTabSz="914400">
              <a:lnSpc>
                <a:spcPct val="100000"/>
              </a:lnSpc>
              <a:buNone/>
              <a:tabLst>
                <a:tab algn="l" pos="0"/>
              </a:tabLst>
              <a:defRPr b="0" lang="de-DE" sz="1200" spc="-1" strike="noStrike">
                <a:solidFill>
                  <a:srgbClr val="000000"/>
                </a:solidFill>
                <a:latin typeface="Calibri"/>
                <a:ea typeface="+mn-ea"/>
              </a:defRPr>
            </a:lvl1pPr>
          </a:lstStyle>
          <a:p>
            <a:pPr indent="0" algn="r" defTabSz="914400">
              <a:lnSpc>
                <a:spcPct val="100000"/>
              </a:lnSpc>
              <a:buNone/>
              <a:tabLst>
                <a:tab algn="l" pos="0"/>
              </a:tabLst>
            </a:pPr>
            <a:fld id="{CAEE11B6-D914-4A49-97E3-766C21F41BD0}" type="slidenum">
              <a:rPr b="0" lang="de-DE" sz="1200" spc="-1" strike="noStrike">
                <a:solidFill>
                  <a:srgbClr val="000000"/>
                </a:solidFill>
                <a:latin typeface="Calibri"/>
                <a:ea typeface="+mn-ea"/>
              </a:rPr>
              <a:t>&lt;number&gt;</a:t>
            </a:fld>
            <a:endParaRPr b="0" lang="en-US" sz="1200" spc="-1" strike="noStrike">
              <a:solidFill>
                <a:srgbClr val="ffffff"/>
              </a:solidFill>
              <a:latin typeface="Calibri"/>
            </a:endParaRPr>
          </a:p>
        </p:txBody>
      </p:sp>
    </p:spTree>
  </p:cSld>
</p:notes>
</file>

<file path=ppt/slideLayouts/_rels/slideLayout1.xml.rels><?xml version="1.0" encoding="UTF-8"?>
<Relationships xmlns="http://schemas.openxmlformats.org/package/2006/relationships"><Relationship Id="rId1" Type="http://schemas.openxmlformats.org/officeDocument/2006/relationships/slideMaster" Target="../slideMasters/slideMaster1.xml"/>
</Relationships>
</file>

<file path=ppt/slideLayouts/_rels/slideLayout10.xml.rels><?xml version="1.0" encoding="UTF-8"?>
<Relationships xmlns="http://schemas.openxmlformats.org/package/2006/relationships"><Relationship Id="rId1" Type="http://schemas.openxmlformats.org/officeDocument/2006/relationships/slideMaster" Target="../slideMasters/slideMaster10.xml"/>
</Relationships>
</file>

<file path=ppt/slideLayouts/_rels/slideLayout11.xml.rels><?xml version="1.0" encoding="UTF-8"?>
<Relationships xmlns="http://schemas.openxmlformats.org/package/2006/relationships"><Relationship Id="rId1" Type="http://schemas.openxmlformats.org/officeDocument/2006/relationships/slideMaster" Target="../slideMasters/slideMaster11.xml"/>
</Relationships>
</file>

<file path=ppt/slideLayouts/_rels/slideLayout12.xml.rels><?xml version="1.0" encoding="UTF-8"?>
<Relationships xmlns="http://schemas.openxmlformats.org/package/2006/relationships"><Relationship Id="rId1" Type="http://schemas.openxmlformats.org/officeDocument/2006/relationships/slideMaster" Target="../slideMasters/slideMaster12.xml"/>
</Relationships>
</file>

<file path=ppt/slideLayouts/_rels/slideLayout13.xml.rels><?xml version="1.0" encoding="UTF-8"?>
<Relationships xmlns="http://schemas.openxmlformats.org/package/2006/relationships"><Relationship Id="rId1" Type="http://schemas.openxmlformats.org/officeDocument/2006/relationships/slideMaster" Target="../slideMasters/slideMaster13.xml"/>
</Relationships>
</file>

<file path=ppt/slideLayouts/_rels/slideLayout14.xml.rels><?xml version="1.0" encoding="UTF-8"?>
<Relationships xmlns="http://schemas.openxmlformats.org/package/2006/relationships"><Relationship Id="rId1" Type="http://schemas.openxmlformats.org/officeDocument/2006/relationships/slideMaster" Target="../slideMasters/slideMaster14.xml"/>
</Relationships>
</file>

<file path=ppt/slideLayouts/_rels/slideLayout15.xml.rels><?xml version="1.0" encoding="UTF-8"?>
<Relationships xmlns="http://schemas.openxmlformats.org/package/2006/relationships"><Relationship Id="rId1" Type="http://schemas.openxmlformats.org/officeDocument/2006/relationships/slideMaster" Target="../slideMasters/slideMaster15.xml"/>
</Relationships>
</file>

<file path=ppt/slideLayouts/_rels/slideLayout16.xml.rels><?xml version="1.0" encoding="UTF-8"?>
<Relationships xmlns="http://schemas.openxmlformats.org/package/2006/relationships"><Relationship Id="rId1" Type="http://schemas.openxmlformats.org/officeDocument/2006/relationships/slideMaster" Target="../slideMasters/slideMaster16.xml"/>
</Relationships>
</file>

<file path=ppt/slideLayouts/_rels/slideLayout17.xml.rels><?xml version="1.0" encoding="UTF-8"?>
<Relationships xmlns="http://schemas.openxmlformats.org/package/2006/relationships"><Relationship Id="rId1" Type="http://schemas.openxmlformats.org/officeDocument/2006/relationships/slideMaster" Target="../slideMasters/slideMaster17.xml"/>
</Relationships>
</file>

<file path=ppt/slideLayouts/_rels/slideLayout18.xml.rels><?xml version="1.0" encoding="UTF-8"?>
<Relationships xmlns="http://schemas.openxmlformats.org/package/2006/relationships"><Relationship Id="rId1" Type="http://schemas.openxmlformats.org/officeDocument/2006/relationships/slideMaster" Target="../slideMasters/slideMaster18.xml"/>
</Relationships>
</file>

<file path=ppt/slideLayouts/_rels/slideLayout19.xml.rels><?xml version="1.0" encoding="UTF-8"?>
<Relationships xmlns="http://schemas.openxmlformats.org/package/2006/relationships"><Relationship Id="rId1" Type="http://schemas.openxmlformats.org/officeDocument/2006/relationships/slideMaster" Target="../slideMasters/slideMaster19.xml"/>
</Relationships>
</file>

<file path=ppt/slideLayouts/_rels/slideLayout2.xml.rels><?xml version="1.0" encoding="UTF-8"?>
<Relationships xmlns="http://schemas.openxmlformats.org/package/2006/relationships"><Relationship Id="rId1" Type="http://schemas.openxmlformats.org/officeDocument/2006/relationships/slideMaster" Target="../slideMasters/slideMaster2.xml"/>
</Relationships>
</file>

<file path=ppt/slideLayouts/_rels/slideLayout20.xml.rels><?xml version="1.0" encoding="UTF-8"?>
<Relationships xmlns="http://schemas.openxmlformats.org/package/2006/relationships"><Relationship Id="rId1" Type="http://schemas.openxmlformats.org/officeDocument/2006/relationships/slideMaster" Target="../slideMasters/slideMaster20.xml"/>
</Relationships>
</file>

<file path=ppt/slideLayouts/_rels/slideLayout21.xml.rels><?xml version="1.0" encoding="UTF-8"?>
<Relationships xmlns="http://schemas.openxmlformats.org/package/2006/relationships"><Relationship Id="rId1" Type="http://schemas.openxmlformats.org/officeDocument/2006/relationships/slideMaster" Target="../slideMasters/slideMaster21.xml"/>
</Relationships>
</file>

<file path=ppt/slideLayouts/_rels/slideLayout22.xml.rels><?xml version="1.0" encoding="UTF-8"?>
<Relationships xmlns="http://schemas.openxmlformats.org/package/2006/relationships"><Relationship Id="rId1" Type="http://schemas.openxmlformats.org/officeDocument/2006/relationships/slideMaster" Target="../slideMasters/slideMaster22.xml"/>
</Relationships>
</file>

<file path=ppt/slideLayouts/_rels/slideLayout23.xml.rels><?xml version="1.0" encoding="UTF-8"?>
<Relationships xmlns="http://schemas.openxmlformats.org/package/2006/relationships"><Relationship Id="rId1" Type="http://schemas.openxmlformats.org/officeDocument/2006/relationships/slideMaster" Target="../slideMasters/slideMaster23.xml"/>
</Relationships>
</file>

<file path=ppt/slideLayouts/_rels/slideLayout24.xml.rels><?xml version="1.0" encoding="UTF-8"?>
<Relationships xmlns="http://schemas.openxmlformats.org/package/2006/relationships"><Relationship Id="rId1" Type="http://schemas.openxmlformats.org/officeDocument/2006/relationships/slideMaster" Target="../slideMasters/slideMaster24.xml"/>
</Relationships>
</file>

<file path=ppt/slideLayouts/_rels/slideLayout25.xml.rels><?xml version="1.0" encoding="UTF-8"?>
<Relationships xmlns="http://schemas.openxmlformats.org/package/2006/relationships"><Relationship Id="rId1" Type="http://schemas.openxmlformats.org/officeDocument/2006/relationships/slideMaster" Target="../slideMasters/slideMaster25.xml"/>
</Relationships>
</file>

<file path=ppt/slideLayouts/_rels/slideLayout26.xml.rels><?xml version="1.0" encoding="UTF-8"?>
<Relationships xmlns="http://schemas.openxmlformats.org/package/2006/relationships"><Relationship Id="rId1" Type="http://schemas.openxmlformats.org/officeDocument/2006/relationships/slideMaster" Target="../slideMasters/slideMaster26.xml"/>
</Relationships>
</file>

<file path=ppt/slideLayouts/_rels/slideLayout27.xml.rels><?xml version="1.0" encoding="UTF-8"?>
<Relationships xmlns="http://schemas.openxmlformats.org/package/2006/relationships"><Relationship Id="rId1" Type="http://schemas.openxmlformats.org/officeDocument/2006/relationships/slideMaster" Target="../slideMasters/slideMaster27.xml"/>
</Relationships>
</file>

<file path=ppt/slideLayouts/_rels/slideLayout28.xml.rels><?xml version="1.0" encoding="UTF-8"?>
<Relationships xmlns="http://schemas.openxmlformats.org/package/2006/relationships"><Relationship Id="rId1" Type="http://schemas.openxmlformats.org/officeDocument/2006/relationships/slideMaster" Target="../slideMasters/slideMaster28.xml"/>
</Relationships>
</file>

<file path=ppt/slideLayouts/_rels/slideLayout29.xml.rels><?xml version="1.0" encoding="UTF-8"?>
<Relationships xmlns="http://schemas.openxmlformats.org/package/2006/relationships"><Relationship Id="rId1" Type="http://schemas.openxmlformats.org/officeDocument/2006/relationships/slideMaster" Target="../slideMasters/slideMaster29.xml"/>
</Relationships>
</file>

<file path=ppt/slideLayouts/_rels/slideLayout3.xml.rels><?xml version="1.0" encoding="UTF-8"?>
<Relationships xmlns="http://schemas.openxmlformats.org/package/2006/relationships"><Relationship Id="rId1" Type="http://schemas.openxmlformats.org/officeDocument/2006/relationships/slideMaster" Target="../slideMasters/slideMaster3.xml"/>
</Relationships>
</file>

<file path=ppt/slideLayouts/_rels/slideLayout30.xml.rels><?xml version="1.0" encoding="UTF-8"?>
<Relationships xmlns="http://schemas.openxmlformats.org/package/2006/relationships"><Relationship Id="rId1" Type="http://schemas.openxmlformats.org/officeDocument/2006/relationships/slideMaster" Target="../slideMasters/slideMaster30.xml"/>
</Relationships>
</file>

<file path=ppt/slideLayouts/_rels/slideLayout31.xml.rels><?xml version="1.0" encoding="UTF-8"?>
<Relationships xmlns="http://schemas.openxmlformats.org/package/2006/relationships"><Relationship Id="rId1" Type="http://schemas.openxmlformats.org/officeDocument/2006/relationships/slideMaster" Target="../slideMasters/slideMaster31.xml"/>
</Relationships>
</file>

<file path=ppt/slideLayouts/_rels/slideLayout32.xml.rels><?xml version="1.0" encoding="UTF-8"?>
<Relationships xmlns="http://schemas.openxmlformats.org/package/2006/relationships"><Relationship Id="rId1" Type="http://schemas.openxmlformats.org/officeDocument/2006/relationships/slideMaster" Target="../slideMasters/slideMaster32.xml"/>
</Relationships>
</file>

<file path=ppt/slideLayouts/_rels/slideLayout33.xml.rels><?xml version="1.0" encoding="UTF-8"?>
<Relationships xmlns="http://schemas.openxmlformats.org/package/2006/relationships"><Relationship Id="rId1" Type="http://schemas.openxmlformats.org/officeDocument/2006/relationships/slideMaster" Target="../slideMasters/slideMaster33.xml"/>
</Relationships>
</file>

<file path=ppt/slideLayouts/_rels/slideLayout34.xml.rels><?xml version="1.0" encoding="UTF-8"?>
<Relationships xmlns="http://schemas.openxmlformats.org/package/2006/relationships"><Relationship Id="rId1" Type="http://schemas.openxmlformats.org/officeDocument/2006/relationships/slideMaster" Target="../slideMasters/slideMaster34.xml"/>
</Relationships>
</file>

<file path=ppt/slideLayouts/_rels/slideLayout35.xml.rels><?xml version="1.0" encoding="UTF-8"?>
<Relationships xmlns="http://schemas.openxmlformats.org/package/2006/relationships"><Relationship Id="rId1" Type="http://schemas.openxmlformats.org/officeDocument/2006/relationships/slideMaster" Target="../slideMasters/slideMaster35.xml"/>
</Relationships>
</file>

<file path=ppt/slideLayouts/_rels/slideLayout36.xml.rels><?xml version="1.0" encoding="UTF-8"?>
<Relationships xmlns="http://schemas.openxmlformats.org/package/2006/relationships"><Relationship Id="rId1" Type="http://schemas.openxmlformats.org/officeDocument/2006/relationships/slideMaster" Target="../slideMasters/slideMaster36.xml"/>
</Relationships>
</file>

<file path=ppt/slideLayouts/_rels/slideLayout37.xml.rels><?xml version="1.0" encoding="UTF-8"?>
<Relationships xmlns="http://schemas.openxmlformats.org/package/2006/relationships"><Relationship Id="rId1" Type="http://schemas.openxmlformats.org/officeDocument/2006/relationships/slideMaster" Target="../slideMasters/slideMaster37.xml"/>
</Relationships>
</file>

<file path=ppt/slideLayouts/_rels/slideLayout38.xml.rels><?xml version="1.0" encoding="UTF-8"?>
<Relationships xmlns="http://schemas.openxmlformats.org/package/2006/relationships"><Relationship Id="rId1" Type="http://schemas.openxmlformats.org/officeDocument/2006/relationships/slideMaster" Target="../slideMasters/slideMaster38.xml"/>
</Relationships>
</file>

<file path=ppt/slideLayouts/_rels/slideLayout39.xml.rels><?xml version="1.0" encoding="UTF-8"?>
<Relationships xmlns="http://schemas.openxmlformats.org/package/2006/relationships"><Relationship Id="rId1" Type="http://schemas.openxmlformats.org/officeDocument/2006/relationships/slideMaster" Target="../slideMasters/slideMaster39.xml"/>
</Relationships>
</file>

<file path=ppt/slideLayouts/_rels/slideLayout4.xml.rels><?xml version="1.0" encoding="UTF-8"?>
<Relationships xmlns="http://schemas.openxmlformats.org/package/2006/relationships"><Relationship Id="rId1" Type="http://schemas.openxmlformats.org/officeDocument/2006/relationships/slideMaster" Target="../slideMasters/slideMaster4.xml"/>
</Relationships>
</file>

<file path=ppt/slideLayouts/_rels/slideLayout5.xml.rels><?xml version="1.0" encoding="UTF-8"?>
<Relationships xmlns="http://schemas.openxmlformats.org/package/2006/relationships"><Relationship Id="rId1" Type="http://schemas.openxmlformats.org/officeDocument/2006/relationships/slideMaster" Target="../slideMasters/slideMaster5.xml"/>
</Relationships>
</file>

<file path=ppt/slideLayouts/_rels/slideLayout6.xml.rels><?xml version="1.0" encoding="UTF-8"?>
<Relationships xmlns="http://schemas.openxmlformats.org/package/2006/relationships"><Relationship Id="rId1" Type="http://schemas.openxmlformats.org/officeDocument/2006/relationships/slideMaster" Target="../slideMasters/slideMaster6.xml"/>
</Relationships>
</file>

<file path=ppt/slideLayouts/_rels/slideLayout7.xml.rels><?xml version="1.0" encoding="UTF-8"?>
<Relationships xmlns="http://schemas.openxmlformats.org/package/2006/relationships"><Relationship Id="rId1" Type="http://schemas.openxmlformats.org/officeDocument/2006/relationships/slideMaster" Target="../slideMasters/slideMaster7.xml"/>
</Relationships>
</file>

<file path=ppt/slideLayouts/_rels/slideLayout8.xml.rels><?xml version="1.0" encoding="UTF-8"?>
<Relationships xmlns="http://schemas.openxmlformats.org/package/2006/relationships"><Relationship Id="rId1" Type="http://schemas.openxmlformats.org/officeDocument/2006/relationships/slideMaster" Target="../slideMasters/slideMaster8.xml"/>
</Relationships>
</file>

<file path=ppt/slideLayouts/_rels/slideLayout9.xml.rels><?xml version="1.0" encoding="UTF-8"?>
<Relationships xmlns="http://schemas.openxmlformats.org/package/2006/relationships"><Relationship Id="rId1" Type="http://schemas.openxmlformats.org/officeDocument/2006/relationships/slideMaster" Target="../slideMasters/slideMaster9.xml"/>
</Relationships>
</file>

<file path=ppt/slideLayouts/slideLayout1.xml><?xml version="1.0" encoding="utf-8"?>
<p:sldLayout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type="blank" preserve="1">
  <p:cSld name="Title">
    <p:spTree>
      <p:nvGrpSpPr>
        <p:cNvPr id="1" name=""/>
        <p:cNvGrpSpPr/>
        <p:nvPr/>
      </p:nvGrpSpPr>
      <p:grpSpPr>
        <a:xfrm>
          <a:off x="0" y="0"/>
          <a:ext cx="0" cy="0"/>
          <a:chOff x="0" y="0"/>
          <a:chExt cx="0" cy="0"/>
        </a:xfrm>
      </p:grpSpPr>
    </p:spTree>
  </p:cSld>
</p:sldLayout>
</file>

<file path=ppt/slideLayouts/slideLayout10.xml><?xml version="1.0" encoding="utf-8"?>
<p:sldLayout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type="blank" preserve="1">
  <p:cSld name="Title, 5 Pictures">
    <p:spTree>
      <p:nvGrpSpPr>
        <p:cNvPr id="1" name=""/>
        <p:cNvGrpSpPr/>
        <p:nvPr/>
      </p:nvGrpSpPr>
      <p:grpSpPr>
        <a:xfrm>
          <a:off x="0" y="0"/>
          <a:ext cx="0" cy="0"/>
          <a:chOff x="0" y="0"/>
          <a:chExt cx="0" cy="0"/>
        </a:xfrm>
      </p:grpSpPr>
      <p:sp>
        <p:nvSpPr>
          <p:cNvPr id="2" name="PlaceHolder 1"/>
          <p:cNvSpPr>
            <a:spLocks noGrp="1"/>
          </p:cNvSpPr>
          <p:nvPr>
            <p:ph type="ftr" idx="9"/>
          </p:nvPr>
        </p:nvSpPr>
        <p:spPr/>
        <p:txBody>
          <a:bodyPr/>
          <a:p>
            <a:r>
              <a:t>Footer</a:t>
            </a:r>
          </a:p>
        </p:txBody>
      </p:sp>
    </p:spTree>
  </p:cSld>
</p:sldLayout>
</file>

<file path=ppt/slideLayouts/slideLayout11.xml><?xml version="1.0" encoding="utf-8"?>
<p:sldLayout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type="blank" preserve="1">
  <p:cSld name="Title only dark">
    <p:spTree>
      <p:nvGrpSpPr>
        <p:cNvPr id="1" name=""/>
        <p:cNvGrpSpPr/>
        <p:nvPr/>
      </p:nvGrpSpPr>
      <p:grpSpPr>
        <a:xfrm>
          <a:off x="0" y="0"/>
          <a:ext cx="0" cy="0"/>
          <a:chOff x="0" y="0"/>
          <a:chExt cx="0" cy="0"/>
        </a:xfrm>
      </p:grpSpPr>
      <p:sp>
        <p:nvSpPr>
          <p:cNvPr id="2" name="PlaceHolder 1"/>
          <p:cNvSpPr>
            <a:spLocks noGrp="1"/>
          </p:cNvSpPr>
          <p:nvPr>
            <p:ph type="ftr" idx="10"/>
          </p:nvPr>
        </p:nvSpPr>
        <p:spPr/>
        <p:txBody>
          <a:bodyPr/>
          <a:p>
            <a:r>
              <a:t>Footer</a:t>
            </a:r>
          </a:p>
        </p:txBody>
      </p:sp>
    </p:spTree>
  </p:cSld>
</p:sldLayout>
</file>

<file path=ppt/slideLayouts/slideLayout12.xml><?xml version="1.0" encoding="utf-8"?>
<p:sldLayout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type="blank" preserve="1">
  <p:cSld name="Title (with Picture)">
    <p:spTree>
      <p:nvGrpSpPr>
        <p:cNvPr id="1" name=""/>
        <p:cNvGrpSpPr/>
        <p:nvPr/>
      </p:nvGrpSpPr>
      <p:grpSpPr>
        <a:xfrm>
          <a:off x="0" y="0"/>
          <a:ext cx="0" cy="0"/>
          <a:chOff x="0" y="0"/>
          <a:chExt cx="0" cy="0"/>
        </a:xfrm>
      </p:grpSpPr>
    </p:spTree>
  </p:cSld>
</p:sldLayout>
</file>

<file path=ppt/slideLayouts/slideLayout13.xml><?xml version="1.0" encoding="utf-8"?>
<p:sldLayout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type="blank" preserve="1">
  <p:cSld name="Title only">
    <p:spTree>
      <p:nvGrpSpPr>
        <p:cNvPr id="1" name=""/>
        <p:cNvGrpSpPr/>
        <p:nvPr/>
      </p:nvGrpSpPr>
      <p:grpSpPr>
        <a:xfrm>
          <a:off x="0" y="0"/>
          <a:ext cx="0" cy="0"/>
          <a:chOff x="0" y="0"/>
          <a:chExt cx="0" cy="0"/>
        </a:xfrm>
      </p:grpSpPr>
      <p:sp>
        <p:nvSpPr>
          <p:cNvPr id="2" name="PlaceHolder 1"/>
          <p:cNvSpPr>
            <a:spLocks noGrp="1"/>
          </p:cNvSpPr>
          <p:nvPr>
            <p:ph type="ftr" idx="11"/>
          </p:nvPr>
        </p:nvSpPr>
        <p:spPr/>
        <p:txBody>
          <a:bodyPr/>
          <a:p>
            <a:r>
              <a:t>Footer</a:t>
            </a:r>
          </a:p>
        </p:txBody>
      </p:sp>
    </p:spTree>
  </p:cSld>
</p:sldLayout>
</file>

<file path=ppt/slideLayouts/slideLayout14.xml><?xml version="1.0" encoding="utf-8"?>
<p:sldLayout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type="blank" preserve="1">
  <p:cSld name="Divider cyan">
    <p:spTree>
      <p:nvGrpSpPr>
        <p:cNvPr id="1" name=""/>
        <p:cNvGrpSpPr/>
        <p:nvPr/>
      </p:nvGrpSpPr>
      <p:grpSpPr>
        <a:xfrm>
          <a:off x="0" y="0"/>
          <a:ext cx="0" cy="0"/>
          <a:chOff x="0" y="0"/>
          <a:chExt cx="0" cy="0"/>
        </a:xfrm>
      </p:grpSpPr>
    </p:spTree>
  </p:cSld>
</p:sldLayout>
</file>

<file path=ppt/slideLayouts/slideLayout15.xml><?xml version="1.0" encoding="utf-8"?>
<p:sldLayout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type="blank" preserve="1">
  <p:cSld name="Divider white">
    <p:spTree>
      <p:nvGrpSpPr>
        <p:cNvPr id="1" name=""/>
        <p:cNvGrpSpPr/>
        <p:nvPr/>
      </p:nvGrpSpPr>
      <p:grpSpPr>
        <a:xfrm>
          <a:off x="0" y="0"/>
          <a:ext cx="0" cy="0"/>
          <a:chOff x="0" y="0"/>
          <a:chExt cx="0" cy="0"/>
        </a:xfrm>
      </p:grpSpPr>
    </p:spTree>
  </p:cSld>
</p:sldLayout>
</file>

<file path=ppt/slideLayouts/slideLayout16.xml><?xml version="1.0" encoding="utf-8"?>
<p:sldLayout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type="blank" preserve="1">
  <p:cSld name="Titel und Inhalt">
    <p:spTree>
      <p:nvGrpSpPr>
        <p:cNvPr id="1" name=""/>
        <p:cNvGrpSpPr/>
        <p:nvPr/>
      </p:nvGrpSpPr>
      <p:grpSpPr>
        <a:xfrm>
          <a:off x="0" y="0"/>
          <a:ext cx="0" cy="0"/>
          <a:chOff x="0" y="0"/>
          <a:chExt cx="0" cy="0"/>
        </a:xfrm>
      </p:grpSpPr>
      <p:sp>
        <p:nvSpPr>
          <p:cNvPr id="2" name="PlaceHolder 1"/>
          <p:cNvSpPr>
            <a:spLocks noGrp="1"/>
          </p:cNvSpPr>
          <p:nvPr>
            <p:ph type="ftr" idx="12"/>
          </p:nvPr>
        </p:nvSpPr>
        <p:spPr/>
        <p:txBody>
          <a:bodyPr/>
          <a:p>
            <a:r>
              <a:t>Footer</a:t>
            </a:r>
          </a:p>
        </p:txBody>
      </p:sp>
    </p:spTree>
  </p:cSld>
</p:sldLayout>
</file>

<file path=ppt/slideLayouts/slideLayout17.xml><?xml version="1.0" encoding="utf-8"?>
<p:sldLayout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type="blank" preserve="1">
  <p:cSld name="Title and 2 Contents">
    <p:spTree>
      <p:nvGrpSpPr>
        <p:cNvPr id="1" name=""/>
        <p:cNvGrpSpPr/>
        <p:nvPr/>
      </p:nvGrpSpPr>
      <p:grpSpPr>
        <a:xfrm>
          <a:off x="0" y="0"/>
          <a:ext cx="0" cy="0"/>
          <a:chOff x="0" y="0"/>
          <a:chExt cx="0" cy="0"/>
        </a:xfrm>
      </p:grpSpPr>
      <p:sp>
        <p:nvSpPr>
          <p:cNvPr id="2" name="PlaceHolder 1"/>
          <p:cNvSpPr>
            <a:spLocks noGrp="1"/>
          </p:cNvSpPr>
          <p:nvPr>
            <p:ph type="ftr" idx="13"/>
          </p:nvPr>
        </p:nvSpPr>
        <p:spPr/>
        <p:txBody>
          <a:bodyPr/>
          <a:p>
            <a:r>
              <a:t>Footer</a:t>
            </a:r>
          </a:p>
        </p:txBody>
      </p:sp>
    </p:spTree>
  </p:cSld>
</p:sldLayout>
</file>

<file path=ppt/slideLayouts/slideLayout18.xml><?xml version="1.0" encoding="utf-8"?>
<p:sldLayout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type="blank" preserve="1">
  <p:cSld name="Title and 3 Contents">
    <p:spTree>
      <p:nvGrpSpPr>
        <p:cNvPr id="1" name=""/>
        <p:cNvGrpSpPr/>
        <p:nvPr/>
      </p:nvGrpSpPr>
      <p:grpSpPr>
        <a:xfrm>
          <a:off x="0" y="0"/>
          <a:ext cx="0" cy="0"/>
          <a:chOff x="0" y="0"/>
          <a:chExt cx="0" cy="0"/>
        </a:xfrm>
      </p:grpSpPr>
      <p:sp>
        <p:nvSpPr>
          <p:cNvPr id="2" name="PlaceHolder 1"/>
          <p:cNvSpPr>
            <a:spLocks noGrp="1"/>
          </p:cNvSpPr>
          <p:nvPr>
            <p:ph type="ftr" idx="14"/>
          </p:nvPr>
        </p:nvSpPr>
        <p:spPr/>
        <p:txBody>
          <a:bodyPr/>
          <a:p>
            <a:r>
              <a:t>Footer</a:t>
            </a:r>
          </a:p>
        </p:txBody>
      </p:sp>
    </p:spTree>
  </p:cSld>
</p:sldLayout>
</file>

<file path=ppt/slideLayouts/slideLayout19.xml><?xml version="1.0" encoding="utf-8"?>
<p:sldLayout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type="blank" preserve="1">
  <p:cSld name="Title, Text and 2 Pictures">
    <p:spTree>
      <p:nvGrpSpPr>
        <p:cNvPr id="1" name=""/>
        <p:cNvGrpSpPr/>
        <p:nvPr/>
      </p:nvGrpSpPr>
      <p:grpSpPr>
        <a:xfrm>
          <a:off x="0" y="0"/>
          <a:ext cx="0" cy="0"/>
          <a:chOff x="0" y="0"/>
          <a:chExt cx="0" cy="0"/>
        </a:xfrm>
      </p:grpSpPr>
      <p:sp>
        <p:nvSpPr>
          <p:cNvPr id="2" name="PlaceHolder 1"/>
          <p:cNvSpPr>
            <a:spLocks noGrp="1"/>
          </p:cNvSpPr>
          <p:nvPr>
            <p:ph type="ftr" idx="15"/>
          </p:nvPr>
        </p:nvSpPr>
        <p:spPr/>
        <p:txBody>
          <a:bodyPr/>
          <a:p>
            <a:r>
              <a:t>Footer</a:t>
            </a:r>
          </a:p>
        </p:txBody>
      </p:sp>
    </p:spTree>
  </p:cSld>
</p:sldLayout>
</file>

<file path=ppt/slideLayouts/slideLayout2.xml><?xml version="1.0" encoding="utf-8"?>
<p:sldLayout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type="blank" preserve="1">
  <p:cSld name="Title, Text and 2 Pictures B">
    <p:spTree>
      <p:nvGrpSpPr>
        <p:cNvPr id="1" name=""/>
        <p:cNvGrpSpPr/>
        <p:nvPr/>
      </p:nvGrpSpPr>
      <p:grpSpPr>
        <a:xfrm>
          <a:off x="0" y="0"/>
          <a:ext cx="0" cy="0"/>
          <a:chOff x="0" y="0"/>
          <a:chExt cx="0" cy="0"/>
        </a:xfrm>
      </p:grpSpPr>
      <p:sp>
        <p:nvSpPr>
          <p:cNvPr id="2" name="PlaceHolder 1"/>
          <p:cNvSpPr>
            <a:spLocks noGrp="1"/>
          </p:cNvSpPr>
          <p:nvPr>
            <p:ph type="ftr" idx="1"/>
          </p:nvPr>
        </p:nvSpPr>
        <p:spPr/>
        <p:txBody>
          <a:bodyPr/>
          <a:p>
            <a:r>
              <a:t>Footer</a:t>
            </a:r>
          </a:p>
        </p:txBody>
      </p:sp>
    </p:spTree>
  </p:cSld>
</p:sldLayout>
</file>

<file path=ppt/slideLayouts/slideLayout20.xml><?xml version="1.0" encoding="utf-8"?>
<p:sldLayout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type="blank" preserve="1">
  <p:cSld name="Title, Text and 2 Objects">
    <p:spTree>
      <p:nvGrpSpPr>
        <p:cNvPr id="1" name=""/>
        <p:cNvGrpSpPr/>
        <p:nvPr/>
      </p:nvGrpSpPr>
      <p:grpSpPr>
        <a:xfrm>
          <a:off x="0" y="0"/>
          <a:ext cx="0" cy="0"/>
          <a:chOff x="0" y="0"/>
          <a:chExt cx="0" cy="0"/>
        </a:xfrm>
      </p:grpSpPr>
      <p:sp>
        <p:nvSpPr>
          <p:cNvPr id="2" name="PlaceHolder 1"/>
          <p:cNvSpPr>
            <a:spLocks noGrp="1"/>
          </p:cNvSpPr>
          <p:nvPr>
            <p:ph type="ftr" idx="16"/>
          </p:nvPr>
        </p:nvSpPr>
        <p:spPr/>
        <p:txBody>
          <a:bodyPr/>
          <a:p>
            <a:r>
              <a:t>Footer</a:t>
            </a:r>
          </a:p>
        </p:txBody>
      </p:sp>
    </p:spTree>
  </p:cSld>
</p:sldLayout>
</file>

<file path=ppt/slideLayouts/slideLayout21.xml><?xml version="1.0" encoding="utf-8"?>
<p:sldLayout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type="blank" preserve="1">
  <p:cSld name="Default">
    <p:spTree>
      <p:nvGrpSpPr>
        <p:cNvPr id="1" name=""/>
        <p:cNvGrpSpPr/>
        <p:nvPr/>
      </p:nvGrpSpPr>
      <p:grpSpPr>
        <a:xfrm>
          <a:off x="0" y="0"/>
          <a:ext cx="0" cy="0"/>
          <a:chOff x="0" y="0"/>
          <a:chExt cx="0" cy="0"/>
        </a:xfrm>
      </p:grpSpPr>
    </p:spTree>
  </p:cSld>
</p:sldLayout>
</file>

<file path=ppt/slideLayouts/slideLayout22.xml><?xml version="1.0" encoding="utf-8"?>
<p:sldLayout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type="blank" preserve="1">
  <p:cSld name="Default 1">
    <p:spTree>
      <p:nvGrpSpPr>
        <p:cNvPr id="1" name=""/>
        <p:cNvGrpSpPr/>
        <p:nvPr/>
      </p:nvGrpSpPr>
      <p:grpSpPr>
        <a:xfrm>
          <a:off x="0" y="0"/>
          <a:ext cx="0" cy="0"/>
          <a:chOff x="0" y="0"/>
          <a:chExt cx="0" cy="0"/>
        </a:xfrm>
      </p:grpSpPr>
      <p:sp>
        <p:nvSpPr>
          <p:cNvPr id="2" name="PlaceHolder 1"/>
          <p:cNvSpPr>
            <a:spLocks noGrp="1"/>
          </p:cNvSpPr>
          <p:nvPr>
            <p:ph type="ftr" idx="17"/>
          </p:nvPr>
        </p:nvSpPr>
        <p:spPr/>
        <p:txBody>
          <a:bodyPr/>
          <a:p>
            <a:r>
              <a:t>Footer</a:t>
            </a:r>
          </a:p>
        </p:txBody>
      </p:sp>
    </p:spTree>
  </p:cSld>
</p:sldLayout>
</file>

<file path=ppt/slideLayouts/slideLayout23.xml><?xml version="1.0" encoding="utf-8"?>
<p:sldLayout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type="blank" preserve="1">
  <p:cSld name="Default 2">
    <p:spTree>
      <p:nvGrpSpPr>
        <p:cNvPr id="1" name=""/>
        <p:cNvGrpSpPr/>
        <p:nvPr/>
      </p:nvGrpSpPr>
      <p:grpSpPr>
        <a:xfrm>
          <a:off x="0" y="0"/>
          <a:ext cx="0" cy="0"/>
          <a:chOff x="0" y="0"/>
          <a:chExt cx="0" cy="0"/>
        </a:xfrm>
      </p:grpSpPr>
      <p:sp>
        <p:nvSpPr>
          <p:cNvPr id="2" name="PlaceHolder 1"/>
          <p:cNvSpPr>
            <a:spLocks noGrp="1"/>
          </p:cNvSpPr>
          <p:nvPr>
            <p:ph type="ftr" idx="18"/>
          </p:nvPr>
        </p:nvSpPr>
        <p:spPr/>
        <p:txBody>
          <a:bodyPr/>
          <a:p>
            <a:r>
              <a:t>Footer</a:t>
            </a:r>
          </a:p>
        </p:txBody>
      </p:sp>
    </p:spTree>
  </p:cSld>
</p:sldLayout>
</file>

<file path=ppt/slideLayouts/slideLayout24.xml><?xml version="1.0" encoding="utf-8"?>
<p:sldLayout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type="blank" preserve="1">
  <p:cSld name="Default 3">
    <p:spTree>
      <p:nvGrpSpPr>
        <p:cNvPr id="1" name=""/>
        <p:cNvGrpSpPr/>
        <p:nvPr/>
      </p:nvGrpSpPr>
      <p:grpSpPr>
        <a:xfrm>
          <a:off x="0" y="0"/>
          <a:ext cx="0" cy="0"/>
          <a:chOff x="0" y="0"/>
          <a:chExt cx="0" cy="0"/>
        </a:xfrm>
      </p:grpSpPr>
      <p:sp>
        <p:nvSpPr>
          <p:cNvPr id="2" name="PlaceHolder 1"/>
          <p:cNvSpPr>
            <a:spLocks noGrp="1"/>
          </p:cNvSpPr>
          <p:nvPr>
            <p:ph type="ftr" idx="19"/>
          </p:nvPr>
        </p:nvSpPr>
        <p:spPr/>
        <p:txBody>
          <a:bodyPr/>
          <a:p>
            <a:r>
              <a:t>Footer</a:t>
            </a:r>
          </a:p>
        </p:txBody>
      </p:sp>
    </p:spTree>
  </p:cSld>
</p:sldLayout>
</file>

<file path=ppt/slideLayouts/slideLayout25.xml><?xml version="1.0" encoding="utf-8"?>
<p:sldLayout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type="blank" preserve="1">
  <p:cSld name="Default 4">
    <p:spTree>
      <p:nvGrpSpPr>
        <p:cNvPr id="1" name=""/>
        <p:cNvGrpSpPr/>
        <p:nvPr/>
      </p:nvGrpSpPr>
      <p:grpSpPr>
        <a:xfrm>
          <a:off x="0" y="0"/>
          <a:ext cx="0" cy="0"/>
          <a:chOff x="0" y="0"/>
          <a:chExt cx="0" cy="0"/>
        </a:xfrm>
      </p:grpSpPr>
      <p:sp>
        <p:nvSpPr>
          <p:cNvPr id="2" name="PlaceHolder 1"/>
          <p:cNvSpPr>
            <a:spLocks noGrp="1"/>
          </p:cNvSpPr>
          <p:nvPr>
            <p:ph type="ftr" idx="20"/>
          </p:nvPr>
        </p:nvSpPr>
        <p:spPr/>
        <p:txBody>
          <a:bodyPr/>
          <a:p>
            <a:r>
              <a:t>Footer</a:t>
            </a:r>
          </a:p>
        </p:txBody>
      </p:sp>
    </p:spTree>
  </p:cSld>
</p:sldLayout>
</file>

<file path=ppt/slideLayouts/slideLayout26.xml><?xml version="1.0" encoding="utf-8"?>
<p:sldLayout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type="blank" preserve="1">
  <p:cSld name="Default 5">
    <p:spTree>
      <p:nvGrpSpPr>
        <p:cNvPr id="1" name=""/>
        <p:cNvGrpSpPr/>
        <p:nvPr/>
      </p:nvGrpSpPr>
      <p:grpSpPr>
        <a:xfrm>
          <a:off x="0" y="0"/>
          <a:ext cx="0" cy="0"/>
          <a:chOff x="0" y="0"/>
          <a:chExt cx="0" cy="0"/>
        </a:xfrm>
      </p:grpSpPr>
      <p:sp>
        <p:nvSpPr>
          <p:cNvPr id="2" name="PlaceHolder 1"/>
          <p:cNvSpPr>
            <a:spLocks noGrp="1"/>
          </p:cNvSpPr>
          <p:nvPr>
            <p:ph type="ftr" idx="21"/>
          </p:nvPr>
        </p:nvSpPr>
        <p:spPr/>
        <p:txBody>
          <a:bodyPr/>
          <a:p>
            <a:r>
              <a:t>Footer</a:t>
            </a:r>
          </a:p>
        </p:txBody>
      </p:sp>
    </p:spTree>
  </p:cSld>
</p:sldLayout>
</file>

<file path=ppt/slideLayouts/slideLayout27.xml><?xml version="1.0" encoding="utf-8"?>
<p:sldLayout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type="blank" preserve="1">
  <p:cSld name="Default 6">
    <p:spTree>
      <p:nvGrpSpPr>
        <p:cNvPr id="1" name=""/>
        <p:cNvGrpSpPr/>
        <p:nvPr/>
      </p:nvGrpSpPr>
      <p:grpSpPr>
        <a:xfrm>
          <a:off x="0" y="0"/>
          <a:ext cx="0" cy="0"/>
          <a:chOff x="0" y="0"/>
          <a:chExt cx="0" cy="0"/>
        </a:xfrm>
      </p:grpSpPr>
      <p:sp>
        <p:nvSpPr>
          <p:cNvPr id="2" name="PlaceHolder 1"/>
          <p:cNvSpPr>
            <a:spLocks noGrp="1"/>
          </p:cNvSpPr>
          <p:nvPr>
            <p:ph type="ftr" idx="22"/>
          </p:nvPr>
        </p:nvSpPr>
        <p:spPr/>
        <p:txBody>
          <a:bodyPr/>
          <a:p>
            <a:r>
              <a:t>Footer</a:t>
            </a:r>
          </a:p>
        </p:txBody>
      </p:sp>
    </p:spTree>
  </p:cSld>
</p:sldLayout>
</file>

<file path=ppt/slideLayouts/slideLayout28.xml><?xml version="1.0" encoding="utf-8"?>
<p:sldLayout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type="blank" preserve="1">
  <p:cSld name="Default 7">
    <p:spTree>
      <p:nvGrpSpPr>
        <p:cNvPr id="1" name=""/>
        <p:cNvGrpSpPr/>
        <p:nvPr/>
      </p:nvGrpSpPr>
      <p:grpSpPr>
        <a:xfrm>
          <a:off x="0" y="0"/>
          <a:ext cx="0" cy="0"/>
          <a:chOff x="0" y="0"/>
          <a:chExt cx="0" cy="0"/>
        </a:xfrm>
      </p:grpSpPr>
      <p:sp>
        <p:nvSpPr>
          <p:cNvPr id="2" name="PlaceHolder 1"/>
          <p:cNvSpPr>
            <a:spLocks noGrp="1"/>
          </p:cNvSpPr>
          <p:nvPr>
            <p:ph type="ftr" idx="23"/>
          </p:nvPr>
        </p:nvSpPr>
        <p:spPr/>
        <p:txBody>
          <a:bodyPr/>
          <a:p>
            <a:r>
              <a:t>Footer</a:t>
            </a:r>
          </a:p>
        </p:txBody>
      </p:sp>
    </p:spTree>
  </p:cSld>
</p:sldLayout>
</file>

<file path=ppt/slideLayouts/slideLayout29.xml><?xml version="1.0" encoding="utf-8"?>
<p:sldLayout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type="blank" preserve="1">
  <p:cSld name="Default 8">
    <p:spTree>
      <p:nvGrpSpPr>
        <p:cNvPr id="1" name=""/>
        <p:cNvGrpSpPr/>
        <p:nvPr/>
      </p:nvGrpSpPr>
      <p:grpSpPr>
        <a:xfrm>
          <a:off x="0" y="0"/>
          <a:ext cx="0" cy="0"/>
          <a:chOff x="0" y="0"/>
          <a:chExt cx="0" cy="0"/>
        </a:xfrm>
      </p:grpSpPr>
      <p:sp>
        <p:nvSpPr>
          <p:cNvPr id="2" name="PlaceHolder 1"/>
          <p:cNvSpPr>
            <a:spLocks noGrp="1"/>
          </p:cNvSpPr>
          <p:nvPr>
            <p:ph type="ftr" idx="24"/>
          </p:nvPr>
        </p:nvSpPr>
        <p:spPr/>
        <p:txBody>
          <a:bodyPr/>
          <a:p>
            <a:r>
              <a:t>Footer</a:t>
            </a:r>
          </a:p>
        </p:txBody>
      </p:sp>
    </p:spTree>
  </p:cSld>
</p:sldLayout>
</file>

<file path=ppt/slideLayouts/slideLayout3.xml><?xml version="1.0" encoding="utf-8"?>
<p:sldLayout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type="blank" preserve="1">
  <p:cSld name="Title, Text and 2 Objects B">
    <p:spTree>
      <p:nvGrpSpPr>
        <p:cNvPr id="1" name=""/>
        <p:cNvGrpSpPr/>
        <p:nvPr/>
      </p:nvGrpSpPr>
      <p:grpSpPr>
        <a:xfrm>
          <a:off x="0" y="0"/>
          <a:ext cx="0" cy="0"/>
          <a:chOff x="0" y="0"/>
          <a:chExt cx="0" cy="0"/>
        </a:xfrm>
      </p:grpSpPr>
      <p:sp>
        <p:nvSpPr>
          <p:cNvPr id="2" name="PlaceHolder 1"/>
          <p:cNvSpPr>
            <a:spLocks noGrp="1"/>
          </p:cNvSpPr>
          <p:nvPr>
            <p:ph type="ftr" idx="2"/>
          </p:nvPr>
        </p:nvSpPr>
        <p:spPr/>
        <p:txBody>
          <a:bodyPr/>
          <a:p>
            <a:r>
              <a:t>Footer</a:t>
            </a:r>
          </a:p>
        </p:txBody>
      </p:sp>
    </p:spTree>
  </p:cSld>
</p:sldLayout>
</file>

<file path=ppt/slideLayouts/slideLayout30.xml><?xml version="1.0" encoding="utf-8"?>
<p:sldLayout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type="blank" preserve="1">
  <p:cSld name="Title, Text and 1 Picture">
    <p:spTree>
      <p:nvGrpSpPr>
        <p:cNvPr id="1" name=""/>
        <p:cNvGrpSpPr/>
        <p:nvPr/>
      </p:nvGrpSpPr>
      <p:grpSpPr>
        <a:xfrm>
          <a:off x="0" y="0"/>
          <a:ext cx="0" cy="0"/>
          <a:chOff x="0" y="0"/>
          <a:chExt cx="0" cy="0"/>
        </a:xfrm>
      </p:grpSpPr>
      <p:sp>
        <p:nvSpPr>
          <p:cNvPr id="2" name="PlaceHolder 1"/>
          <p:cNvSpPr>
            <a:spLocks noGrp="1"/>
          </p:cNvSpPr>
          <p:nvPr>
            <p:ph type="ftr" idx="25"/>
          </p:nvPr>
        </p:nvSpPr>
        <p:spPr/>
        <p:txBody>
          <a:bodyPr/>
          <a:p>
            <a:r>
              <a:t>Footer</a:t>
            </a:r>
          </a:p>
        </p:txBody>
      </p:sp>
    </p:spTree>
  </p:cSld>
</p:sldLayout>
</file>

<file path=ppt/slideLayouts/slideLayout31.xml><?xml version="1.0" encoding="utf-8"?>
<p:sldLayout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type="blank" preserve="1">
  <p:cSld name="Default 9">
    <p:spTree>
      <p:nvGrpSpPr>
        <p:cNvPr id="1" name=""/>
        <p:cNvGrpSpPr/>
        <p:nvPr/>
      </p:nvGrpSpPr>
      <p:grpSpPr>
        <a:xfrm>
          <a:off x="0" y="0"/>
          <a:ext cx="0" cy="0"/>
          <a:chOff x="0" y="0"/>
          <a:chExt cx="0" cy="0"/>
        </a:xfrm>
      </p:grpSpPr>
      <p:sp>
        <p:nvSpPr>
          <p:cNvPr id="2" name="PlaceHolder 1"/>
          <p:cNvSpPr>
            <a:spLocks noGrp="1"/>
          </p:cNvSpPr>
          <p:nvPr>
            <p:ph type="ftr" idx="26"/>
          </p:nvPr>
        </p:nvSpPr>
        <p:spPr/>
        <p:txBody>
          <a:bodyPr/>
          <a:p>
            <a:r>
              <a:t>Footer</a:t>
            </a:r>
          </a:p>
        </p:txBody>
      </p:sp>
    </p:spTree>
  </p:cSld>
</p:sldLayout>
</file>

<file path=ppt/slideLayouts/slideLayout32.xml><?xml version="1.0" encoding="utf-8"?>
<p:sldLayout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type="blank" preserve="1">
  <p:cSld name="Default 10">
    <p:spTree>
      <p:nvGrpSpPr>
        <p:cNvPr id="1" name=""/>
        <p:cNvGrpSpPr/>
        <p:nvPr/>
      </p:nvGrpSpPr>
      <p:grpSpPr>
        <a:xfrm>
          <a:off x="0" y="0"/>
          <a:ext cx="0" cy="0"/>
          <a:chOff x="0" y="0"/>
          <a:chExt cx="0" cy="0"/>
        </a:xfrm>
      </p:grpSpPr>
    </p:spTree>
  </p:cSld>
</p:sldLayout>
</file>

<file path=ppt/slideLayouts/slideLayout33.xml><?xml version="1.0" encoding="utf-8"?>
<p:sldLayout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type="blank" preserve="1">
  <p:cSld name="Default 11">
    <p:spTree>
      <p:nvGrpSpPr>
        <p:cNvPr id="1" name=""/>
        <p:cNvGrpSpPr/>
        <p:nvPr/>
      </p:nvGrpSpPr>
      <p:grpSpPr>
        <a:xfrm>
          <a:off x="0" y="0"/>
          <a:ext cx="0" cy="0"/>
          <a:chOff x="0" y="0"/>
          <a:chExt cx="0" cy="0"/>
        </a:xfrm>
      </p:grpSpPr>
    </p:spTree>
  </p:cSld>
</p:sldLayout>
</file>

<file path=ppt/slideLayouts/slideLayout34.xml><?xml version="1.0" encoding="utf-8"?>
<p:sldLayout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type="blank" preserve="1">
  <p:cSld name="Default 12">
    <p:spTree>
      <p:nvGrpSpPr>
        <p:cNvPr id="1" name=""/>
        <p:cNvGrpSpPr/>
        <p:nvPr/>
      </p:nvGrpSpPr>
      <p:grpSpPr>
        <a:xfrm>
          <a:off x="0" y="0"/>
          <a:ext cx="0" cy="0"/>
          <a:chOff x="0" y="0"/>
          <a:chExt cx="0" cy="0"/>
        </a:xfrm>
      </p:grpSpPr>
    </p:spTree>
  </p:cSld>
</p:sldLayout>
</file>

<file path=ppt/slideLayouts/slideLayout35.xml><?xml version="1.0" encoding="utf-8"?>
<p:sldLayout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type="blank" preserve="1">
  <p:cSld name="Default 13">
    <p:spTree>
      <p:nvGrpSpPr>
        <p:cNvPr id="1" name=""/>
        <p:cNvGrpSpPr/>
        <p:nvPr/>
      </p:nvGrpSpPr>
      <p:grpSpPr>
        <a:xfrm>
          <a:off x="0" y="0"/>
          <a:ext cx="0" cy="0"/>
          <a:chOff x="0" y="0"/>
          <a:chExt cx="0" cy="0"/>
        </a:xfrm>
      </p:grpSpPr>
      <p:sp>
        <p:nvSpPr>
          <p:cNvPr id="2" name="PlaceHolder 1"/>
          <p:cNvSpPr>
            <a:spLocks noGrp="1"/>
          </p:cNvSpPr>
          <p:nvPr>
            <p:ph type="ftr" idx="27"/>
          </p:nvPr>
        </p:nvSpPr>
        <p:spPr/>
        <p:txBody>
          <a:bodyPr/>
          <a:p>
            <a:r>
              <a:t>Footer</a:t>
            </a:r>
          </a:p>
        </p:txBody>
      </p:sp>
    </p:spTree>
  </p:cSld>
</p:sldLayout>
</file>

<file path=ppt/slideLayouts/slideLayout36.xml><?xml version="1.0" encoding="utf-8"?>
<p:sldLayout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type="blank" preserve="1">
  <p:cSld name="Default 14">
    <p:spTree>
      <p:nvGrpSpPr>
        <p:cNvPr id="1" name=""/>
        <p:cNvGrpSpPr/>
        <p:nvPr/>
      </p:nvGrpSpPr>
      <p:grpSpPr>
        <a:xfrm>
          <a:off x="0" y="0"/>
          <a:ext cx="0" cy="0"/>
          <a:chOff x="0" y="0"/>
          <a:chExt cx="0" cy="0"/>
        </a:xfrm>
      </p:grpSpPr>
      <p:sp>
        <p:nvSpPr>
          <p:cNvPr id="2" name="PlaceHolder 1"/>
          <p:cNvSpPr>
            <a:spLocks noGrp="1"/>
          </p:cNvSpPr>
          <p:nvPr>
            <p:ph type="ftr" idx="28"/>
          </p:nvPr>
        </p:nvSpPr>
        <p:spPr/>
        <p:txBody>
          <a:bodyPr/>
          <a:p>
            <a:r>
              <a:t>Footer</a:t>
            </a:r>
          </a:p>
        </p:txBody>
      </p:sp>
    </p:spTree>
  </p:cSld>
</p:sldLayout>
</file>

<file path=ppt/slideLayouts/slideLayout37.xml><?xml version="1.0" encoding="utf-8"?>
<p:sldLayout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type="blank" preserve="1">
  <p:cSld name="Default 15">
    <p:spTree>
      <p:nvGrpSpPr>
        <p:cNvPr id="1" name=""/>
        <p:cNvGrpSpPr/>
        <p:nvPr/>
      </p:nvGrpSpPr>
      <p:grpSpPr>
        <a:xfrm>
          <a:off x="0" y="0"/>
          <a:ext cx="0" cy="0"/>
          <a:chOff x="0" y="0"/>
          <a:chExt cx="0" cy="0"/>
        </a:xfrm>
      </p:grpSpPr>
      <p:sp>
        <p:nvSpPr>
          <p:cNvPr id="2" name="PlaceHolder 1"/>
          <p:cNvSpPr>
            <a:spLocks noGrp="1"/>
          </p:cNvSpPr>
          <p:nvPr>
            <p:ph type="ftr" idx="29"/>
          </p:nvPr>
        </p:nvSpPr>
        <p:spPr/>
        <p:txBody>
          <a:bodyPr/>
          <a:p>
            <a:r>
              <a:t>Footer</a:t>
            </a:r>
          </a:p>
        </p:txBody>
      </p:sp>
    </p:spTree>
  </p:cSld>
</p:sldLayout>
</file>

<file path=ppt/slideLayouts/slideLayout38.xml><?xml version="1.0" encoding="utf-8"?>
<p:sldLayout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type="blank" preserve="1">
  <p:cSld name="Default 16">
    <p:spTree>
      <p:nvGrpSpPr>
        <p:cNvPr id="1" name=""/>
        <p:cNvGrpSpPr/>
        <p:nvPr/>
      </p:nvGrpSpPr>
      <p:grpSpPr>
        <a:xfrm>
          <a:off x="0" y="0"/>
          <a:ext cx="0" cy="0"/>
          <a:chOff x="0" y="0"/>
          <a:chExt cx="0" cy="0"/>
        </a:xfrm>
      </p:grpSpPr>
      <p:sp>
        <p:nvSpPr>
          <p:cNvPr id="2" name="PlaceHolder 1"/>
          <p:cNvSpPr>
            <a:spLocks noGrp="1"/>
          </p:cNvSpPr>
          <p:nvPr>
            <p:ph type="ftr" idx="30"/>
          </p:nvPr>
        </p:nvSpPr>
        <p:spPr/>
        <p:txBody>
          <a:bodyPr/>
          <a:p>
            <a:r>
              <a:t>Footer</a:t>
            </a:r>
          </a:p>
        </p:txBody>
      </p:sp>
    </p:spTree>
  </p:cSld>
</p:sldLayout>
</file>

<file path=ppt/slideLayouts/slideLayout39.xml><?xml version="1.0" encoding="utf-8"?>
<p:sldLayout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type="blank" preserve="1">
  <p:cSld name="Default 17">
    <p:spTree>
      <p:nvGrpSpPr>
        <p:cNvPr id="1" name=""/>
        <p:cNvGrpSpPr/>
        <p:nvPr/>
      </p:nvGrpSpPr>
      <p:grpSpPr>
        <a:xfrm>
          <a:off x="0" y="0"/>
          <a:ext cx="0" cy="0"/>
          <a:chOff x="0" y="0"/>
          <a:chExt cx="0" cy="0"/>
        </a:xfrm>
      </p:grpSpPr>
      <p:sp>
        <p:nvSpPr>
          <p:cNvPr id="2" name="PlaceHolder 1"/>
          <p:cNvSpPr>
            <a:spLocks noGrp="1"/>
          </p:cNvSpPr>
          <p:nvPr>
            <p:ph type="ftr" idx="31"/>
          </p:nvPr>
        </p:nvSpPr>
        <p:spPr/>
        <p:txBody>
          <a:bodyPr/>
          <a:p>
            <a:r>
              <a:t>Footer</a:t>
            </a:r>
          </a:p>
        </p:txBody>
      </p:sp>
    </p:spTree>
  </p:cSld>
</p:sldLayout>
</file>

<file path=ppt/slideLayouts/slideLayout4.xml><?xml version="1.0" encoding="utf-8"?>
<p:sldLayout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type="blank" preserve="1">
  <p:cSld name="Title, Text and 4 Pictures">
    <p:spTree>
      <p:nvGrpSpPr>
        <p:cNvPr id="1" name=""/>
        <p:cNvGrpSpPr/>
        <p:nvPr/>
      </p:nvGrpSpPr>
      <p:grpSpPr>
        <a:xfrm>
          <a:off x="0" y="0"/>
          <a:ext cx="0" cy="0"/>
          <a:chOff x="0" y="0"/>
          <a:chExt cx="0" cy="0"/>
        </a:xfrm>
      </p:grpSpPr>
      <p:sp>
        <p:nvSpPr>
          <p:cNvPr id="2" name="PlaceHolder 1"/>
          <p:cNvSpPr>
            <a:spLocks noGrp="1"/>
          </p:cNvSpPr>
          <p:nvPr>
            <p:ph type="ftr" idx="3"/>
          </p:nvPr>
        </p:nvSpPr>
        <p:spPr/>
        <p:txBody>
          <a:bodyPr/>
          <a:p>
            <a:r>
              <a:t>Footer</a:t>
            </a:r>
          </a:p>
        </p:txBody>
      </p:sp>
    </p:spTree>
  </p:cSld>
</p:sldLayout>
</file>

<file path=ppt/slideLayouts/slideLayout5.xml><?xml version="1.0" encoding="utf-8"?>
<p:sldLayout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type="blank" preserve="1">
  <p:cSld name="Title and Picture">
    <p:spTree>
      <p:nvGrpSpPr>
        <p:cNvPr id="1" name=""/>
        <p:cNvGrpSpPr/>
        <p:nvPr/>
      </p:nvGrpSpPr>
      <p:grpSpPr>
        <a:xfrm>
          <a:off x="0" y="0"/>
          <a:ext cx="0" cy="0"/>
          <a:chOff x="0" y="0"/>
          <a:chExt cx="0" cy="0"/>
        </a:xfrm>
      </p:grpSpPr>
      <p:sp>
        <p:nvSpPr>
          <p:cNvPr id="2" name="PlaceHolder 1"/>
          <p:cNvSpPr>
            <a:spLocks noGrp="1"/>
          </p:cNvSpPr>
          <p:nvPr>
            <p:ph type="ftr" idx="4"/>
          </p:nvPr>
        </p:nvSpPr>
        <p:spPr/>
        <p:txBody>
          <a:bodyPr/>
          <a:p>
            <a:r>
              <a:t>Footer</a:t>
            </a:r>
          </a:p>
        </p:txBody>
      </p:sp>
    </p:spTree>
  </p:cSld>
</p:sldLayout>
</file>

<file path=ppt/slideLayouts/slideLayout6.xml><?xml version="1.0" encoding="utf-8"?>
<p:sldLayout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type="blank" preserve="1">
  <p:cSld name="Title and 2 Pictures">
    <p:spTree>
      <p:nvGrpSpPr>
        <p:cNvPr id="1" name=""/>
        <p:cNvGrpSpPr/>
        <p:nvPr/>
      </p:nvGrpSpPr>
      <p:grpSpPr>
        <a:xfrm>
          <a:off x="0" y="0"/>
          <a:ext cx="0" cy="0"/>
          <a:chOff x="0" y="0"/>
          <a:chExt cx="0" cy="0"/>
        </a:xfrm>
      </p:grpSpPr>
      <p:sp>
        <p:nvSpPr>
          <p:cNvPr id="2" name="PlaceHolder 1"/>
          <p:cNvSpPr>
            <a:spLocks noGrp="1"/>
          </p:cNvSpPr>
          <p:nvPr>
            <p:ph type="ftr" idx="5"/>
          </p:nvPr>
        </p:nvSpPr>
        <p:spPr/>
        <p:txBody>
          <a:bodyPr/>
          <a:p>
            <a:r>
              <a:t>Footer</a:t>
            </a:r>
          </a:p>
        </p:txBody>
      </p:sp>
    </p:spTree>
  </p:cSld>
</p:sldLayout>
</file>

<file path=ppt/slideLayouts/slideLayout7.xml><?xml version="1.0" encoding="utf-8"?>
<p:sldLayout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type="blank" preserve="1">
  <p:cSld name="Title and 2 Pictures B">
    <p:spTree>
      <p:nvGrpSpPr>
        <p:cNvPr id="1" name=""/>
        <p:cNvGrpSpPr/>
        <p:nvPr/>
      </p:nvGrpSpPr>
      <p:grpSpPr>
        <a:xfrm>
          <a:off x="0" y="0"/>
          <a:ext cx="0" cy="0"/>
          <a:chOff x="0" y="0"/>
          <a:chExt cx="0" cy="0"/>
        </a:xfrm>
      </p:grpSpPr>
      <p:sp>
        <p:nvSpPr>
          <p:cNvPr id="2" name="PlaceHolder 1"/>
          <p:cNvSpPr>
            <a:spLocks noGrp="1"/>
          </p:cNvSpPr>
          <p:nvPr>
            <p:ph type="ftr" idx="6"/>
          </p:nvPr>
        </p:nvSpPr>
        <p:spPr/>
        <p:txBody>
          <a:bodyPr/>
          <a:p>
            <a:r>
              <a:t>Footer</a:t>
            </a:r>
          </a:p>
        </p:txBody>
      </p:sp>
    </p:spTree>
  </p:cSld>
</p:sldLayout>
</file>

<file path=ppt/slideLayouts/slideLayout8.xml><?xml version="1.0" encoding="utf-8"?>
<p:sldLayout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type="blank" preserve="1">
  <p:cSld name="Nur Titel">
    <p:spTree>
      <p:nvGrpSpPr>
        <p:cNvPr id="1" name=""/>
        <p:cNvGrpSpPr/>
        <p:nvPr/>
      </p:nvGrpSpPr>
      <p:grpSpPr>
        <a:xfrm>
          <a:off x="0" y="0"/>
          <a:ext cx="0" cy="0"/>
          <a:chOff x="0" y="0"/>
          <a:chExt cx="0" cy="0"/>
        </a:xfrm>
      </p:grpSpPr>
      <p:sp>
        <p:nvSpPr>
          <p:cNvPr id="2" name="PlaceHolder 1"/>
          <p:cNvSpPr>
            <a:spLocks noGrp="1"/>
          </p:cNvSpPr>
          <p:nvPr>
            <p:ph type="ftr" idx="7"/>
          </p:nvPr>
        </p:nvSpPr>
        <p:spPr/>
        <p:txBody>
          <a:bodyPr/>
          <a:p>
            <a:r>
              <a:t>Footer</a:t>
            </a:r>
          </a:p>
        </p:txBody>
      </p:sp>
    </p:spTree>
  </p:cSld>
</p:sldLayout>
</file>

<file path=ppt/slideLayouts/slideLayout9.xml><?xml version="1.0" encoding="utf-8"?>
<p:sldLayout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type="blank" preserve="1">
  <p:cSld name="Leer">
    <p:spTree>
      <p:nvGrpSpPr>
        <p:cNvPr id="1" name=""/>
        <p:cNvGrpSpPr/>
        <p:nvPr/>
      </p:nvGrpSpPr>
      <p:grpSpPr>
        <a:xfrm>
          <a:off x="0" y="0"/>
          <a:ext cx="0" cy="0"/>
          <a:chOff x="0" y="0"/>
          <a:chExt cx="0" cy="0"/>
        </a:xfrm>
      </p:grpSpPr>
      <p:sp>
        <p:nvSpPr>
          <p:cNvPr id="2" name="PlaceHolder 1"/>
          <p:cNvSpPr>
            <a:spLocks noGrp="1"/>
          </p:cNvSpPr>
          <p:nvPr>
            <p:ph type="ftr" idx="8"/>
          </p:nvPr>
        </p:nvSpPr>
        <p:spPr/>
        <p:txBody>
          <a:bodyPr/>
          <a:p>
            <a:r>
              <a:t>Footer</a:t>
            </a:r>
          </a:p>
        </p:txBody>
      </p:sp>
    </p:spTree>
  </p:cSld>
</p:sldLayout>
</file>

<file path=ppt/slideMasters/_rels/slideMaster1.xml.rels><?xml version="1.0" encoding="UTF-8"?>
<Relationships xmlns="http://schemas.openxmlformats.org/package/2006/relationships"><Relationship Id="rId1" Type="http://schemas.openxmlformats.org/officeDocument/2006/relationships/theme" Target="../theme/theme1.xml"/><Relationship Id="rId2" Type="http://schemas.openxmlformats.org/officeDocument/2006/relationships/image" Target="../media/image1.wmf"/><Relationship Id="rId3" Type="http://schemas.openxmlformats.org/officeDocument/2006/relationships/image" Target="../media/image2.wmf"/><Relationship Id="rId4" Type="http://schemas.openxmlformats.org/officeDocument/2006/relationships/image" Target="../media/image3.wmf"/><Relationship Id="rId5" Type="http://schemas.openxmlformats.org/officeDocument/2006/relationships/slideLayout" Target="../slideLayouts/slideLayout1.xml"/>
</Relationships>
</file>

<file path=ppt/slideMasters/_rels/slideMaster10.xml.rels><?xml version="1.0" encoding="UTF-8"?>
<Relationships xmlns="http://schemas.openxmlformats.org/package/2006/relationships"><Relationship Id="rId1" Type="http://schemas.openxmlformats.org/officeDocument/2006/relationships/theme" Target="../theme/theme10.xml"/><Relationship Id="rId2" Type="http://schemas.openxmlformats.org/officeDocument/2006/relationships/image" Target="../media/image1.wmf"/><Relationship Id="rId3" Type="http://schemas.openxmlformats.org/officeDocument/2006/relationships/slideLayout" Target="../slideLayouts/slideLayout10.xml"/>
</Relationships>
</file>

<file path=ppt/slideMasters/_rels/slideMaster11.xml.rels><?xml version="1.0" encoding="UTF-8"?>
<Relationships xmlns="http://schemas.openxmlformats.org/package/2006/relationships"><Relationship Id="rId1" Type="http://schemas.openxmlformats.org/officeDocument/2006/relationships/theme" Target="../theme/theme11.xml"/><Relationship Id="rId2" Type="http://schemas.openxmlformats.org/officeDocument/2006/relationships/image" Target="../media/image1.wmf"/><Relationship Id="rId3" Type="http://schemas.openxmlformats.org/officeDocument/2006/relationships/slideLayout" Target="../slideLayouts/slideLayout11.xml"/>
</Relationships>
</file>

<file path=ppt/slideMasters/_rels/slideMaster12.xml.rels><?xml version="1.0" encoding="UTF-8"?>
<Relationships xmlns="http://schemas.openxmlformats.org/package/2006/relationships"><Relationship Id="rId1" Type="http://schemas.openxmlformats.org/officeDocument/2006/relationships/theme" Target="../theme/theme12.xml"/><Relationship Id="rId2" Type="http://schemas.openxmlformats.org/officeDocument/2006/relationships/image" Target="../media/image1.wmf"/><Relationship Id="rId3" Type="http://schemas.openxmlformats.org/officeDocument/2006/relationships/image" Target="../media/image2.wmf"/><Relationship Id="rId4" Type="http://schemas.openxmlformats.org/officeDocument/2006/relationships/image" Target="../media/image3.wmf"/><Relationship Id="rId5" Type="http://schemas.openxmlformats.org/officeDocument/2006/relationships/slideLayout" Target="../slideLayouts/slideLayout12.xml"/>
</Relationships>
</file>

<file path=ppt/slideMasters/_rels/slideMaster13.xml.rels><?xml version="1.0" encoding="UTF-8"?>
<Relationships xmlns="http://schemas.openxmlformats.org/package/2006/relationships"><Relationship Id="rId1" Type="http://schemas.openxmlformats.org/officeDocument/2006/relationships/theme" Target="../theme/theme13.xml"/><Relationship Id="rId2" Type="http://schemas.openxmlformats.org/officeDocument/2006/relationships/image" Target="../media/image1.wmf"/><Relationship Id="rId3" Type="http://schemas.openxmlformats.org/officeDocument/2006/relationships/slideLayout" Target="../slideLayouts/slideLayout13.xml"/>
</Relationships>
</file>

<file path=ppt/slideMasters/_rels/slideMaster14.xml.rels><?xml version="1.0" encoding="UTF-8"?>
<Relationships xmlns="http://schemas.openxmlformats.org/package/2006/relationships"><Relationship Id="rId1" Type="http://schemas.openxmlformats.org/officeDocument/2006/relationships/theme" Target="../theme/theme14.xml"/><Relationship Id="rId2" Type="http://schemas.openxmlformats.org/officeDocument/2006/relationships/image" Target="../media/image1.wmf"/><Relationship Id="rId3" Type="http://schemas.openxmlformats.org/officeDocument/2006/relationships/slideLayout" Target="../slideLayouts/slideLayout14.xml"/>
</Relationships>
</file>

<file path=ppt/slideMasters/_rels/slideMaster15.xml.rels><?xml version="1.0" encoding="UTF-8"?>
<Relationships xmlns="http://schemas.openxmlformats.org/package/2006/relationships"><Relationship Id="rId1" Type="http://schemas.openxmlformats.org/officeDocument/2006/relationships/theme" Target="../theme/theme15.xml"/><Relationship Id="rId2" Type="http://schemas.openxmlformats.org/officeDocument/2006/relationships/image" Target="../media/image1.wmf"/><Relationship Id="rId3" Type="http://schemas.openxmlformats.org/officeDocument/2006/relationships/slideLayout" Target="../slideLayouts/slideLayout15.xml"/>
</Relationships>
</file>

<file path=ppt/slideMasters/_rels/slideMaster16.xml.rels><?xml version="1.0" encoding="UTF-8"?>
<Relationships xmlns="http://schemas.openxmlformats.org/package/2006/relationships"><Relationship Id="rId1" Type="http://schemas.openxmlformats.org/officeDocument/2006/relationships/theme" Target="../theme/theme16.xml"/><Relationship Id="rId2" Type="http://schemas.openxmlformats.org/officeDocument/2006/relationships/image" Target="../media/image1.wmf"/><Relationship Id="rId3" Type="http://schemas.openxmlformats.org/officeDocument/2006/relationships/slideLayout" Target="../slideLayouts/slideLayout16.xml"/>
</Relationships>
</file>

<file path=ppt/slideMasters/_rels/slideMaster17.xml.rels><?xml version="1.0" encoding="UTF-8"?>
<Relationships xmlns="http://schemas.openxmlformats.org/package/2006/relationships"><Relationship Id="rId1" Type="http://schemas.openxmlformats.org/officeDocument/2006/relationships/theme" Target="../theme/theme17.xml"/><Relationship Id="rId2" Type="http://schemas.openxmlformats.org/officeDocument/2006/relationships/image" Target="../media/image1.wmf"/><Relationship Id="rId3" Type="http://schemas.openxmlformats.org/officeDocument/2006/relationships/slideLayout" Target="../slideLayouts/slideLayout17.xml"/>
</Relationships>
</file>

<file path=ppt/slideMasters/_rels/slideMaster18.xml.rels><?xml version="1.0" encoding="UTF-8"?>
<Relationships xmlns="http://schemas.openxmlformats.org/package/2006/relationships"><Relationship Id="rId1" Type="http://schemas.openxmlformats.org/officeDocument/2006/relationships/theme" Target="../theme/theme18.xml"/><Relationship Id="rId2" Type="http://schemas.openxmlformats.org/officeDocument/2006/relationships/image" Target="../media/image1.wmf"/><Relationship Id="rId3" Type="http://schemas.openxmlformats.org/officeDocument/2006/relationships/slideLayout" Target="../slideLayouts/slideLayout18.xml"/>
</Relationships>
</file>

<file path=ppt/slideMasters/_rels/slideMaster19.xml.rels><?xml version="1.0" encoding="UTF-8"?>
<Relationships xmlns="http://schemas.openxmlformats.org/package/2006/relationships"><Relationship Id="rId1" Type="http://schemas.openxmlformats.org/officeDocument/2006/relationships/theme" Target="../theme/theme19.xml"/><Relationship Id="rId2" Type="http://schemas.openxmlformats.org/officeDocument/2006/relationships/image" Target="../media/image1.wmf"/><Relationship Id="rId3" Type="http://schemas.openxmlformats.org/officeDocument/2006/relationships/slideLayout" Target="../slideLayouts/slideLayout19.xml"/>
</Relationships>
</file>

<file path=ppt/slideMasters/_rels/slideMaster2.xml.rels><?xml version="1.0" encoding="UTF-8"?>
<Relationships xmlns="http://schemas.openxmlformats.org/package/2006/relationships"><Relationship Id="rId1" Type="http://schemas.openxmlformats.org/officeDocument/2006/relationships/theme" Target="../theme/theme2.xml"/><Relationship Id="rId2" Type="http://schemas.openxmlformats.org/officeDocument/2006/relationships/image" Target="../media/image1.wmf"/><Relationship Id="rId3" Type="http://schemas.openxmlformats.org/officeDocument/2006/relationships/slideLayout" Target="../slideLayouts/slideLayout2.xml"/>
</Relationships>
</file>

<file path=ppt/slideMasters/_rels/slideMaster20.xml.rels><?xml version="1.0" encoding="UTF-8"?>
<Relationships xmlns="http://schemas.openxmlformats.org/package/2006/relationships"><Relationship Id="rId1" Type="http://schemas.openxmlformats.org/officeDocument/2006/relationships/theme" Target="../theme/theme20.xml"/><Relationship Id="rId2" Type="http://schemas.openxmlformats.org/officeDocument/2006/relationships/image" Target="../media/image1.wmf"/><Relationship Id="rId3" Type="http://schemas.openxmlformats.org/officeDocument/2006/relationships/slideLayout" Target="../slideLayouts/slideLayout20.xml"/>
</Relationships>
</file>

<file path=ppt/slideMasters/_rels/slideMaster21.xml.rels><?xml version="1.0" encoding="UTF-8"?>
<Relationships xmlns="http://schemas.openxmlformats.org/package/2006/relationships"><Relationship Id="rId1" Type="http://schemas.openxmlformats.org/officeDocument/2006/relationships/theme" Target="../theme/theme21.xml"/><Relationship Id="rId2" Type="http://schemas.openxmlformats.org/officeDocument/2006/relationships/image" Target="../media/image1.wmf"/><Relationship Id="rId3" Type="http://schemas.openxmlformats.org/officeDocument/2006/relationships/image" Target="../media/image2.wmf"/><Relationship Id="rId4" Type="http://schemas.openxmlformats.org/officeDocument/2006/relationships/image" Target="../media/image3.wmf"/><Relationship Id="rId5" Type="http://schemas.openxmlformats.org/officeDocument/2006/relationships/slideLayout" Target="../slideLayouts/slideLayout21.xml"/>
</Relationships>
</file>

<file path=ppt/slideMasters/_rels/slideMaster22.xml.rels><?xml version="1.0" encoding="UTF-8"?>
<Relationships xmlns="http://schemas.openxmlformats.org/package/2006/relationships"><Relationship Id="rId1" Type="http://schemas.openxmlformats.org/officeDocument/2006/relationships/theme" Target="../theme/theme22.xml"/><Relationship Id="rId2" Type="http://schemas.openxmlformats.org/officeDocument/2006/relationships/image" Target="../media/image1.wmf"/><Relationship Id="rId3" Type="http://schemas.openxmlformats.org/officeDocument/2006/relationships/slideLayout" Target="../slideLayouts/slideLayout22.xml"/>
</Relationships>
</file>

<file path=ppt/slideMasters/_rels/slideMaster23.xml.rels><?xml version="1.0" encoding="UTF-8"?>
<Relationships xmlns="http://schemas.openxmlformats.org/package/2006/relationships"><Relationship Id="rId1" Type="http://schemas.openxmlformats.org/officeDocument/2006/relationships/theme" Target="../theme/theme23.xml"/><Relationship Id="rId2" Type="http://schemas.openxmlformats.org/officeDocument/2006/relationships/image" Target="../media/image1.wmf"/><Relationship Id="rId3" Type="http://schemas.openxmlformats.org/officeDocument/2006/relationships/slideLayout" Target="../slideLayouts/slideLayout23.xml"/>
</Relationships>
</file>

<file path=ppt/slideMasters/_rels/slideMaster24.xml.rels><?xml version="1.0" encoding="UTF-8"?>
<Relationships xmlns="http://schemas.openxmlformats.org/package/2006/relationships"><Relationship Id="rId1" Type="http://schemas.openxmlformats.org/officeDocument/2006/relationships/theme" Target="../theme/theme24.xml"/><Relationship Id="rId2" Type="http://schemas.openxmlformats.org/officeDocument/2006/relationships/image" Target="../media/image1.wmf"/><Relationship Id="rId3" Type="http://schemas.openxmlformats.org/officeDocument/2006/relationships/slideLayout" Target="../slideLayouts/slideLayout24.xml"/>
</Relationships>
</file>

<file path=ppt/slideMasters/_rels/slideMaster25.xml.rels><?xml version="1.0" encoding="UTF-8"?>
<Relationships xmlns="http://schemas.openxmlformats.org/package/2006/relationships"><Relationship Id="rId1" Type="http://schemas.openxmlformats.org/officeDocument/2006/relationships/theme" Target="../theme/theme25.xml"/><Relationship Id="rId2" Type="http://schemas.openxmlformats.org/officeDocument/2006/relationships/image" Target="../media/image1.wmf"/><Relationship Id="rId3" Type="http://schemas.openxmlformats.org/officeDocument/2006/relationships/slideLayout" Target="../slideLayouts/slideLayout25.xml"/>
</Relationships>
</file>

<file path=ppt/slideMasters/_rels/slideMaster26.xml.rels><?xml version="1.0" encoding="UTF-8"?>
<Relationships xmlns="http://schemas.openxmlformats.org/package/2006/relationships"><Relationship Id="rId1" Type="http://schemas.openxmlformats.org/officeDocument/2006/relationships/theme" Target="../theme/theme26.xml"/><Relationship Id="rId2" Type="http://schemas.openxmlformats.org/officeDocument/2006/relationships/image" Target="../media/image1.wmf"/><Relationship Id="rId3" Type="http://schemas.openxmlformats.org/officeDocument/2006/relationships/slideLayout" Target="../slideLayouts/slideLayout26.xml"/>
</Relationships>
</file>

<file path=ppt/slideMasters/_rels/slideMaster27.xml.rels><?xml version="1.0" encoding="UTF-8"?>
<Relationships xmlns="http://schemas.openxmlformats.org/package/2006/relationships"><Relationship Id="rId1" Type="http://schemas.openxmlformats.org/officeDocument/2006/relationships/theme" Target="../theme/theme27.xml"/><Relationship Id="rId2" Type="http://schemas.openxmlformats.org/officeDocument/2006/relationships/image" Target="../media/image1.wmf"/><Relationship Id="rId3" Type="http://schemas.openxmlformats.org/officeDocument/2006/relationships/slideLayout" Target="../slideLayouts/slideLayout27.xml"/>
</Relationships>
</file>

<file path=ppt/slideMasters/_rels/slideMaster28.xml.rels><?xml version="1.0" encoding="UTF-8"?>
<Relationships xmlns="http://schemas.openxmlformats.org/package/2006/relationships"><Relationship Id="rId1" Type="http://schemas.openxmlformats.org/officeDocument/2006/relationships/theme" Target="../theme/theme28.xml"/><Relationship Id="rId2" Type="http://schemas.openxmlformats.org/officeDocument/2006/relationships/image" Target="../media/image1.wmf"/><Relationship Id="rId3" Type="http://schemas.openxmlformats.org/officeDocument/2006/relationships/slideLayout" Target="../slideLayouts/slideLayout28.xml"/>
</Relationships>
</file>

<file path=ppt/slideMasters/_rels/slideMaster29.xml.rels><?xml version="1.0" encoding="UTF-8"?>
<Relationships xmlns="http://schemas.openxmlformats.org/package/2006/relationships"><Relationship Id="rId1" Type="http://schemas.openxmlformats.org/officeDocument/2006/relationships/theme" Target="../theme/theme29.xml"/><Relationship Id="rId2" Type="http://schemas.openxmlformats.org/officeDocument/2006/relationships/image" Target="../media/image1.wmf"/><Relationship Id="rId3" Type="http://schemas.openxmlformats.org/officeDocument/2006/relationships/slideLayout" Target="../slideLayouts/slideLayout29.xml"/>
</Relationships>
</file>

<file path=ppt/slideMasters/_rels/slideMaster3.xml.rels><?xml version="1.0" encoding="UTF-8"?>
<Relationships xmlns="http://schemas.openxmlformats.org/package/2006/relationships"><Relationship Id="rId1" Type="http://schemas.openxmlformats.org/officeDocument/2006/relationships/theme" Target="../theme/theme3.xml"/><Relationship Id="rId2" Type="http://schemas.openxmlformats.org/officeDocument/2006/relationships/image" Target="../media/image1.wmf"/><Relationship Id="rId3" Type="http://schemas.openxmlformats.org/officeDocument/2006/relationships/slideLayout" Target="../slideLayouts/slideLayout3.xml"/>
</Relationships>
</file>

<file path=ppt/slideMasters/_rels/slideMaster30.xml.rels><?xml version="1.0" encoding="UTF-8"?>
<Relationships xmlns="http://schemas.openxmlformats.org/package/2006/relationships"><Relationship Id="rId1" Type="http://schemas.openxmlformats.org/officeDocument/2006/relationships/theme" Target="../theme/theme30.xml"/><Relationship Id="rId2" Type="http://schemas.openxmlformats.org/officeDocument/2006/relationships/image" Target="../media/image1.wmf"/><Relationship Id="rId3" Type="http://schemas.openxmlformats.org/officeDocument/2006/relationships/slideLayout" Target="../slideLayouts/slideLayout30.xml"/>
</Relationships>
</file>

<file path=ppt/slideMasters/_rels/slideMaster31.xml.rels><?xml version="1.0" encoding="UTF-8"?>
<Relationships xmlns="http://schemas.openxmlformats.org/package/2006/relationships"><Relationship Id="rId1" Type="http://schemas.openxmlformats.org/officeDocument/2006/relationships/theme" Target="../theme/theme31.xml"/><Relationship Id="rId2" Type="http://schemas.openxmlformats.org/officeDocument/2006/relationships/image" Target="../media/image1.wmf"/><Relationship Id="rId3" Type="http://schemas.openxmlformats.org/officeDocument/2006/relationships/slideLayout" Target="../slideLayouts/slideLayout31.xml"/>
</Relationships>
</file>

<file path=ppt/slideMasters/_rels/slideMaster32.xml.rels><?xml version="1.0" encoding="UTF-8"?>
<Relationships xmlns="http://schemas.openxmlformats.org/package/2006/relationships"><Relationship Id="rId1" Type="http://schemas.openxmlformats.org/officeDocument/2006/relationships/theme" Target="../theme/theme32.xml"/><Relationship Id="rId2" Type="http://schemas.openxmlformats.org/officeDocument/2006/relationships/image" Target="../media/image1.wmf"/><Relationship Id="rId3" Type="http://schemas.openxmlformats.org/officeDocument/2006/relationships/image" Target="../media/image2.wmf"/><Relationship Id="rId4" Type="http://schemas.openxmlformats.org/officeDocument/2006/relationships/image" Target="../media/image3.wmf"/><Relationship Id="rId5" Type="http://schemas.openxmlformats.org/officeDocument/2006/relationships/slideLayout" Target="../slideLayouts/slideLayout32.xml"/>
</Relationships>
</file>

<file path=ppt/slideMasters/_rels/slideMaster33.xml.rels><?xml version="1.0" encoding="UTF-8"?>
<Relationships xmlns="http://schemas.openxmlformats.org/package/2006/relationships"><Relationship Id="rId1" Type="http://schemas.openxmlformats.org/officeDocument/2006/relationships/theme" Target="../theme/theme33.xml"/><Relationship Id="rId2" Type="http://schemas.openxmlformats.org/officeDocument/2006/relationships/image" Target="../media/image1.wmf"/><Relationship Id="rId3" Type="http://schemas.openxmlformats.org/officeDocument/2006/relationships/slideLayout" Target="../slideLayouts/slideLayout33.xml"/>
</Relationships>
</file>

<file path=ppt/slideMasters/_rels/slideMaster34.xml.rels><?xml version="1.0" encoding="UTF-8"?>
<Relationships xmlns="http://schemas.openxmlformats.org/package/2006/relationships"><Relationship Id="rId1" Type="http://schemas.openxmlformats.org/officeDocument/2006/relationships/theme" Target="../theme/theme34.xml"/><Relationship Id="rId2" Type="http://schemas.openxmlformats.org/officeDocument/2006/relationships/image" Target="../media/image1.wmf"/><Relationship Id="rId3" Type="http://schemas.openxmlformats.org/officeDocument/2006/relationships/slideLayout" Target="../slideLayouts/slideLayout34.xml"/>
</Relationships>
</file>

<file path=ppt/slideMasters/_rels/slideMaster35.xml.rels><?xml version="1.0" encoding="UTF-8"?>
<Relationships xmlns="http://schemas.openxmlformats.org/package/2006/relationships"><Relationship Id="rId1" Type="http://schemas.openxmlformats.org/officeDocument/2006/relationships/theme" Target="../theme/theme35.xml"/><Relationship Id="rId2" Type="http://schemas.openxmlformats.org/officeDocument/2006/relationships/image" Target="../media/image1.wmf"/><Relationship Id="rId3" Type="http://schemas.openxmlformats.org/officeDocument/2006/relationships/slideLayout" Target="../slideLayouts/slideLayout35.xml"/>
</Relationships>
</file>

<file path=ppt/slideMasters/_rels/slideMaster36.xml.rels><?xml version="1.0" encoding="UTF-8"?>
<Relationships xmlns="http://schemas.openxmlformats.org/package/2006/relationships"><Relationship Id="rId1" Type="http://schemas.openxmlformats.org/officeDocument/2006/relationships/theme" Target="../theme/theme36.xml"/><Relationship Id="rId2" Type="http://schemas.openxmlformats.org/officeDocument/2006/relationships/image" Target="../media/image1.wmf"/><Relationship Id="rId3" Type="http://schemas.openxmlformats.org/officeDocument/2006/relationships/slideLayout" Target="../slideLayouts/slideLayout36.xml"/>
</Relationships>
</file>

<file path=ppt/slideMasters/_rels/slideMaster37.xml.rels><?xml version="1.0" encoding="UTF-8"?>
<Relationships xmlns="http://schemas.openxmlformats.org/package/2006/relationships"><Relationship Id="rId1" Type="http://schemas.openxmlformats.org/officeDocument/2006/relationships/theme" Target="../theme/theme37.xml"/><Relationship Id="rId2" Type="http://schemas.openxmlformats.org/officeDocument/2006/relationships/image" Target="../media/image1.wmf"/><Relationship Id="rId3" Type="http://schemas.openxmlformats.org/officeDocument/2006/relationships/slideLayout" Target="../slideLayouts/slideLayout37.xml"/>
</Relationships>
</file>

<file path=ppt/slideMasters/_rels/slideMaster38.xml.rels><?xml version="1.0" encoding="UTF-8"?>
<Relationships xmlns="http://schemas.openxmlformats.org/package/2006/relationships"><Relationship Id="rId1" Type="http://schemas.openxmlformats.org/officeDocument/2006/relationships/theme" Target="../theme/theme38.xml"/><Relationship Id="rId2" Type="http://schemas.openxmlformats.org/officeDocument/2006/relationships/image" Target="../media/image1.wmf"/><Relationship Id="rId3" Type="http://schemas.openxmlformats.org/officeDocument/2006/relationships/slideLayout" Target="../slideLayouts/slideLayout38.xml"/>
</Relationships>
</file>

<file path=ppt/slideMasters/_rels/slideMaster39.xml.rels><?xml version="1.0" encoding="UTF-8"?>
<Relationships xmlns="http://schemas.openxmlformats.org/package/2006/relationships"><Relationship Id="rId1" Type="http://schemas.openxmlformats.org/officeDocument/2006/relationships/theme" Target="../theme/theme39.xml"/><Relationship Id="rId2" Type="http://schemas.openxmlformats.org/officeDocument/2006/relationships/image" Target="../media/image1.wmf"/><Relationship Id="rId3" Type="http://schemas.openxmlformats.org/officeDocument/2006/relationships/slideLayout" Target="../slideLayouts/slideLayout39.xml"/>
</Relationships>
</file>

<file path=ppt/slideMasters/_rels/slideMaster4.xml.rels><?xml version="1.0" encoding="UTF-8"?>
<Relationships xmlns="http://schemas.openxmlformats.org/package/2006/relationships"><Relationship Id="rId1" Type="http://schemas.openxmlformats.org/officeDocument/2006/relationships/theme" Target="../theme/theme4.xml"/><Relationship Id="rId2" Type="http://schemas.openxmlformats.org/officeDocument/2006/relationships/image" Target="../media/image1.wmf"/><Relationship Id="rId3" Type="http://schemas.openxmlformats.org/officeDocument/2006/relationships/slideLayout" Target="../slideLayouts/slideLayout4.xml"/>
</Relationships>
</file>

<file path=ppt/slideMasters/_rels/slideMaster5.xml.rels><?xml version="1.0" encoding="UTF-8"?>
<Relationships xmlns="http://schemas.openxmlformats.org/package/2006/relationships"><Relationship Id="rId1" Type="http://schemas.openxmlformats.org/officeDocument/2006/relationships/theme" Target="../theme/theme5.xml"/><Relationship Id="rId2" Type="http://schemas.openxmlformats.org/officeDocument/2006/relationships/image" Target="../media/image1.wmf"/><Relationship Id="rId3" Type="http://schemas.openxmlformats.org/officeDocument/2006/relationships/slideLayout" Target="../slideLayouts/slideLayout5.xml"/>
</Relationships>
</file>

<file path=ppt/slideMasters/_rels/slideMaster6.xml.rels><?xml version="1.0" encoding="UTF-8"?>
<Relationships xmlns="http://schemas.openxmlformats.org/package/2006/relationships"><Relationship Id="rId1" Type="http://schemas.openxmlformats.org/officeDocument/2006/relationships/theme" Target="../theme/theme6.xml"/><Relationship Id="rId2" Type="http://schemas.openxmlformats.org/officeDocument/2006/relationships/image" Target="../media/image1.wmf"/><Relationship Id="rId3" Type="http://schemas.openxmlformats.org/officeDocument/2006/relationships/slideLayout" Target="../slideLayouts/slideLayout6.xml"/>
</Relationships>
</file>

<file path=ppt/slideMasters/_rels/slideMaster7.xml.rels><?xml version="1.0" encoding="UTF-8"?>
<Relationships xmlns="http://schemas.openxmlformats.org/package/2006/relationships"><Relationship Id="rId1" Type="http://schemas.openxmlformats.org/officeDocument/2006/relationships/theme" Target="../theme/theme7.xml"/><Relationship Id="rId2" Type="http://schemas.openxmlformats.org/officeDocument/2006/relationships/image" Target="../media/image1.wmf"/><Relationship Id="rId3" Type="http://schemas.openxmlformats.org/officeDocument/2006/relationships/slideLayout" Target="../slideLayouts/slideLayout7.xml"/>
</Relationships>
</file>

<file path=ppt/slideMasters/_rels/slideMaster8.xml.rels><?xml version="1.0" encoding="UTF-8"?>
<Relationships xmlns="http://schemas.openxmlformats.org/package/2006/relationships"><Relationship Id="rId1" Type="http://schemas.openxmlformats.org/officeDocument/2006/relationships/theme" Target="../theme/theme8.xml"/><Relationship Id="rId2" Type="http://schemas.openxmlformats.org/officeDocument/2006/relationships/image" Target="../media/image1.wmf"/><Relationship Id="rId3" Type="http://schemas.openxmlformats.org/officeDocument/2006/relationships/slideLayout" Target="../slideLayouts/slideLayout8.xml"/>
</Relationships>
</file>

<file path=ppt/slideMasters/_rels/slideMaster9.xml.rels><?xml version="1.0" encoding="UTF-8"?>
<Relationships xmlns="http://schemas.openxmlformats.org/package/2006/relationships"><Relationship Id="rId1" Type="http://schemas.openxmlformats.org/officeDocument/2006/relationships/theme" Target="../theme/theme9.xml"/><Relationship Id="rId2" Type="http://schemas.openxmlformats.org/officeDocument/2006/relationships/image" Target="../media/image1.wmf"/><Relationship Id="rId3" Type="http://schemas.openxmlformats.org/officeDocument/2006/relationships/slideLayout" Target="../slideLayouts/slideLayout9.xml"/>
</Relationships>
</file>

<file path=ppt/slideMasters/slideMaster1.xml><?xml version="1.0" encoding="utf-8"?>
<p:sldMaster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p:cSld>
    <p:bg>
      <p:bgPr>
        <a:solidFill>
          <a:srgbClr val="002060"/>
        </a:solidFill>
      </p:bgPr>
    </p:bg>
    <p:spTree>
      <p:nvGrpSpPr>
        <p:cNvPr id="1" name=""/>
        <p:cNvGrpSpPr/>
        <p:nvPr/>
      </p:nvGrpSpPr>
      <p:grpSpPr>
        <a:xfrm>
          <a:off x="0" y="0"/>
          <a:ext cx="0" cy="0"/>
          <a:chOff x="0" y="0"/>
          <a:chExt cx="0" cy="0"/>
        </a:xfrm>
      </p:grpSpPr>
      <p:sp>
        <p:nvSpPr>
          <p:cNvPr id="0" name="Textfeld 13" hidden="1"/>
          <p:cNvSpPr/>
          <p:nvPr/>
        </p:nvSpPr>
        <p:spPr>
          <a:xfrm>
            <a:off x="10848600" y="6580800"/>
            <a:ext cx="935280" cy="186480"/>
          </a:xfrm>
          <a:prstGeom prst="rect">
            <a:avLst/>
          </a:prstGeom>
          <a:noFill/>
          <a:ln w="0">
            <a:noFill/>
          </a:ln>
        </p:spPr>
        <p:style>
          <a:lnRef idx="0"/>
          <a:fillRef idx="0"/>
          <a:effectRef idx="0"/>
          <a:fontRef idx="minor"/>
        </p:style>
        <p:txBody>
          <a:bodyPr lIns="0" rIns="0" tIns="0" bIns="0" anchor="t">
            <a:noAutofit/>
          </a:bodyPr>
          <a:p>
            <a:pPr algn="r" defTabSz="457200">
              <a:lnSpc>
                <a:spcPct val="100000"/>
              </a:lnSpc>
            </a:pPr>
            <a:r>
              <a:rPr b="1" lang="de-DE" sz="1100" spc="-1" strike="noStrike">
                <a:solidFill>
                  <a:schemeClr val="dk1"/>
                </a:solidFill>
                <a:latin typeface="Arial"/>
                <a:ea typeface="Arial"/>
              </a:rPr>
              <a:t>Seite </a:t>
            </a:r>
            <a:fld id="{C1FB6B8C-BF96-41FC-9EBE-948EE4047C18}" type="slidenum">
              <a:rPr b="1" lang="de-DE" sz="1100" spc="-1" strike="noStrike">
                <a:solidFill>
                  <a:schemeClr val="dk1"/>
                </a:solidFill>
                <a:latin typeface="Arial"/>
                <a:ea typeface="Arial"/>
              </a:rPr>
              <a:t>&lt;number&gt;</a:t>
            </a:fld>
            <a:endParaRPr b="0" lang="en-US" sz="1100" spc="-1" strike="noStrike">
              <a:solidFill>
                <a:srgbClr val="ffffff"/>
              </a:solidFill>
              <a:latin typeface="Calibri"/>
            </a:endParaRPr>
          </a:p>
        </p:txBody>
      </p:sp>
      <p:pic>
        <p:nvPicPr>
          <p:cNvPr id="1" name="Grafik 6" descr=""/>
          <p:cNvPicPr/>
          <p:nvPr/>
        </p:nvPicPr>
        <p:blipFill>
          <a:blip r:embed="rId2"/>
          <a:stretch/>
        </p:blipFill>
        <p:spPr>
          <a:xfrm>
            <a:off x="403200" y="6613920"/>
            <a:ext cx="325080" cy="100440"/>
          </a:xfrm>
          <a:prstGeom prst="rect">
            <a:avLst/>
          </a:prstGeom>
          <a:ln w="0">
            <a:noFill/>
          </a:ln>
        </p:spPr>
      </p:pic>
      <p:sp>
        <p:nvSpPr>
          <p:cNvPr id="2" name="PlaceHolder 1"/>
          <p:cNvSpPr>
            <a:spLocks noGrp="1"/>
          </p:cNvSpPr>
          <p:nvPr>
            <p:ph type="title"/>
          </p:nvPr>
        </p:nvSpPr>
        <p:spPr>
          <a:xfrm>
            <a:off x="407880" y="349560"/>
            <a:ext cx="11375640" cy="1854720"/>
          </a:xfrm>
          <a:prstGeom prst="rect">
            <a:avLst/>
          </a:prstGeom>
          <a:noFill/>
          <a:ln w="0">
            <a:noFill/>
          </a:ln>
        </p:spPr>
        <p:txBody>
          <a:bodyPr lIns="0" rIns="0" tIns="0" bIns="0" anchor="t">
            <a:noAutofit/>
          </a:bodyPr>
          <a:p>
            <a:pPr indent="0" defTabSz="914400">
              <a:lnSpc>
                <a:spcPct val="100000"/>
              </a:lnSpc>
              <a:buNone/>
            </a:pPr>
            <a:r>
              <a:rPr b="1" lang="de-DE" sz="6000" spc="-1" strike="noStrike">
                <a:solidFill>
                  <a:schemeClr val="accent1"/>
                </a:solidFill>
                <a:latin typeface="Arial"/>
                <a:ea typeface="Arial"/>
              </a:rPr>
              <a:t>Mastertitelformat bearbeiten</a:t>
            </a:r>
            <a:endParaRPr b="0" lang="en-US" sz="6000" spc="-1" strike="noStrike">
              <a:solidFill>
                <a:schemeClr val="dk1"/>
              </a:solidFill>
              <a:latin typeface="Arial"/>
            </a:endParaRPr>
          </a:p>
        </p:txBody>
      </p:sp>
      <p:sp>
        <p:nvSpPr>
          <p:cNvPr id="3" name="PlaceHolder 2"/>
          <p:cNvSpPr>
            <a:spLocks noGrp="1"/>
          </p:cNvSpPr>
          <p:nvPr>
            <p:ph type="body"/>
          </p:nvPr>
        </p:nvSpPr>
        <p:spPr>
          <a:xfrm>
            <a:off x="414360" y="4096800"/>
            <a:ext cx="11369160" cy="699840"/>
          </a:xfrm>
          <a:prstGeom prst="rect">
            <a:avLst/>
          </a:prstGeom>
          <a:noFill/>
          <a:ln w="0">
            <a:noFill/>
          </a:ln>
        </p:spPr>
        <p:txBody>
          <a:bodyPr lIns="0" rIns="0" tIns="0" bIns="0" anchor="t">
            <a:noAutofit/>
          </a:bodyPr>
          <a:p>
            <a:pPr indent="0" defTabSz="914400">
              <a:lnSpc>
                <a:spcPct val="110000"/>
              </a:lnSpc>
              <a:buNone/>
              <a:tabLst>
                <a:tab algn="l" pos="0"/>
              </a:tabLst>
            </a:pPr>
            <a:r>
              <a:rPr b="0" lang="de-DE" sz="1900" spc="-1" strike="noStrike">
                <a:solidFill>
                  <a:schemeClr val="lt1"/>
                </a:solidFill>
                <a:latin typeface="Arial"/>
                <a:ea typeface="Arial"/>
              </a:rPr>
              <a:t>Mastertextformat bearbeiten</a:t>
            </a:r>
            <a:endParaRPr b="0" lang="en-US" sz="1900" spc="-1" strike="noStrike">
              <a:solidFill>
                <a:schemeClr val="lt1"/>
              </a:solidFill>
              <a:latin typeface="Arial"/>
            </a:endParaRPr>
          </a:p>
        </p:txBody>
      </p:sp>
      <p:pic>
        <p:nvPicPr>
          <p:cNvPr id="4" name="Grafik 9" descr=""/>
          <p:cNvPicPr/>
          <p:nvPr/>
        </p:nvPicPr>
        <p:blipFill>
          <a:blip r:embed="rId3"/>
          <a:stretch/>
        </p:blipFill>
        <p:spPr>
          <a:xfrm>
            <a:off x="407520" y="6242400"/>
            <a:ext cx="2637360" cy="179640"/>
          </a:xfrm>
          <a:prstGeom prst="rect">
            <a:avLst/>
          </a:prstGeom>
          <a:ln w="0">
            <a:noFill/>
          </a:ln>
        </p:spPr>
      </p:pic>
      <p:pic>
        <p:nvPicPr>
          <p:cNvPr id="5" name="Grafik 6" descr=""/>
          <p:cNvPicPr/>
          <p:nvPr/>
        </p:nvPicPr>
        <p:blipFill>
          <a:blip r:embed="rId4"/>
          <a:stretch/>
        </p:blipFill>
        <p:spPr>
          <a:xfrm>
            <a:off x="10833120" y="5670000"/>
            <a:ext cx="793440" cy="793800"/>
          </a:xfrm>
          <a:prstGeom prst="rect">
            <a:avLst/>
          </a:prstGeom>
          <a:ln w="0">
            <a:noFill/>
          </a:ln>
        </p:spPr>
      </p:pic>
    </p:spTree>
  </p:cSld>
  <p:clrMap bg1="lt1" tx1="dk1" bg2="lt2" tx2="dk2" accent1="accent1" accent2="accent2" accent3="accent3" accent4="accent4" accent5="accent5" accent6="accent6" hlink="hlink" folHlink="folHlink"/>
  <p:sldLayoutIdLst>
    <p:sldLayoutId id="2147483649" r:id="rId5"/>
  </p:sldLayoutIdLst>
</p:sldMaster>
</file>

<file path=ppt/slideMasters/slideMaster10.xml><?xml version="1.0" encoding="utf-8"?>
<p:sldMaster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p:cSld>
    <p:bg>
      <p:bgPr>
        <a:solidFill>
          <a:srgbClr val="002060"/>
        </a:solidFill>
      </p:bgPr>
    </p:bg>
    <p:spTree>
      <p:nvGrpSpPr>
        <p:cNvPr id="1" name=""/>
        <p:cNvGrpSpPr/>
        <p:nvPr/>
      </p:nvGrpSpPr>
      <p:grpSpPr>
        <a:xfrm>
          <a:off x="0" y="0"/>
          <a:ext cx="0" cy="0"/>
          <a:chOff x="0" y="0"/>
          <a:chExt cx="0" cy="0"/>
        </a:xfrm>
      </p:grpSpPr>
      <p:sp>
        <p:nvSpPr>
          <p:cNvPr id="63" name="Textfeld 13"/>
          <p:cNvSpPr/>
          <p:nvPr/>
        </p:nvSpPr>
        <p:spPr>
          <a:xfrm>
            <a:off x="10848600" y="6580800"/>
            <a:ext cx="935280" cy="186480"/>
          </a:xfrm>
          <a:prstGeom prst="rect">
            <a:avLst/>
          </a:prstGeom>
          <a:noFill/>
          <a:ln w="0">
            <a:noFill/>
          </a:ln>
        </p:spPr>
        <p:style>
          <a:lnRef idx="0"/>
          <a:fillRef idx="0"/>
          <a:effectRef idx="0"/>
          <a:fontRef idx="minor"/>
        </p:style>
        <p:txBody>
          <a:bodyPr lIns="0" rIns="0" tIns="0" bIns="0" anchor="t">
            <a:noAutofit/>
          </a:bodyPr>
          <a:p>
            <a:pPr algn="r" defTabSz="457200">
              <a:lnSpc>
                <a:spcPct val="100000"/>
              </a:lnSpc>
            </a:pPr>
            <a:r>
              <a:rPr b="1" lang="de-DE" sz="1100" spc="-1" strike="noStrike">
                <a:solidFill>
                  <a:schemeClr val="dk1"/>
                </a:solidFill>
                <a:latin typeface="Arial"/>
                <a:ea typeface="Arial"/>
              </a:rPr>
              <a:t>Seite </a:t>
            </a:r>
            <a:fld id="{2216A4D7-D8C3-4FCA-A586-D37F5725783B}" type="slidenum">
              <a:rPr b="1" lang="de-DE" sz="1100" spc="-1" strike="noStrike">
                <a:solidFill>
                  <a:schemeClr val="dk1"/>
                </a:solidFill>
                <a:latin typeface="Arial"/>
                <a:ea typeface="Arial"/>
              </a:rPr>
              <a:t>&lt;number&gt;</a:t>
            </a:fld>
            <a:endParaRPr b="0" lang="en-US" sz="1100" spc="-1" strike="noStrike">
              <a:solidFill>
                <a:srgbClr val="ffffff"/>
              </a:solidFill>
              <a:latin typeface="Calibri"/>
            </a:endParaRPr>
          </a:p>
        </p:txBody>
      </p:sp>
      <p:pic>
        <p:nvPicPr>
          <p:cNvPr id="64" name="Grafik 6" descr=""/>
          <p:cNvPicPr/>
          <p:nvPr/>
        </p:nvPicPr>
        <p:blipFill>
          <a:blip r:embed="rId2"/>
          <a:stretch/>
        </p:blipFill>
        <p:spPr>
          <a:xfrm>
            <a:off x="403200" y="6613920"/>
            <a:ext cx="325080" cy="100440"/>
          </a:xfrm>
          <a:prstGeom prst="rect">
            <a:avLst/>
          </a:prstGeom>
          <a:ln w="0">
            <a:noFill/>
          </a:ln>
        </p:spPr>
      </p:pic>
      <p:sp>
        <p:nvSpPr>
          <p:cNvPr id="65" name="PlaceHolder 1"/>
          <p:cNvSpPr>
            <a:spLocks noGrp="1"/>
          </p:cNvSpPr>
          <p:nvPr>
            <p:ph type="body"/>
          </p:nvPr>
        </p:nvSpPr>
        <p:spPr>
          <a:xfrm>
            <a:off x="443520" y="1422000"/>
            <a:ext cx="5652360" cy="2500560"/>
          </a:xfrm>
          <a:prstGeom prst="rect">
            <a:avLst/>
          </a:prstGeom>
          <a:solidFill>
            <a:schemeClr val="lt2"/>
          </a:solidFill>
          <a:ln w="0">
            <a:noFill/>
          </a:ln>
        </p:spPr>
        <p:txBody>
          <a:bodyPr lIns="90000" rIns="90000" tIns="45000" bIns="45000" anchor="ctr">
            <a:noAutofit/>
          </a:bodyPr>
          <a:p>
            <a:pPr indent="0" algn="ctr" defTabSz="457200">
              <a:lnSpc>
                <a:spcPct val="100000"/>
              </a:lnSpc>
              <a:buNone/>
              <a:tabLst>
                <a:tab algn="l" pos="0"/>
              </a:tabLst>
            </a:pPr>
            <a:r>
              <a:rPr b="0" lang="de-DE" sz="1900" spc="-1" strike="noStrike">
                <a:solidFill>
                  <a:schemeClr val="dk1"/>
                </a:solidFill>
                <a:latin typeface="Arial"/>
                <a:ea typeface="Arial"/>
              </a:rPr>
              <a:t>Bild durch Klicken auf Symbol hinzufügen</a:t>
            </a:r>
            <a:endParaRPr b="0" lang="en-US" sz="1900" spc="-1" strike="noStrike">
              <a:solidFill>
                <a:schemeClr val="lt1"/>
              </a:solidFill>
              <a:latin typeface="Arial"/>
            </a:endParaRPr>
          </a:p>
        </p:txBody>
      </p:sp>
      <p:sp>
        <p:nvSpPr>
          <p:cNvPr id="66" name="PlaceHolder 2"/>
          <p:cNvSpPr>
            <a:spLocks noGrp="1"/>
          </p:cNvSpPr>
          <p:nvPr>
            <p:ph type="title"/>
          </p:nvPr>
        </p:nvSpPr>
        <p:spPr>
          <a:xfrm>
            <a:off x="442800" y="385560"/>
            <a:ext cx="11305800" cy="450720"/>
          </a:xfrm>
          <a:prstGeom prst="rect">
            <a:avLst/>
          </a:prstGeom>
          <a:noFill/>
          <a:ln w="0">
            <a:noFill/>
          </a:ln>
        </p:spPr>
        <p:txBody>
          <a:bodyPr lIns="0" rIns="0" tIns="0" bIns="0" anchor="t">
            <a:noAutofit/>
          </a:bodyPr>
          <a:p>
            <a:pPr indent="0" defTabSz="914400">
              <a:lnSpc>
                <a:spcPct val="90000"/>
              </a:lnSpc>
              <a:buNone/>
            </a:pPr>
            <a:r>
              <a:rPr b="1" lang="de-DE" sz="3000" spc="-1" strike="noStrike">
                <a:solidFill>
                  <a:schemeClr val="accent1"/>
                </a:solidFill>
                <a:latin typeface="Arial"/>
                <a:ea typeface="Arial"/>
              </a:rPr>
              <a:t>Titelmasterformat</a:t>
            </a:r>
            <a:endParaRPr b="0" lang="en-US" sz="3000" spc="-1" strike="noStrike">
              <a:solidFill>
                <a:schemeClr val="dk1"/>
              </a:solidFill>
              <a:latin typeface="Arial"/>
            </a:endParaRPr>
          </a:p>
        </p:txBody>
      </p:sp>
      <p:sp>
        <p:nvSpPr>
          <p:cNvPr id="67" name="PlaceHolder 3"/>
          <p:cNvSpPr>
            <a:spLocks noGrp="1"/>
          </p:cNvSpPr>
          <p:nvPr>
            <p:ph type="ftr" idx="9"/>
          </p:nvPr>
        </p:nvSpPr>
        <p:spPr>
          <a:xfrm>
            <a:off x="791640" y="6580800"/>
            <a:ext cx="9948600" cy="186480"/>
          </a:xfrm>
          <a:prstGeom prst="rect">
            <a:avLst/>
          </a:prstGeom>
          <a:noFill/>
          <a:ln w="0">
            <a:noFill/>
          </a:ln>
        </p:spPr>
        <p:txBody>
          <a:bodyPr lIns="0" rIns="0" tIns="0" bIns="0" anchor="t">
            <a:noAutofit/>
          </a:bodyPr>
          <a:lstStyle>
            <a:lvl1pPr indent="0" defTabSz="457200">
              <a:lnSpc>
                <a:spcPct val="100000"/>
              </a:lnSpc>
              <a:buNone/>
              <a:defRPr b="0" lang="pt-BR" sz="1100" spc="-1" strike="noStrike">
                <a:solidFill>
                  <a:schemeClr val="lt1"/>
                </a:solidFill>
                <a:latin typeface="Arial"/>
                <a:ea typeface="Arial"/>
              </a:defRPr>
            </a:lvl1pPr>
          </a:lstStyle>
          <a:p>
            <a:pPr indent="0" defTabSz="457200">
              <a:lnSpc>
                <a:spcPct val="100000"/>
              </a:lnSpc>
              <a:buNone/>
            </a:pPr>
            <a:r>
              <a:rPr b="0" lang="pt-BR" sz="1100" spc="-1" strike="noStrike">
                <a:solidFill>
                  <a:schemeClr val="lt1"/>
                </a:solidFill>
                <a:latin typeface="Arial"/>
                <a:ea typeface="Arial"/>
              </a:rPr>
              <a:t>&lt;footer&gt;</a:t>
            </a:r>
            <a:endParaRPr b="0" lang="en-US" sz="1100" spc="-1" strike="noStrike">
              <a:solidFill>
                <a:srgbClr val="ffffff"/>
              </a:solidFill>
              <a:latin typeface="Calibri"/>
            </a:endParaRPr>
          </a:p>
        </p:txBody>
      </p:sp>
      <p:sp>
        <p:nvSpPr>
          <p:cNvPr id="68" name="PlaceHolder 4"/>
          <p:cNvSpPr>
            <a:spLocks noGrp="1"/>
          </p:cNvSpPr>
          <p:nvPr>
            <p:ph type="body"/>
          </p:nvPr>
        </p:nvSpPr>
        <p:spPr>
          <a:xfrm>
            <a:off x="442800" y="911880"/>
            <a:ext cx="11305800" cy="378720"/>
          </a:xfrm>
          <a:prstGeom prst="rect">
            <a:avLst/>
          </a:prstGeom>
          <a:noFill/>
          <a:ln w="0">
            <a:noFill/>
          </a:ln>
        </p:spPr>
        <p:txBody>
          <a:bodyPr lIns="0" rIns="0" tIns="0" bIns="0" anchor="t">
            <a:noAutofit/>
          </a:bodyPr>
          <a:p>
            <a:pPr indent="0" defTabSz="914400">
              <a:lnSpc>
                <a:spcPct val="100000"/>
              </a:lnSpc>
              <a:buNone/>
              <a:tabLst>
                <a:tab algn="l" pos="0"/>
              </a:tabLst>
            </a:pPr>
            <a:r>
              <a:rPr b="0" lang="de-DE" sz="1600" spc="-1" strike="noStrike">
                <a:solidFill>
                  <a:schemeClr val="accent2"/>
                </a:solidFill>
                <a:latin typeface="Arial"/>
                <a:ea typeface="Arial"/>
              </a:rPr>
              <a:t>Unterüberschrift</a:t>
            </a:r>
            <a:endParaRPr b="0" lang="en-US" sz="1600" spc="-1" strike="noStrike">
              <a:solidFill>
                <a:schemeClr val="lt1"/>
              </a:solidFill>
              <a:latin typeface="Arial"/>
            </a:endParaRPr>
          </a:p>
        </p:txBody>
      </p:sp>
      <p:sp>
        <p:nvSpPr>
          <p:cNvPr id="69" name="PlaceHolder 5"/>
          <p:cNvSpPr>
            <a:spLocks noGrp="1"/>
          </p:cNvSpPr>
          <p:nvPr>
            <p:ph type="body"/>
          </p:nvPr>
        </p:nvSpPr>
        <p:spPr>
          <a:xfrm>
            <a:off x="6096240" y="1422000"/>
            <a:ext cx="5652360" cy="2500560"/>
          </a:xfrm>
          <a:prstGeom prst="rect">
            <a:avLst/>
          </a:prstGeom>
          <a:solidFill>
            <a:schemeClr val="lt2"/>
          </a:solidFill>
          <a:ln w="0">
            <a:noFill/>
          </a:ln>
        </p:spPr>
        <p:txBody>
          <a:bodyPr lIns="90000" rIns="90000" tIns="45000" bIns="45000" anchor="ctr">
            <a:noAutofit/>
          </a:bodyPr>
          <a:p>
            <a:pPr indent="0" algn="ctr" defTabSz="457200">
              <a:lnSpc>
                <a:spcPct val="100000"/>
              </a:lnSpc>
              <a:buNone/>
              <a:tabLst>
                <a:tab algn="l" pos="0"/>
              </a:tabLst>
            </a:pPr>
            <a:r>
              <a:rPr b="0" lang="de-DE" sz="1900" spc="-1" strike="noStrike">
                <a:solidFill>
                  <a:schemeClr val="dk1"/>
                </a:solidFill>
                <a:latin typeface="Arial"/>
                <a:ea typeface="Arial"/>
              </a:rPr>
              <a:t>Bild durch Klicken auf Symbol hinzufügen</a:t>
            </a:r>
            <a:endParaRPr b="0" lang="en-US" sz="1900" spc="-1" strike="noStrike">
              <a:solidFill>
                <a:schemeClr val="lt1"/>
              </a:solidFill>
              <a:latin typeface="Arial"/>
            </a:endParaRPr>
          </a:p>
        </p:txBody>
      </p:sp>
      <p:sp>
        <p:nvSpPr>
          <p:cNvPr id="70" name="PlaceHolder 6"/>
          <p:cNvSpPr>
            <a:spLocks noGrp="1"/>
          </p:cNvSpPr>
          <p:nvPr>
            <p:ph type="body"/>
          </p:nvPr>
        </p:nvSpPr>
        <p:spPr>
          <a:xfrm>
            <a:off x="443520" y="3922920"/>
            <a:ext cx="5652360" cy="2500560"/>
          </a:xfrm>
          <a:prstGeom prst="rect">
            <a:avLst/>
          </a:prstGeom>
          <a:solidFill>
            <a:schemeClr val="lt2"/>
          </a:solidFill>
          <a:ln w="0">
            <a:noFill/>
          </a:ln>
        </p:spPr>
        <p:txBody>
          <a:bodyPr lIns="90000" rIns="90000" tIns="45000" bIns="45000" anchor="ctr">
            <a:noAutofit/>
          </a:bodyPr>
          <a:p>
            <a:pPr indent="0" algn="ctr" defTabSz="457200">
              <a:lnSpc>
                <a:spcPct val="100000"/>
              </a:lnSpc>
              <a:buNone/>
              <a:tabLst>
                <a:tab algn="l" pos="0"/>
              </a:tabLst>
            </a:pPr>
            <a:r>
              <a:rPr b="0" lang="de-DE" sz="1900" spc="-1" strike="noStrike">
                <a:solidFill>
                  <a:schemeClr val="dk1"/>
                </a:solidFill>
                <a:latin typeface="Arial"/>
                <a:ea typeface="Arial"/>
              </a:rPr>
              <a:t>Bild durch Klicken auf Symbol hinzufügen</a:t>
            </a:r>
            <a:endParaRPr b="0" lang="en-US" sz="1900" spc="-1" strike="noStrike">
              <a:solidFill>
                <a:schemeClr val="lt1"/>
              </a:solidFill>
              <a:latin typeface="Arial"/>
            </a:endParaRPr>
          </a:p>
        </p:txBody>
      </p:sp>
      <p:sp>
        <p:nvSpPr>
          <p:cNvPr id="71" name="PlaceHolder 7"/>
          <p:cNvSpPr>
            <a:spLocks noGrp="1"/>
          </p:cNvSpPr>
          <p:nvPr>
            <p:ph type="body"/>
          </p:nvPr>
        </p:nvSpPr>
        <p:spPr>
          <a:xfrm>
            <a:off x="6096240" y="3922920"/>
            <a:ext cx="5652360" cy="2500560"/>
          </a:xfrm>
          <a:prstGeom prst="rect">
            <a:avLst/>
          </a:prstGeom>
          <a:solidFill>
            <a:schemeClr val="lt2"/>
          </a:solidFill>
          <a:ln w="0">
            <a:noFill/>
          </a:ln>
        </p:spPr>
        <p:txBody>
          <a:bodyPr lIns="90000" rIns="90000" tIns="45000" bIns="45000" anchor="ctr">
            <a:noAutofit/>
          </a:bodyPr>
          <a:p>
            <a:pPr indent="0" algn="ctr" defTabSz="457200">
              <a:lnSpc>
                <a:spcPct val="100000"/>
              </a:lnSpc>
              <a:buNone/>
              <a:tabLst>
                <a:tab algn="l" pos="0"/>
              </a:tabLst>
            </a:pPr>
            <a:r>
              <a:rPr b="0" lang="de-DE" sz="1900" spc="-1" strike="noStrike">
                <a:solidFill>
                  <a:schemeClr val="dk1"/>
                </a:solidFill>
                <a:latin typeface="Arial"/>
                <a:ea typeface="Arial"/>
              </a:rPr>
              <a:t>Bild durch Klicken auf Symbol hinzufügen</a:t>
            </a:r>
            <a:endParaRPr b="0" lang="en-US" sz="1900" spc="-1" strike="noStrike">
              <a:solidFill>
                <a:schemeClr val="lt1"/>
              </a:solidFill>
              <a:latin typeface="Arial"/>
            </a:endParaRPr>
          </a:p>
        </p:txBody>
      </p:sp>
      <p:sp>
        <p:nvSpPr>
          <p:cNvPr id="72" name="PlaceHolder 8"/>
          <p:cNvSpPr>
            <a:spLocks noGrp="1"/>
          </p:cNvSpPr>
          <p:nvPr>
            <p:ph type="body"/>
          </p:nvPr>
        </p:nvSpPr>
        <p:spPr>
          <a:xfrm>
            <a:off x="5049720" y="2876400"/>
            <a:ext cx="2092680" cy="2092680"/>
          </a:xfrm>
          <a:prstGeom prst="rect">
            <a:avLst/>
          </a:prstGeom>
          <a:solidFill>
            <a:schemeClr val="lt1"/>
          </a:solidFill>
          <a:ln w="0">
            <a:noFill/>
          </a:ln>
        </p:spPr>
        <p:txBody>
          <a:bodyPr lIns="90000" rIns="90000" tIns="45000" bIns="45000" anchor="t">
            <a:noAutofit/>
          </a:bodyPr>
          <a:p>
            <a:pPr marL="432000" indent="-324000">
              <a:lnSpc>
                <a:spcPct val="110000"/>
              </a:lnSpc>
              <a:spcBef>
                <a:spcPts val="1417"/>
              </a:spcBef>
              <a:buClr>
                <a:srgbClr val="ffffff"/>
              </a:buClr>
              <a:buSzPct val="45000"/>
              <a:buFont typeface="Wingdings" charset="2"/>
              <a:buChar char=""/>
              <a:tabLst>
                <a:tab algn="l" pos="361800"/>
              </a:tabLst>
            </a:pPr>
            <a:r>
              <a:rPr b="0" lang="en-US" sz="1900" spc="-1" strike="noStrike">
                <a:solidFill>
                  <a:schemeClr val="lt1"/>
                </a:solidFill>
                <a:latin typeface="Arial"/>
              </a:rPr>
              <a:t>Click to edit the outline text format</a:t>
            </a:r>
            <a:endParaRPr b="0" lang="en-US" sz="1900" spc="-1" strike="noStrike">
              <a:solidFill>
                <a:schemeClr val="lt1"/>
              </a:solidFill>
              <a:latin typeface="Arial"/>
            </a:endParaRPr>
          </a:p>
          <a:p>
            <a:pPr lvl="1" marL="864000" indent="-324000">
              <a:lnSpc>
                <a:spcPct val="110000"/>
              </a:lnSpc>
              <a:spcBef>
                <a:spcPts val="1134"/>
              </a:spcBef>
              <a:buClr>
                <a:srgbClr val="ffffff"/>
              </a:buClr>
              <a:buSzPct val="75000"/>
              <a:buFont typeface="Symbol" charset="2"/>
              <a:buChar char=""/>
              <a:tabLst>
                <a:tab algn="l" pos="361800"/>
              </a:tabLst>
            </a:pPr>
            <a:r>
              <a:rPr b="0" lang="en-US" sz="1900" spc="-1" strike="noStrike">
                <a:solidFill>
                  <a:schemeClr val="lt1"/>
                </a:solidFill>
                <a:latin typeface="Arial"/>
              </a:rPr>
              <a:t>Second Outline Level</a:t>
            </a:r>
            <a:endParaRPr b="0" lang="en-US" sz="1900" spc="-1" strike="noStrike">
              <a:solidFill>
                <a:schemeClr val="lt1"/>
              </a:solidFill>
              <a:latin typeface="Arial"/>
            </a:endParaRPr>
          </a:p>
          <a:p>
            <a:pPr lvl="2" marL="1296000" indent="-288000">
              <a:lnSpc>
                <a:spcPct val="110000"/>
              </a:lnSpc>
              <a:spcBef>
                <a:spcPts val="850"/>
              </a:spcBef>
              <a:buClr>
                <a:srgbClr val="ffffff"/>
              </a:buClr>
              <a:buSzPct val="45000"/>
              <a:buFont typeface="Wingdings" charset="2"/>
              <a:buChar char=""/>
              <a:tabLst>
                <a:tab algn="l" pos="361800"/>
              </a:tabLst>
            </a:pPr>
            <a:r>
              <a:rPr b="0" lang="en-US" sz="1900" spc="-1" strike="noStrike">
                <a:solidFill>
                  <a:schemeClr val="lt1"/>
                </a:solidFill>
                <a:latin typeface="Arial"/>
              </a:rPr>
              <a:t>Third Outline Level</a:t>
            </a:r>
            <a:endParaRPr b="0" lang="en-US" sz="1900" spc="-1" strike="noStrike">
              <a:solidFill>
                <a:schemeClr val="lt1"/>
              </a:solidFill>
              <a:latin typeface="Arial"/>
            </a:endParaRPr>
          </a:p>
          <a:p>
            <a:pPr lvl="3" marL="1728000" indent="-216000">
              <a:lnSpc>
                <a:spcPct val="110000"/>
              </a:lnSpc>
              <a:spcBef>
                <a:spcPts val="567"/>
              </a:spcBef>
              <a:buClr>
                <a:srgbClr val="ffffff"/>
              </a:buClr>
              <a:buSzPct val="75000"/>
              <a:buFont typeface="Symbol" charset="2"/>
              <a:buChar char=""/>
              <a:tabLst>
                <a:tab algn="l" pos="361800"/>
              </a:tabLst>
            </a:pPr>
            <a:r>
              <a:rPr b="0" lang="en-US" sz="1900" spc="-1" strike="noStrike">
                <a:solidFill>
                  <a:schemeClr val="lt1"/>
                </a:solidFill>
                <a:latin typeface="Arial"/>
              </a:rPr>
              <a:t>Fourth Outline Level</a:t>
            </a:r>
            <a:endParaRPr b="0" lang="en-US" sz="1900" spc="-1" strike="noStrike">
              <a:solidFill>
                <a:schemeClr val="lt1"/>
              </a:solidFill>
              <a:latin typeface="Arial"/>
            </a:endParaRPr>
          </a:p>
          <a:p>
            <a:pPr lvl="4" marL="2160000" indent="-216000">
              <a:lnSpc>
                <a:spcPct val="110000"/>
              </a:lnSpc>
              <a:spcBef>
                <a:spcPts val="283"/>
              </a:spcBef>
              <a:buClr>
                <a:srgbClr val="ffffff"/>
              </a:buClr>
              <a:buSzPct val="45000"/>
              <a:buFont typeface="Wingdings" charset="2"/>
              <a:buChar char=""/>
              <a:tabLst>
                <a:tab algn="l" pos="361800"/>
              </a:tabLst>
            </a:pPr>
            <a:r>
              <a:rPr b="0" lang="en-US" sz="1900" spc="-1" strike="noStrike">
                <a:solidFill>
                  <a:schemeClr val="lt1"/>
                </a:solidFill>
                <a:latin typeface="Arial"/>
              </a:rPr>
              <a:t>Fifth Outline Level</a:t>
            </a:r>
            <a:endParaRPr b="0" lang="en-US" sz="1900" spc="-1" strike="noStrike">
              <a:solidFill>
                <a:schemeClr val="lt1"/>
              </a:solidFill>
              <a:latin typeface="Arial"/>
            </a:endParaRPr>
          </a:p>
          <a:p>
            <a:pPr lvl="5" marL="2592000" indent="-216000">
              <a:lnSpc>
                <a:spcPct val="110000"/>
              </a:lnSpc>
              <a:spcBef>
                <a:spcPts val="283"/>
              </a:spcBef>
              <a:buClr>
                <a:srgbClr val="ffffff"/>
              </a:buClr>
              <a:buSzPct val="45000"/>
              <a:buFont typeface="Wingdings" charset="2"/>
              <a:buChar char=""/>
              <a:tabLst>
                <a:tab algn="l" pos="361800"/>
              </a:tabLst>
            </a:pPr>
            <a:r>
              <a:rPr b="0" lang="en-US" sz="1900" spc="-1" strike="noStrike">
                <a:solidFill>
                  <a:schemeClr val="lt1"/>
                </a:solidFill>
                <a:latin typeface="Arial"/>
              </a:rPr>
              <a:t>Sixth Outline Level</a:t>
            </a:r>
            <a:endParaRPr b="0" lang="en-US" sz="1900" spc="-1" strike="noStrike">
              <a:solidFill>
                <a:schemeClr val="lt1"/>
              </a:solidFill>
              <a:latin typeface="Arial"/>
            </a:endParaRPr>
          </a:p>
          <a:p>
            <a:pPr lvl="6" marL="3024000" indent="-216000">
              <a:lnSpc>
                <a:spcPct val="110000"/>
              </a:lnSpc>
              <a:spcBef>
                <a:spcPts val="283"/>
              </a:spcBef>
              <a:buClr>
                <a:srgbClr val="ffffff"/>
              </a:buClr>
              <a:buSzPct val="45000"/>
              <a:buFont typeface="Wingdings" charset="2"/>
              <a:buChar char=""/>
              <a:tabLst>
                <a:tab algn="l" pos="361800"/>
              </a:tabLst>
            </a:pPr>
            <a:r>
              <a:rPr b="0" lang="en-US" sz="1900" spc="-1" strike="noStrike">
                <a:solidFill>
                  <a:schemeClr val="lt1"/>
                </a:solidFill>
                <a:latin typeface="Arial"/>
              </a:rPr>
              <a:t>Seventh Outline Level</a:t>
            </a:r>
            <a:endParaRPr b="0" lang="en-US" sz="1900" spc="-1" strike="noStrike">
              <a:solidFill>
                <a:schemeClr val="lt1"/>
              </a:solidFill>
              <a:latin typeface="Arial"/>
            </a:endParaRPr>
          </a:p>
        </p:txBody>
      </p:sp>
    </p:spTree>
  </p:cSld>
  <p:clrMap bg1="lt1" tx1="dk1" bg2="lt2" tx2="dk2" accent1="accent1" accent2="accent2" accent3="accent3" accent4="accent4" accent5="accent5" accent6="accent6" hlink="hlink" folHlink="folHlink"/>
  <p:sldLayoutIdLst>
    <p:sldLayoutId id="2147483667" r:id="rId3"/>
  </p:sldLayoutIdLst>
</p:sldMaster>
</file>

<file path=ppt/slideMasters/slideMaster11.xml><?xml version="1.0" encoding="utf-8"?>
<p:sldMaster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p:cSld>
    <p:bg>
      <p:bgPr>
        <a:gradFill rotWithShape="0">
          <a:gsLst>
            <a:gs pos="0">
              <a:srgbClr val="011b45"/>
            </a:gs>
            <a:gs pos="100000">
              <a:srgbClr val="00192a"/>
            </a:gs>
          </a:gsLst>
          <a:lin ang="13500000"/>
        </a:gradFill>
      </p:bgPr>
    </p:bg>
    <p:spTree>
      <p:nvGrpSpPr>
        <p:cNvPr id="1" name=""/>
        <p:cNvGrpSpPr/>
        <p:nvPr/>
      </p:nvGrpSpPr>
      <p:grpSpPr>
        <a:xfrm>
          <a:off x="0" y="0"/>
          <a:ext cx="0" cy="0"/>
          <a:chOff x="0" y="0"/>
          <a:chExt cx="0" cy="0"/>
        </a:xfrm>
      </p:grpSpPr>
      <p:sp>
        <p:nvSpPr>
          <p:cNvPr id="73" name="Textfeld 13"/>
          <p:cNvSpPr/>
          <p:nvPr/>
        </p:nvSpPr>
        <p:spPr>
          <a:xfrm>
            <a:off x="10848600" y="6580800"/>
            <a:ext cx="935280" cy="186480"/>
          </a:xfrm>
          <a:prstGeom prst="rect">
            <a:avLst/>
          </a:prstGeom>
          <a:noFill/>
          <a:ln w="0">
            <a:noFill/>
          </a:ln>
        </p:spPr>
        <p:style>
          <a:lnRef idx="0"/>
          <a:fillRef idx="0"/>
          <a:effectRef idx="0"/>
          <a:fontRef idx="minor"/>
        </p:style>
        <p:txBody>
          <a:bodyPr lIns="0" rIns="0" tIns="0" bIns="0" anchor="t">
            <a:noAutofit/>
          </a:bodyPr>
          <a:p>
            <a:pPr algn="r" defTabSz="457200">
              <a:lnSpc>
                <a:spcPct val="100000"/>
              </a:lnSpc>
            </a:pPr>
            <a:r>
              <a:rPr b="1" lang="de-DE" sz="1100" spc="-1" strike="noStrike">
                <a:solidFill>
                  <a:schemeClr val="dk1"/>
                </a:solidFill>
                <a:latin typeface="Arial"/>
                <a:ea typeface="Arial"/>
              </a:rPr>
              <a:t>Seite </a:t>
            </a:r>
            <a:fld id="{467B32BB-86D2-4C5C-AB1C-BD6CA8C00781}" type="slidenum">
              <a:rPr b="1" lang="de-DE" sz="1100" spc="-1" strike="noStrike">
                <a:solidFill>
                  <a:schemeClr val="dk1"/>
                </a:solidFill>
                <a:latin typeface="Arial"/>
                <a:ea typeface="Arial"/>
              </a:rPr>
              <a:t>&lt;number&gt;</a:t>
            </a:fld>
            <a:endParaRPr b="0" lang="en-US" sz="1100" spc="-1" strike="noStrike">
              <a:solidFill>
                <a:srgbClr val="ffffff"/>
              </a:solidFill>
              <a:latin typeface="Calibri"/>
            </a:endParaRPr>
          </a:p>
        </p:txBody>
      </p:sp>
      <p:pic>
        <p:nvPicPr>
          <p:cNvPr id="74" name="Grafik 6" descr=""/>
          <p:cNvPicPr/>
          <p:nvPr/>
        </p:nvPicPr>
        <p:blipFill>
          <a:blip r:embed="rId2"/>
          <a:stretch/>
        </p:blipFill>
        <p:spPr>
          <a:xfrm>
            <a:off x="403200" y="6613920"/>
            <a:ext cx="325080" cy="100440"/>
          </a:xfrm>
          <a:prstGeom prst="rect">
            <a:avLst/>
          </a:prstGeom>
          <a:ln w="0">
            <a:noFill/>
          </a:ln>
        </p:spPr>
      </p:pic>
      <p:sp>
        <p:nvSpPr>
          <p:cNvPr id="75" name="PlaceHolder 1"/>
          <p:cNvSpPr>
            <a:spLocks noGrp="1"/>
          </p:cNvSpPr>
          <p:nvPr>
            <p:ph type="title"/>
          </p:nvPr>
        </p:nvSpPr>
        <p:spPr>
          <a:xfrm>
            <a:off x="407880" y="349560"/>
            <a:ext cx="11375640" cy="450720"/>
          </a:xfrm>
          <a:prstGeom prst="rect">
            <a:avLst/>
          </a:prstGeom>
          <a:noFill/>
          <a:ln w="0">
            <a:noFill/>
          </a:ln>
        </p:spPr>
        <p:txBody>
          <a:bodyPr lIns="0" rIns="0" tIns="0" bIns="0" anchor="t">
            <a:noAutofit/>
          </a:bodyPr>
          <a:p>
            <a:pPr indent="0" defTabSz="914400">
              <a:lnSpc>
                <a:spcPct val="90000"/>
              </a:lnSpc>
              <a:buNone/>
            </a:pPr>
            <a:r>
              <a:rPr b="1" lang="de-DE" sz="3000" spc="-1" strike="noStrike">
                <a:solidFill>
                  <a:schemeClr val="accent1"/>
                </a:solidFill>
                <a:latin typeface="Arial"/>
                <a:ea typeface="Arial"/>
              </a:rPr>
              <a:t>Titelmasterformat durch Klicken bearbeiten</a:t>
            </a:r>
            <a:endParaRPr b="0" lang="en-US" sz="3000" spc="-1" strike="noStrike">
              <a:solidFill>
                <a:schemeClr val="dk1"/>
              </a:solidFill>
              <a:latin typeface="Arial"/>
            </a:endParaRPr>
          </a:p>
        </p:txBody>
      </p:sp>
      <p:sp>
        <p:nvSpPr>
          <p:cNvPr id="76" name="PlaceHolder 2"/>
          <p:cNvSpPr>
            <a:spLocks noGrp="1"/>
          </p:cNvSpPr>
          <p:nvPr>
            <p:ph type="ftr" idx="10"/>
          </p:nvPr>
        </p:nvSpPr>
        <p:spPr>
          <a:xfrm>
            <a:off x="791640" y="6580800"/>
            <a:ext cx="9948600" cy="186480"/>
          </a:xfrm>
          <a:prstGeom prst="rect">
            <a:avLst/>
          </a:prstGeom>
          <a:noFill/>
          <a:ln w="0">
            <a:noFill/>
          </a:ln>
        </p:spPr>
        <p:txBody>
          <a:bodyPr lIns="0" rIns="0" tIns="0" bIns="0" anchor="t">
            <a:noAutofit/>
          </a:bodyPr>
          <a:lstStyle>
            <a:lvl1pPr indent="0" defTabSz="457200">
              <a:lnSpc>
                <a:spcPct val="100000"/>
              </a:lnSpc>
              <a:buNone/>
              <a:defRPr b="0" lang="de-DE" sz="1100" spc="-1" strike="noStrike">
                <a:solidFill>
                  <a:schemeClr val="lt1"/>
                </a:solidFill>
                <a:latin typeface="Arial"/>
                <a:ea typeface="Arial"/>
              </a:defRPr>
            </a:lvl1pPr>
          </a:lstStyle>
          <a:p>
            <a:pPr indent="0" defTabSz="457200">
              <a:lnSpc>
                <a:spcPct val="100000"/>
              </a:lnSpc>
              <a:buNone/>
            </a:pPr>
            <a:r>
              <a:rPr b="0" lang="de-DE" sz="1100" spc="-1" strike="noStrike">
                <a:solidFill>
                  <a:schemeClr val="lt1"/>
                </a:solidFill>
                <a:latin typeface="Arial"/>
                <a:ea typeface="Arial"/>
              </a:rPr>
              <a:t>&lt;footer&gt;</a:t>
            </a:r>
            <a:endParaRPr b="0" lang="en-US" sz="1100" spc="-1" strike="noStrike">
              <a:solidFill>
                <a:srgbClr val="ffffff"/>
              </a:solidFill>
              <a:latin typeface="Calibri"/>
            </a:endParaRPr>
          </a:p>
        </p:txBody>
      </p:sp>
      <p:sp>
        <p:nvSpPr>
          <p:cNvPr id="77" name="PlaceHolder 3"/>
          <p:cNvSpPr>
            <a:spLocks noGrp="1"/>
          </p:cNvSpPr>
          <p:nvPr>
            <p:ph type="body"/>
          </p:nvPr>
        </p:nvSpPr>
        <p:spPr>
          <a:xfrm>
            <a:off x="442800" y="911880"/>
            <a:ext cx="11305800" cy="378720"/>
          </a:xfrm>
          <a:prstGeom prst="rect">
            <a:avLst/>
          </a:prstGeom>
          <a:noFill/>
          <a:ln w="0">
            <a:noFill/>
          </a:ln>
        </p:spPr>
        <p:txBody>
          <a:bodyPr lIns="0" rIns="0" tIns="0" bIns="0" anchor="t">
            <a:noAutofit/>
          </a:bodyPr>
          <a:p>
            <a:pPr indent="0" defTabSz="914400">
              <a:lnSpc>
                <a:spcPct val="100000"/>
              </a:lnSpc>
              <a:buNone/>
              <a:tabLst>
                <a:tab algn="l" pos="0"/>
              </a:tabLst>
            </a:pPr>
            <a:r>
              <a:rPr b="0" lang="de-DE" sz="1600" spc="-1" strike="noStrike">
                <a:solidFill>
                  <a:schemeClr val="accent2"/>
                </a:solidFill>
                <a:latin typeface="Arial"/>
                <a:ea typeface="Arial"/>
              </a:rPr>
              <a:t>Unterüberschrift</a:t>
            </a:r>
            <a:endParaRPr b="0" lang="en-US" sz="1600" spc="-1" strike="noStrike">
              <a:solidFill>
                <a:schemeClr val="lt1"/>
              </a:solidFill>
              <a:latin typeface="Arial"/>
            </a:endParaRPr>
          </a:p>
        </p:txBody>
      </p:sp>
    </p:spTree>
  </p:cSld>
  <p:clrMap bg1="lt1" tx1="dk1" bg2="lt2" tx2="dk2" accent1="accent1" accent2="accent2" accent3="accent3" accent4="accent4" accent5="accent5" accent6="accent6" hlink="hlink" folHlink="folHlink"/>
  <p:sldLayoutIdLst>
    <p:sldLayoutId id="2147483669" r:id="rId3"/>
  </p:sldLayoutIdLst>
</p:sldMaster>
</file>

<file path=ppt/slideMasters/slideMaster12.xml><?xml version="1.0" encoding="utf-8"?>
<p:sldMaster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p:cSld>
    <p:bg>
      <p:bgPr>
        <a:solidFill>
          <a:srgbClr val="002060"/>
        </a:solidFill>
      </p:bgPr>
    </p:bg>
    <p:spTree>
      <p:nvGrpSpPr>
        <p:cNvPr id="1" name=""/>
        <p:cNvGrpSpPr/>
        <p:nvPr/>
      </p:nvGrpSpPr>
      <p:grpSpPr>
        <a:xfrm>
          <a:off x="0" y="0"/>
          <a:ext cx="0" cy="0"/>
          <a:chOff x="0" y="0"/>
          <a:chExt cx="0" cy="0"/>
        </a:xfrm>
      </p:grpSpPr>
      <p:sp>
        <p:nvSpPr>
          <p:cNvPr id="78" name="Textfeld 13" hidden="1"/>
          <p:cNvSpPr/>
          <p:nvPr/>
        </p:nvSpPr>
        <p:spPr>
          <a:xfrm>
            <a:off x="10848600" y="6580800"/>
            <a:ext cx="935280" cy="186480"/>
          </a:xfrm>
          <a:prstGeom prst="rect">
            <a:avLst/>
          </a:prstGeom>
          <a:noFill/>
          <a:ln w="0">
            <a:noFill/>
          </a:ln>
        </p:spPr>
        <p:style>
          <a:lnRef idx="0"/>
          <a:fillRef idx="0"/>
          <a:effectRef idx="0"/>
          <a:fontRef idx="minor"/>
        </p:style>
        <p:txBody>
          <a:bodyPr lIns="0" rIns="0" tIns="0" bIns="0" anchor="t">
            <a:noAutofit/>
          </a:bodyPr>
          <a:p>
            <a:pPr algn="r" defTabSz="457200">
              <a:lnSpc>
                <a:spcPct val="100000"/>
              </a:lnSpc>
            </a:pPr>
            <a:r>
              <a:rPr b="1" lang="de-DE" sz="1100" spc="-1" strike="noStrike">
                <a:solidFill>
                  <a:schemeClr val="dk1"/>
                </a:solidFill>
                <a:latin typeface="Arial"/>
                <a:ea typeface="Arial"/>
              </a:rPr>
              <a:t>Seite </a:t>
            </a:r>
            <a:fld id="{23397EFF-6066-4456-9620-982D1D965A84}" type="slidenum">
              <a:rPr b="1" lang="de-DE" sz="1100" spc="-1" strike="noStrike">
                <a:solidFill>
                  <a:schemeClr val="dk1"/>
                </a:solidFill>
                <a:latin typeface="Arial"/>
                <a:ea typeface="Arial"/>
              </a:rPr>
              <a:t>&lt;number&gt;</a:t>
            </a:fld>
            <a:endParaRPr b="0" lang="en-US" sz="1100" spc="-1" strike="noStrike">
              <a:solidFill>
                <a:srgbClr val="ffffff"/>
              </a:solidFill>
              <a:latin typeface="Calibri"/>
            </a:endParaRPr>
          </a:p>
        </p:txBody>
      </p:sp>
      <p:pic>
        <p:nvPicPr>
          <p:cNvPr id="79" name="Grafik 6" descr=""/>
          <p:cNvPicPr/>
          <p:nvPr/>
        </p:nvPicPr>
        <p:blipFill>
          <a:blip r:embed="rId2"/>
          <a:stretch/>
        </p:blipFill>
        <p:spPr>
          <a:xfrm>
            <a:off x="403200" y="6613920"/>
            <a:ext cx="325080" cy="100440"/>
          </a:xfrm>
          <a:prstGeom prst="rect">
            <a:avLst/>
          </a:prstGeom>
          <a:ln w="0">
            <a:noFill/>
          </a:ln>
        </p:spPr>
      </p:pic>
      <p:sp>
        <p:nvSpPr>
          <p:cNvPr id="80" name="PlaceHolder 1"/>
          <p:cNvSpPr>
            <a:spLocks noGrp="1"/>
          </p:cNvSpPr>
          <p:nvPr>
            <p:ph type="body"/>
          </p:nvPr>
        </p:nvSpPr>
        <p:spPr>
          <a:xfrm>
            <a:off x="0" y="0"/>
            <a:ext cx="12191760" cy="3428640"/>
          </a:xfrm>
          <a:prstGeom prst="rect">
            <a:avLst/>
          </a:prstGeom>
          <a:solidFill>
            <a:schemeClr val="dk2"/>
          </a:solidFill>
          <a:ln w="0">
            <a:noFill/>
          </a:ln>
        </p:spPr>
        <p:txBody>
          <a:bodyPr lIns="90000" rIns="90000" tIns="45000" bIns="45000" anchor="ctr">
            <a:noAutofit/>
          </a:bodyPr>
          <a:p>
            <a:pPr indent="0" algn="ctr" defTabSz="457200">
              <a:lnSpc>
                <a:spcPct val="100000"/>
              </a:lnSpc>
              <a:buNone/>
              <a:tabLst>
                <a:tab algn="l" pos="0"/>
              </a:tabLst>
            </a:pPr>
            <a:r>
              <a:rPr b="0" lang="de-DE" sz="1900" spc="-1" strike="noStrike">
                <a:solidFill>
                  <a:schemeClr val="dk1"/>
                </a:solidFill>
                <a:latin typeface="Arial"/>
                <a:ea typeface="Arial"/>
              </a:rPr>
              <a:t>Bild auf Platzhalter ziehen oder durch Klicken auf Symbol hinzufügen</a:t>
            </a:r>
            <a:endParaRPr b="0" lang="en-US" sz="1900" spc="-1" strike="noStrike">
              <a:solidFill>
                <a:schemeClr val="lt1"/>
              </a:solidFill>
              <a:latin typeface="Arial"/>
            </a:endParaRPr>
          </a:p>
        </p:txBody>
      </p:sp>
      <p:sp>
        <p:nvSpPr>
          <p:cNvPr id="81" name="PlaceHolder 2"/>
          <p:cNvSpPr>
            <a:spLocks noGrp="1"/>
          </p:cNvSpPr>
          <p:nvPr>
            <p:ph type="title"/>
          </p:nvPr>
        </p:nvSpPr>
        <p:spPr>
          <a:xfrm>
            <a:off x="407880" y="349560"/>
            <a:ext cx="11375640" cy="1099440"/>
          </a:xfrm>
          <a:prstGeom prst="rect">
            <a:avLst/>
          </a:prstGeom>
          <a:noFill/>
          <a:ln w="0">
            <a:noFill/>
          </a:ln>
        </p:spPr>
        <p:txBody>
          <a:bodyPr lIns="0" rIns="0" tIns="0" bIns="0" anchor="t">
            <a:noAutofit/>
          </a:bodyPr>
          <a:p>
            <a:pPr indent="0" defTabSz="914400">
              <a:lnSpc>
                <a:spcPct val="100000"/>
              </a:lnSpc>
              <a:buNone/>
            </a:pPr>
            <a:r>
              <a:rPr b="1" lang="de-DE" sz="6000" spc="-1" strike="noStrike">
                <a:solidFill>
                  <a:schemeClr val="lt1"/>
                </a:solidFill>
                <a:latin typeface="Arial"/>
                <a:ea typeface="Arial"/>
              </a:rPr>
              <a:t>Mastertitelformat bearbeiten</a:t>
            </a:r>
            <a:endParaRPr b="0" lang="en-US" sz="6000" spc="-1" strike="noStrike">
              <a:solidFill>
                <a:schemeClr val="dk1"/>
              </a:solidFill>
              <a:latin typeface="Arial"/>
            </a:endParaRPr>
          </a:p>
        </p:txBody>
      </p:sp>
      <p:sp>
        <p:nvSpPr>
          <p:cNvPr id="82" name="PlaceHolder 3"/>
          <p:cNvSpPr>
            <a:spLocks noGrp="1"/>
          </p:cNvSpPr>
          <p:nvPr>
            <p:ph type="body"/>
          </p:nvPr>
        </p:nvSpPr>
        <p:spPr>
          <a:xfrm>
            <a:off x="414360" y="4096800"/>
            <a:ext cx="11369160" cy="699840"/>
          </a:xfrm>
          <a:prstGeom prst="rect">
            <a:avLst/>
          </a:prstGeom>
          <a:noFill/>
          <a:ln w="0">
            <a:noFill/>
          </a:ln>
        </p:spPr>
        <p:txBody>
          <a:bodyPr lIns="0" rIns="0" tIns="0" bIns="0" anchor="t">
            <a:noAutofit/>
          </a:bodyPr>
          <a:p>
            <a:pPr indent="0" defTabSz="914400">
              <a:lnSpc>
                <a:spcPct val="110000"/>
              </a:lnSpc>
              <a:buNone/>
              <a:tabLst>
                <a:tab algn="l" pos="0"/>
              </a:tabLst>
            </a:pPr>
            <a:r>
              <a:rPr b="0" lang="de-DE" sz="1900" spc="-1" strike="noStrike">
                <a:solidFill>
                  <a:schemeClr val="lt1"/>
                </a:solidFill>
                <a:latin typeface="Arial"/>
                <a:ea typeface="Arial"/>
              </a:rPr>
              <a:t>Mastertextformat bearbeiten</a:t>
            </a:r>
            <a:endParaRPr b="0" lang="en-US" sz="1900" spc="-1" strike="noStrike">
              <a:solidFill>
                <a:schemeClr val="lt1"/>
              </a:solidFill>
              <a:latin typeface="Arial"/>
            </a:endParaRPr>
          </a:p>
        </p:txBody>
      </p:sp>
      <p:pic>
        <p:nvPicPr>
          <p:cNvPr id="83" name="Grafik 9" descr=""/>
          <p:cNvPicPr/>
          <p:nvPr/>
        </p:nvPicPr>
        <p:blipFill>
          <a:blip r:embed="rId3"/>
          <a:stretch/>
        </p:blipFill>
        <p:spPr>
          <a:xfrm>
            <a:off x="407520" y="6242400"/>
            <a:ext cx="2637360" cy="179640"/>
          </a:xfrm>
          <a:prstGeom prst="rect">
            <a:avLst/>
          </a:prstGeom>
          <a:ln w="0">
            <a:noFill/>
          </a:ln>
        </p:spPr>
      </p:pic>
      <p:pic>
        <p:nvPicPr>
          <p:cNvPr id="84" name="Grafik 7" descr=""/>
          <p:cNvPicPr/>
          <p:nvPr/>
        </p:nvPicPr>
        <p:blipFill>
          <a:blip r:embed="rId4"/>
          <a:stretch/>
        </p:blipFill>
        <p:spPr>
          <a:xfrm>
            <a:off x="10833120" y="5670000"/>
            <a:ext cx="793440" cy="793800"/>
          </a:xfrm>
          <a:prstGeom prst="rect">
            <a:avLst/>
          </a:prstGeom>
          <a:ln w="0">
            <a:noFill/>
          </a:ln>
        </p:spPr>
      </p:pic>
    </p:spTree>
  </p:cSld>
  <p:clrMap bg1="lt1" tx1="dk1" bg2="lt2" tx2="dk2" accent1="accent1" accent2="accent2" accent3="accent3" accent4="accent4" accent5="accent5" accent6="accent6" hlink="hlink" folHlink="folHlink"/>
  <p:sldLayoutIdLst>
    <p:sldLayoutId id="2147483671" r:id="rId5"/>
  </p:sldLayoutIdLst>
</p:sldMaster>
</file>

<file path=ppt/slideMasters/slideMaster13.xml><?xml version="1.0" encoding="utf-8"?>
<p:sldMaster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p:cSld>
    <p:bg>
      <p:bgPr>
        <a:solidFill>
          <a:srgbClr val="002060"/>
        </a:solidFill>
      </p:bgPr>
    </p:bg>
    <p:spTree>
      <p:nvGrpSpPr>
        <p:cNvPr id="1" name=""/>
        <p:cNvGrpSpPr/>
        <p:nvPr/>
      </p:nvGrpSpPr>
      <p:grpSpPr>
        <a:xfrm>
          <a:off x="0" y="0"/>
          <a:ext cx="0" cy="0"/>
          <a:chOff x="0" y="0"/>
          <a:chExt cx="0" cy="0"/>
        </a:xfrm>
      </p:grpSpPr>
      <p:sp>
        <p:nvSpPr>
          <p:cNvPr id="85" name="Textfeld 13"/>
          <p:cNvSpPr/>
          <p:nvPr/>
        </p:nvSpPr>
        <p:spPr>
          <a:xfrm>
            <a:off x="10848600" y="6580800"/>
            <a:ext cx="935280" cy="186480"/>
          </a:xfrm>
          <a:prstGeom prst="rect">
            <a:avLst/>
          </a:prstGeom>
          <a:noFill/>
          <a:ln w="0">
            <a:noFill/>
          </a:ln>
        </p:spPr>
        <p:style>
          <a:lnRef idx="0"/>
          <a:fillRef idx="0"/>
          <a:effectRef idx="0"/>
          <a:fontRef idx="minor"/>
        </p:style>
        <p:txBody>
          <a:bodyPr lIns="0" rIns="0" tIns="0" bIns="0" anchor="t">
            <a:noAutofit/>
          </a:bodyPr>
          <a:p>
            <a:pPr algn="r" defTabSz="457200">
              <a:lnSpc>
                <a:spcPct val="100000"/>
              </a:lnSpc>
            </a:pPr>
            <a:r>
              <a:rPr b="1" lang="de-DE" sz="1100" spc="-1" strike="noStrike">
                <a:solidFill>
                  <a:schemeClr val="dk1"/>
                </a:solidFill>
                <a:latin typeface="Arial"/>
                <a:ea typeface="Arial"/>
              </a:rPr>
              <a:t>Seite </a:t>
            </a:r>
            <a:fld id="{9FBA2A03-A9CF-4B5C-9DFC-73677254583A}" type="slidenum">
              <a:rPr b="1" lang="de-DE" sz="1100" spc="-1" strike="noStrike">
                <a:solidFill>
                  <a:schemeClr val="dk1"/>
                </a:solidFill>
                <a:latin typeface="Arial"/>
                <a:ea typeface="Arial"/>
              </a:rPr>
              <a:t>&lt;number&gt;</a:t>
            </a:fld>
            <a:endParaRPr b="0" lang="en-US" sz="1100" spc="-1" strike="noStrike">
              <a:solidFill>
                <a:srgbClr val="ffffff"/>
              </a:solidFill>
              <a:latin typeface="Calibri"/>
            </a:endParaRPr>
          </a:p>
        </p:txBody>
      </p:sp>
      <p:pic>
        <p:nvPicPr>
          <p:cNvPr id="86" name="Grafik 6" descr=""/>
          <p:cNvPicPr/>
          <p:nvPr/>
        </p:nvPicPr>
        <p:blipFill>
          <a:blip r:embed="rId2"/>
          <a:stretch/>
        </p:blipFill>
        <p:spPr>
          <a:xfrm>
            <a:off x="403200" y="6613920"/>
            <a:ext cx="325080" cy="100440"/>
          </a:xfrm>
          <a:prstGeom prst="rect">
            <a:avLst/>
          </a:prstGeom>
          <a:ln w="0">
            <a:noFill/>
          </a:ln>
        </p:spPr>
      </p:pic>
      <p:sp>
        <p:nvSpPr>
          <p:cNvPr id="87" name="PlaceHolder 1"/>
          <p:cNvSpPr>
            <a:spLocks noGrp="1"/>
          </p:cNvSpPr>
          <p:nvPr>
            <p:ph type="title"/>
          </p:nvPr>
        </p:nvSpPr>
        <p:spPr>
          <a:xfrm>
            <a:off x="407880" y="349560"/>
            <a:ext cx="11375640" cy="450720"/>
          </a:xfrm>
          <a:prstGeom prst="rect">
            <a:avLst/>
          </a:prstGeom>
          <a:noFill/>
          <a:ln w="0">
            <a:noFill/>
          </a:ln>
        </p:spPr>
        <p:txBody>
          <a:bodyPr lIns="0" rIns="0" tIns="0" bIns="0" anchor="t">
            <a:noAutofit/>
          </a:bodyPr>
          <a:p>
            <a:pPr indent="0" defTabSz="914400">
              <a:lnSpc>
                <a:spcPct val="90000"/>
              </a:lnSpc>
              <a:buNone/>
            </a:pPr>
            <a:r>
              <a:rPr b="1" lang="de-DE" sz="3000" spc="-1" strike="noStrike">
                <a:solidFill>
                  <a:schemeClr val="accent1"/>
                </a:solidFill>
                <a:latin typeface="Arial"/>
                <a:ea typeface="Arial"/>
              </a:rPr>
              <a:t>Titelmasterformat durch Klicken bearbeiten</a:t>
            </a:r>
            <a:endParaRPr b="0" lang="en-US" sz="3000" spc="-1" strike="noStrike">
              <a:solidFill>
                <a:schemeClr val="dk1"/>
              </a:solidFill>
              <a:latin typeface="Arial"/>
            </a:endParaRPr>
          </a:p>
        </p:txBody>
      </p:sp>
      <p:sp>
        <p:nvSpPr>
          <p:cNvPr id="88" name="PlaceHolder 2"/>
          <p:cNvSpPr>
            <a:spLocks noGrp="1"/>
          </p:cNvSpPr>
          <p:nvPr>
            <p:ph type="ftr" idx="11"/>
          </p:nvPr>
        </p:nvSpPr>
        <p:spPr>
          <a:xfrm>
            <a:off x="791640" y="6580800"/>
            <a:ext cx="9948600" cy="186480"/>
          </a:xfrm>
          <a:prstGeom prst="rect">
            <a:avLst/>
          </a:prstGeom>
          <a:noFill/>
          <a:ln w="0">
            <a:noFill/>
          </a:ln>
        </p:spPr>
        <p:txBody>
          <a:bodyPr lIns="0" rIns="0" tIns="0" bIns="0" anchor="t">
            <a:noAutofit/>
          </a:bodyPr>
          <a:lstStyle>
            <a:lvl1pPr indent="0" defTabSz="457200">
              <a:lnSpc>
                <a:spcPct val="100000"/>
              </a:lnSpc>
              <a:buNone/>
              <a:defRPr b="0" lang="en-GB" sz="1100" spc="-1" strike="noStrike">
                <a:solidFill>
                  <a:schemeClr val="lt1"/>
                </a:solidFill>
                <a:latin typeface="Arial"/>
                <a:ea typeface="Arial"/>
              </a:defRPr>
            </a:lvl1pPr>
          </a:lstStyle>
          <a:p>
            <a:pPr indent="0" defTabSz="457200">
              <a:lnSpc>
                <a:spcPct val="100000"/>
              </a:lnSpc>
              <a:buNone/>
            </a:pPr>
            <a:r>
              <a:rPr b="0" lang="en-GB" sz="1100" spc="-1" strike="noStrike">
                <a:solidFill>
                  <a:schemeClr val="lt1"/>
                </a:solidFill>
                <a:latin typeface="Arial"/>
                <a:ea typeface="Arial"/>
              </a:rPr>
              <a:t>&lt;footer&gt;</a:t>
            </a:r>
            <a:endParaRPr b="0" lang="en-US" sz="1100" spc="-1" strike="noStrike">
              <a:solidFill>
                <a:srgbClr val="ffffff"/>
              </a:solidFill>
              <a:latin typeface="Calibri"/>
            </a:endParaRPr>
          </a:p>
        </p:txBody>
      </p:sp>
      <p:sp>
        <p:nvSpPr>
          <p:cNvPr id="89" name="PlaceHolder 3"/>
          <p:cNvSpPr>
            <a:spLocks noGrp="1"/>
          </p:cNvSpPr>
          <p:nvPr>
            <p:ph type="body"/>
          </p:nvPr>
        </p:nvSpPr>
        <p:spPr>
          <a:xfrm>
            <a:off x="407880" y="817560"/>
            <a:ext cx="11375640" cy="378720"/>
          </a:xfrm>
          <a:prstGeom prst="rect">
            <a:avLst/>
          </a:prstGeom>
          <a:noFill/>
          <a:ln w="0">
            <a:noFill/>
          </a:ln>
        </p:spPr>
        <p:txBody>
          <a:bodyPr lIns="0" rIns="0" tIns="0" bIns="0" anchor="t">
            <a:noAutofit/>
          </a:bodyPr>
          <a:p>
            <a:pPr indent="0" defTabSz="914400">
              <a:lnSpc>
                <a:spcPct val="110000"/>
              </a:lnSpc>
              <a:buNone/>
              <a:tabLst>
                <a:tab algn="l" pos="0"/>
              </a:tabLst>
            </a:pPr>
            <a:r>
              <a:rPr b="1" lang="de-DE" sz="1800" spc="-1" strike="noStrike">
                <a:solidFill>
                  <a:schemeClr val="accent2"/>
                </a:solidFill>
                <a:latin typeface="Arial"/>
                <a:ea typeface="Arial"/>
              </a:rPr>
              <a:t>Textmasterformat bearbeiten</a:t>
            </a:r>
            <a:endParaRPr b="0" lang="en-US" sz="1800" spc="-1" strike="noStrike">
              <a:solidFill>
                <a:schemeClr val="lt1"/>
              </a:solidFill>
              <a:latin typeface="Arial"/>
            </a:endParaRPr>
          </a:p>
        </p:txBody>
      </p:sp>
    </p:spTree>
  </p:cSld>
  <p:clrMap bg1="lt1" tx1="dk1" bg2="lt2" tx2="dk2" accent1="accent1" accent2="accent2" accent3="accent3" accent4="accent4" accent5="accent5" accent6="accent6" hlink="hlink" folHlink="folHlink"/>
  <p:sldLayoutIdLst>
    <p:sldLayoutId id="2147483673" r:id="rId3"/>
  </p:sldLayoutIdLst>
</p:sldMaster>
</file>

<file path=ppt/slideMasters/slideMaster14.xml><?xml version="1.0" encoding="utf-8"?>
<p:sldMaster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p:cSld>
    <p:bg>
      <p:bgPr>
        <a:solidFill>
          <a:schemeClr val="accent1"/>
        </a:solidFill>
      </p:bgPr>
    </p:bg>
    <p:spTree>
      <p:nvGrpSpPr>
        <p:cNvPr id="1" name=""/>
        <p:cNvGrpSpPr/>
        <p:nvPr/>
      </p:nvGrpSpPr>
      <p:grpSpPr>
        <a:xfrm>
          <a:off x="0" y="0"/>
          <a:ext cx="0" cy="0"/>
          <a:chOff x="0" y="0"/>
          <a:chExt cx="0" cy="0"/>
        </a:xfrm>
      </p:grpSpPr>
      <p:sp>
        <p:nvSpPr>
          <p:cNvPr id="90" name="Textfeld 13" hidden="1"/>
          <p:cNvSpPr/>
          <p:nvPr/>
        </p:nvSpPr>
        <p:spPr>
          <a:xfrm>
            <a:off x="10848600" y="6580800"/>
            <a:ext cx="935280" cy="186480"/>
          </a:xfrm>
          <a:prstGeom prst="rect">
            <a:avLst/>
          </a:prstGeom>
          <a:noFill/>
          <a:ln w="0">
            <a:noFill/>
          </a:ln>
        </p:spPr>
        <p:style>
          <a:lnRef idx="0"/>
          <a:fillRef idx="0"/>
          <a:effectRef idx="0"/>
          <a:fontRef idx="minor"/>
        </p:style>
        <p:txBody>
          <a:bodyPr lIns="0" rIns="0" tIns="0" bIns="0" anchor="t">
            <a:noAutofit/>
          </a:bodyPr>
          <a:p>
            <a:pPr algn="r" defTabSz="457200">
              <a:lnSpc>
                <a:spcPct val="100000"/>
              </a:lnSpc>
            </a:pPr>
            <a:r>
              <a:rPr b="1" lang="de-DE" sz="1100" spc="-1" strike="noStrike">
                <a:solidFill>
                  <a:schemeClr val="dk1"/>
                </a:solidFill>
                <a:latin typeface="Arial"/>
                <a:ea typeface="Arial"/>
              </a:rPr>
              <a:t>Seite </a:t>
            </a:r>
            <a:fld id="{D1C09E11-EE49-42D4-AEF8-4DDD699A1CE3}" type="slidenum">
              <a:rPr b="1" lang="de-DE" sz="1100" spc="-1" strike="noStrike">
                <a:solidFill>
                  <a:schemeClr val="dk1"/>
                </a:solidFill>
                <a:latin typeface="Arial"/>
                <a:ea typeface="Arial"/>
              </a:rPr>
              <a:t>&lt;number&gt;</a:t>
            </a:fld>
            <a:endParaRPr b="0" lang="en-US" sz="1100" spc="-1" strike="noStrike">
              <a:solidFill>
                <a:srgbClr val="ffffff"/>
              </a:solidFill>
              <a:latin typeface="Calibri"/>
            </a:endParaRPr>
          </a:p>
        </p:txBody>
      </p:sp>
      <p:pic>
        <p:nvPicPr>
          <p:cNvPr id="91" name="Grafik 6" descr=""/>
          <p:cNvPicPr/>
          <p:nvPr/>
        </p:nvPicPr>
        <p:blipFill>
          <a:blip r:embed="rId2"/>
          <a:stretch/>
        </p:blipFill>
        <p:spPr>
          <a:xfrm>
            <a:off x="403200" y="6613920"/>
            <a:ext cx="325080" cy="100440"/>
          </a:xfrm>
          <a:prstGeom prst="rect">
            <a:avLst/>
          </a:prstGeom>
          <a:ln w="0">
            <a:noFill/>
          </a:ln>
        </p:spPr>
      </p:pic>
      <p:sp>
        <p:nvSpPr>
          <p:cNvPr id="92" name="PlaceHolder 1"/>
          <p:cNvSpPr>
            <a:spLocks noGrp="1"/>
          </p:cNvSpPr>
          <p:nvPr>
            <p:ph type="title"/>
          </p:nvPr>
        </p:nvSpPr>
        <p:spPr>
          <a:xfrm>
            <a:off x="407880" y="349560"/>
            <a:ext cx="11375640" cy="3510720"/>
          </a:xfrm>
          <a:prstGeom prst="rect">
            <a:avLst/>
          </a:prstGeom>
          <a:noFill/>
          <a:ln w="0">
            <a:noFill/>
          </a:ln>
        </p:spPr>
        <p:txBody>
          <a:bodyPr lIns="0" rIns="0" tIns="0" bIns="0" anchor="t">
            <a:noAutofit/>
          </a:bodyPr>
          <a:p>
            <a:pPr indent="0" defTabSz="914400">
              <a:lnSpc>
                <a:spcPct val="100000"/>
              </a:lnSpc>
              <a:buNone/>
            </a:pPr>
            <a:r>
              <a:rPr b="1" lang="de-DE" sz="6000" spc="-1" strike="noStrike">
                <a:solidFill>
                  <a:schemeClr val="lt1"/>
                </a:solidFill>
                <a:latin typeface="Arial"/>
                <a:ea typeface="Arial"/>
              </a:rPr>
              <a:t>Mastertitelformat bearbeiten</a:t>
            </a:r>
            <a:endParaRPr b="0" lang="en-US" sz="6000" spc="-1" strike="noStrike">
              <a:solidFill>
                <a:schemeClr val="dk1"/>
              </a:solidFill>
              <a:latin typeface="Arial"/>
            </a:endParaRPr>
          </a:p>
        </p:txBody>
      </p:sp>
    </p:spTree>
  </p:cSld>
  <p:clrMap bg1="lt1" tx1="dk1" bg2="lt2" tx2="dk2" accent1="accent1" accent2="accent2" accent3="accent3" accent4="accent4" accent5="accent5" accent6="accent6" hlink="hlink" folHlink="folHlink"/>
  <p:sldLayoutIdLst>
    <p:sldLayoutId id="2147483675" r:id="rId3"/>
  </p:sldLayoutIdLst>
</p:sldMaster>
</file>

<file path=ppt/slideMasters/slideMaster15.xml><?xml version="1.0" encoding="utf-8"?>
<p:sldMaster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p:cSld>
    <p:bg>
      <p:bgPr>
        <a:solidFill>
          <a:srgbClr val="002060"/>
        </a:solidFill>
      </p:bgPr>
    </p:bg>
    <p:spTree>
      <p:nvGrpSpPr>
        <p:cNvPr id="1" name=""/>
        <p:cNvGrpSpPr/>
        <p:nvPr/>
      </p:nvGrpSpPr>
      <p:grpSpPr>
        <a:xfrm>
          <a:off x="0" y="0"/>
          <a:ext cx="0" cy="0"/>
          <a:chOff x="0" y="0"/>
          <a:chExt cx="0" cy="0"/>
        </a:xfrm>
      </p:grpSpPr>
      <p:sp>
        <p:nvSpPr>
          <p:cNvPr id="93" name="Textfeld 13" hidden="1"/>
          <p:cNvSpPr/>
          <p:nvPr/>
        </p:nvSpPr>
        <p:spPr>
          <a:xfrm>
            <a:off x="10848600" y="6580800"/>
            <a:ext cx="935280" cy="186480"/>
          </a:xfrm>
          <a:prstGeom prst="rect">
            <a:avLst/>
          </a:prstGeom>
          <a:noFill/>
          <a:ln w="0">
            <a:noFill/>
          </a:ln>
        </p:spPr>
        <p:style>
          <a:lnRef idx="0"/>
          <a:fillRef idx="0"/>
          <a:effectRef idx="0"/>
          <a:fontRef idx="minor"/>
        </p:style>
        <p:txBody>
          <a:bodyPr lIns="0" rIns="0" tIns="0" bIns="0" anchor="t">
            <a:noAutofit/>
          </a:bodyPr>
          <a:p>
            <a:pPr algn="r" defTabSz="457200">
              <a:lnSpc>
                <a:spcPct val="100000"/>
              </a:lnSpc>
            </a:pPr>
            <a:r>
              <a:rPr b="1" lang="de-DE" sz="1100" spc="-1" strike="noStrike">
                <a:solidFill>
                  <a:schemeClr val="dk1"/>
                </a:solidFill>
                <a:latin typeface="Arial"/>
                <a:ea typeface="Arial"/>
              </a:rPr>
              <a:t>Seite </a:t>
            </a:r>
            <a:fld id="{8AB4A2C8-465E-48C2-86C8-FD3B3DD02E61}" type="slidenum">
              <a:rPr b="1" lang="de-DE" sz="1100" spc="-1" strike="noStrike">
                <a:solidFill>
                  <a:schemeClr val="dk1"/>
                </a:solidFill>
                <a:latin typeface="Arial"/>
                <a:ea typeface="Arial"/>
              </a:rPr>
              <a:t>&lt;number&gt;</a:t>
            </a:fld>
            <a:endParaRPr b="0" lang="en-US" sz="1100" spc="-1" strike="noStrike">
              <a:solidFill>
                <a:srgbClr val="ffffff"/>
              </a:solidFill>
              <a:latin typeface="Calibri"/>
            </a:endParaRPr>
          </a:p>
        </p:txBody>
      </p:sp>
      <p:pic>
        <p:nvPicPr>
          <p:cNvPr id="94" name="Grafik 6" descr=""/>
          <p:cNvPicPr/>
          <p:nvPr/>
        </p:nvPicPr>
        <p:blipFill>
          <a:blip r:embed="rId2"/>
          <a:stretch/>
        </p:blipFill>
        <p:spPr>
          <a:xfrm>
            <a:off x="403200" y="6613920"/>
            <a:ext cx="325080" cy="100440"/>
          </a:xfrm>
          <a:prstGeom prst="rect">
            <a:avLst/>
          </a:prstGeom>
          <a:ln w="0">
            <a:noFill/>
          </a:ln>
        </p:spPr>
      </p:pic>
      <p:sp>
        <p:nvSpPr>
          <p:cNvPr id="95" name="PlaceHolder 1"/>
          <p:cNvSpPr>
            <a:spLocks noGrp="1"/>
          </p:cNvSpPr>
          <p:nvPr>
            <p:ph type="title"/>
          </p:nvPr>
        </p:nvSpPr>
        <p:spPr>
          <a:xfrm>
            <a:off x="407880" y="349560"/>
            <a:ext cx="11375640" cy="3510720"/>
          </a:xfrm>
          <a:prstGeom prst="rect">
            <a:avLst/>
          </a:prstGeom>
          <a:noFill/>
          <a:ln w="0">
            <a:noFill/>
          </a:ln>
        </p:spPr>
        <p:txBody>
          <a:bodyPr lIns="0" rIns="0" tIns="0" bIns="0" anchor="t">
            <a:noAutofit/>
          </a:bodyPr>
          <a:p>
            <a:pPr indent="0" defTabSz="914400">
              <a:lnSpc>
                <a:spcPct val="100000"/>
              </a:lnSpc>
              <a:buNone/>
            </a:pPr>
            <a:r>
              <a:rPr b="1" lang="de-DE" sz="6000" spc="-1" strike="noStrike">
                <a:solidFill>
                  <a:schemeClr val="accent1"/>
                </a:solidFill>
                <a:latin typeface="Arial"/>
                <a:ea typeface="Arial"/>
              </a:rPr>
              <a:t>Mastertitelformat bearbeiten</a:t>
            </a:r>
            <a:endParaRPr b="0" lang="en-US" sz="6000" spc="-1" strike="noStrike">
              <a:solidFill>
                <a:schemeClr val="dk1"/>
              </a:solidFill>
              <a:latin typeface="Arial"/>
            </a:endParaRPr>
          </a:p>
        </p:txBody>
      </p:sp>
    </p:spTree>
  </p:cSld>
  <p:clrMap bg1="lt1" tx1="dk1" bg2="lt2" tx2="dk2" accent1="accent1" accent2="accent2" accent3="accent3" accent4="accent4" accent5="accent5" accent6="accent6" hlink="hlink" folHlink="folHlink"/>
  <p:sldLayoutIdLst>
    <p:sldLayoutId id="2147483677" r:id="rId3"/>
  </p:sldLayoutIdLst>
</p:sldMaster>
</file>

<file path=ppt/slideMasters/slideMaster16.xml><?xml version="1.0" encoding="utf-8"?>
<p:sldMaster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p:cSld>
    <p:bg>
      <p:bgPr>
        <a:solidFill>
          <a:srgbClr val="002060"/>
        </a:solidFill>
      </p:bgPr>
    </p:bg>
    <p:spTree>
      <p:nvGrpSpPr>
        <p:cNvPr id="1" name=""/>
        <p:cNvGrpSpPr/>
        <p:nvPr/>
      </p:nvGrpSpPr>
      <p:grpSpPr>
        <a:xfrm>
          <a:off x="0" y="0"/>
          <a:ext cx="0" cy="0"/>
          <a:chOff x="0" y="0"/>
          <a:chExt cx="0" cy="0"/>
        </a:xfrm>
      </p:grpSpPr>
      <p:sp>
        <p:nvSpPr>
          <p:cNvPr id="96" name="Textfeld 13"/>
          <p:cNvSpPr/>
          <p:nvPr/>
        </p:nvSpPr>
        <p:spPr>
          <a:xfrm>
            <a:off x="10848600" y="6580800"/>
            <a:ext cx="935280" cy="186480"/>
          </a:xfrm>
          <a:prstGeom prst="rect">
            <a:avLst/>
          </a:prstGeom>
          <a:noFill/>
          <a:ln w="0">
            <a:noFill/>
          </a:ln>
        </p:spPr>
        <p:style>
          <a:lnRef idx="0"/>
          <a:fillRef idx="0"/>
          <a:effectRef idx="0"/>
          <a:fontRef idx="minor"/>
        </p:style>
        <p:txBody>
          <a:bodyPr lIns="0" rIns="0" tIns="0" bIns="0" anchor="t">
            <a:noAutofit/>
          </a:bodyPr>
          <a:p>
            <a:pPr algn="r" defTabSz="457200">
              <a:lnSpc>
                <a:spcPct val="100000"/>
              </a:lnSpc>
            </a:pPr>
            <a:r>
              <a:rPr b="1" lang="de-DE" sz="1100" spc="-1" strike="noStrike">
                <a:solidFill>
                  <a:schemeClr val="dk1"/>
                </a:solidFill>
                <a:latin typeface="Arial"/>
                <a:ea typeface="Arial"/>
              </a:rPr>
              <a:t>Seite </a:t>
            </a:r>
            <a:fld id="{CE251415-6B1B-4562-9255-7F7B54257C7A}" type="slidenum">
              <a:rPr b="1" lang="de-DE" sz="1100" spc="-1" strike="noStrike">
                <a:solidFill>
                  <a:schemeClr val="dk1"/>
                </a:solidFill>
                <a:latin typeface="Arial"/>
                <a:ea typeface="Arial"/>
              </a:rPr>
              <a:t>&lt;number&gt;</a:t>
            </a:fld>
            <a:endParaRPr b="0" lang="en-US" sz="1100" spc="-1" strike="noStrike">
              <a:solidFill>
                <a:srgbClr val="ffffff"/>
              </a:solidFill>
              <a:latin typeface="Calibri"/>
            </a:endParaRPr>
          </a:p>
        </p:txBody>
      </p:sp>
      <p:pic>
        <p:nvPicPr>
          <p:cNvPr id="97" name="Grafik 6" descr=""/>
          <p:cNvPicPr/>
          <p:nvPr/>
        </p:nvPicPr>
        <p:blipFill>
          <a:blip r:embed="rId2"/>
          <a:stretch/>
        </p:blipFill>
        <p:spPr>
          <a:xfrm>
            <a:off x="403200" y="6613920"/>
            <a:ext cx="325080" cy="100440"/>
          </a:xfrm>
          <a:prstGeom prst="rect">
            <a:avLst/>
          </a:prstGeom>
          <a:ln w="0">
            <a:noFill/>
          </a:ln>
        </p:spPr>
      </p:pic>
      <p:sp>
        <p:nvSpPr>
          <p:cNvPr id="98" name="PlaceHolder 1"/>
          <p:cNvSpPr>
            <a:spLocks noGrp="1"/>
          </p:cNvSpPr>
          <p:nvPr>
            <p:ph type="title"/>
          </p:nvPr>
        </p:nvSpPr>
        <p:spPr>
          <a:xfrm>
            <a:off x="407880" y="349560"/>
            <a:ext cx="11375640" cy="450720"/>
          </a:xfrm>
          <a:prstGeom prst="rect">
            <a:avLst/>
          </a:prstGeom>
          <a:noFill/>
          <a:ln w="0">
            <a:noFill/>
          </a:ln>
        </p:spPr>
        <p:txBody>
          <a:bodyPr lIns="0" rIns="0" tIns="0" bIns="0" anchor="t">
            <a:noAutofit/>
          </a:bodyPr>
          <a:p>
            <a:pPr indent="0" defTabSz="914400">
              <a:lnSpc>
                <a:spcPct val="90000"/>
              </a:lnSpc>
              <a:buNone/>
            </a:pPr>
            <a:r>
              <a:rPr b="1" lang="de-DE" sz="3000" spc="-1" strike="noStrike">
                <a:solidFill>
                  <a:schemeClr val="accent1"/>
                </a:solidFill>
                <a:latin typeface="Arial"/>
                <a:ea typeface="Arial"/>
              </a:rPr>
              <a:t>Mastertitelformat bearbeiten</a:t>
            </a:r>
            <a:endParaRPr b="0" lang="en-US" sz="3000" spc="-1" strike="noStrike">
              <a:solidFill>
                <a:schemeClr val="dk1"/>
              </a:solidFill>
              <a:latin typeface="Arial"/>
            </a:endParaRPr>
          </a:p>
        </p:txBody>
      </p:sp>
      <p:sp>
        <p:nvSpPr>
          <p:cNvPr id="99" name="PlaceHolder 2"/>
          <p:cNvSpPr>
            <a:spLocks noGrp="1"/>
          </p:cNvSpPr>
          <p:nvPr>
            <p:ph type="body"/>
          </p:nvPr>
        </p:nvSpPr>
        <p:spPr>
          <a:xfrm>
            <a:off x="407880" y="1406520"/>
            <a:ext cx="11375640" cy="5009760"/>
          </a:xfrm>
          <a:prstGeom prst="rect">
            <a:avLst/>
          </a:prstGeom>
          <a:noFill/>
          <a:ln w="0">
            <a:noFill/>
          </a:ln>
        </p:spPr>
        <p:txBody>
          <a:bodyPr lIns="0" rIns="0" tIns="0" bIns="0" anchor="t">
            <a:noAutofit/>
          </a:bodyPr>
          <a:p>
            <a:pPr marL="361800" indent="-361800" defTabSz="914400">
              <a:lnSpc>
                <a:spcPct val="110000"/>
              </a:lnSpc>
              <a:spcAft>
                <a:spcPts val="1199"/>
              </a:spcAft>
              <a:buClr>
                <a:srgbClr val="ffffff"/>
              </a:buClr>
              <a:buFont typeface="Arial"/>
              <a:buChar char="•"/>
              <a:tabLst>
                <a:tab algn="l" pos="361800"/>
              </a:tabLst>
            </a:pPr>
            <a:r>
              <a:rPr b="0" lang="de-DE" sz="1800" spc="-1" strike="noStrike">
                <a:solidFill>
                  <a:schemeClr val="lt1"/>
                </a:solidFill>
                <a:latin typeface="Arial"/>
                <a:ea typeface="Arial"/>
              </a:rPr>
              <a:t>Mastertextformat bearbeiten</a:t>
            </a:r>
            <a:endParaRPr b="0" lang="en-US" sz="1800" spc="-1" strike="noStrike">
              <a:solidFill>
                <a:schemeClr val="lt1"/>
              </a:solidFill>
              <a:latin typeface="Arial"/>
            </a:endParaRPr>
          </a:p>
          <a:p>
            <a:pPr lvl="1" marL="628560" indent="-266760" defTabSz="914400">
              <a:lnSpc>
                <a:spcPct val="110000"/>
              </a:lnSpc>
              <a:spcAft>
                <a:spcPts val="1199"/>
              </a:spcAft>
              <a:buClr>
                <a:srgbClr val="ffffff"/>
              </a:buClr>
              <a:buFont typeface="Arial"/>
              <a:buChar char="•"/>
              <a:tabLst>
                <a:tab algn="l" pos="361800"/>
              </a:tabLst>
            </a:pPr>
            <a:r>
              <a:rPr b="0" lang="de-DE" sz="1800" spc="-1" strike="noStrike">
                <a:solidFill>
                  <a:schemeClr val="lt1"/>
                </a:solidFill>
                <a:latin typeface="Arial"/>
                <a:ea typeface="Arial"/>
              </a:rPr>
              <a:t>Zweite Ebene</a:t>
            </a:r>
            <a:endParaRPr b="0" lang="en-US" sz="1800" spc="-1" strike="noStrike">
              <a:solidFill>
                <a:schemeClr val="lt1"/>
              </a:solidFill>
              <a:latin typeface="Arial"/>
            </a:endParaRPr>
          </a:p>
          <a:p>
            <a:pPr lvl="2" marL="895320" indent="-266760" defTabSz="914400">
              <a:lnSpc>
                <a:spcPct val="110000"/>
              </a:lnSpc>
              <a:spcAft>
                <a:spcPts val="1199"/>
              </a:spcAft>
              <a:buClr>
                <a:srgbClr val="ffffff"/>
              </a:buClr>
              <a:buFont typeface="Arial"/>
              <a:buChar char="•"/>
              <a:tabLst>
                <a:tab algn="l" pos="361800"/>
              </a:tabLst>
            </a:pPr>
            <a:r>
              <a:rPr b="0" lang="de-DE" sz="1800" spc="-1" strike="noStrike">
                <a:solidFill>
                  <a:schemeClr val="lt1"/>
                </a:solidFill>
                <a:latin typeface="Arial"/>
                <a:ea typeface="Arial"/>
              </a:rPr>
              <a:t>Dritte Ebene</a:t>
            </a:r>
            <a:endParaRPr b="0" lang="en-US" sz="1800" spc="-1" strike="noStrike">
              <a:solidFill>
                <a:schemeClr val="lt1"/>
              </a:solidFill>
              <a:latin typeface="Arial"/>
            </a:endParaRPr>
          </a:p>
          <a:p>
            <a:pPr lvl="3" marL="1162080" indent="-266760" defTabSz="914400">
              <a:lnSpc>
                <a:spcPct val="110000"/>
              </a:lnSpc>
              <a:spcAft>
                <a:spcPts val="1199"/>
              </a:spcAft>
              <a:buClr>
                <a:srgbClr val="ffffff"/>
              </a:buClr>
              <a:buFont typeface="Arial"/>
              <a:buChar char="•"/>
              <a:tabLst>
                <a:tab algn="l" pos="361800"/>
              </a:tabLst>
            </a:pPr>
            <a:r>
              <a:rPr b="0" lang="de-DE" sz="1800" spc="-1" strike="noStrike">
                <a:solidFill>
                  <a:schemeClr val="lt1"/>
                </a:solidFill>
                <a:latin typeface="Arial"/>
                <a:ea typeface="Arial"/>
              </a:rPr>
              <a:t>Vierte Ebene</a:t>
            </a:r>
            <a:endParaRPr b="0" lang="en-US" sz="1800" spc="-1" strike="noStrike">
              <a:solidFill>
                <a:schemeClr val="lt1"/>
              </a:solidFill>
              <a:latin typeface="Arial"/>
            </a:endParaRPr>
          </a:p>
          <a:p>
            <a:pPr lvl="4" marL="1438200" indent="-276120" defTabSz="914400">
              <a:lnSpc>
                <a:spcPct val="110000"/>
              </a:lnSpc>
              <a:spcAft>
                <a:spcPts val="1199"/>
              </a:spcAft>
              <a:buClr>
                <a:srgbClr val="ffffff"/>
              </a:buClr>
              <a:buFont typeface="Arial"/>
              <a:buChar char="•"/>
              <a:tabLst>
                <a:tab algn="l" pos="361800"/>
              </a:tabLst>
            </a:pPr>
            <a:r>
              <a:rPr b="0" lang="de-DE" sz="1800" spc="-1" strike="noStrike">
                <a:solidFill>
                  <a:schemeClr val="lt1"/>
                </a:solidFill>
                <a:latin typeface="Arial"/>
                <a:ea typeface="Arial"/>
              </a:rPr>
              <a:t>Fünfte Ebene</a:t>
            </a:r>
            <a:endParaRPr b="0" lang="en-US" sz="1800" spc="-1" strike="noStrike">
              <a:solidFill>
                <a:schemeClr val="lt1"/>
              </a:solidFill>
              <a:latin typeface="Arial"/>
            </a:endParaRPr>
          </a:p>
        </p:txBody>
      </p:sp>
      <p:sp>
        <p:nvSpPr>
          <p:cNvPr id="100" name="PlaceHolder 3"/>
          <p:cNvSpPr>
            <a:spLocks noGrp="1"/>
          </p:cNvSpPr>
          <p:nvPr>
            <p:ph type="ftr" idx="12"/>
          </p:nvPr>
        </p:nvSpPr>
        <p:spPr>
          <a:xfrm>
            <a:off x="791640" y="6580800"/>
            <a:ext cx="9948600" cy="186480"/>
          </a:xfrm>
          <a:prstGeom prst="rect">
            <a:avLst/>
          </a:prstGeom>
          <a:noFill/>
          <a:ln w="0">
            <a:noFill/>
          </a:ln>
        </p:spPr>
        <p:txBody>
          <a:bodyPr lIns="0" rIns="0" tIns="0" bIns="0" anchor="t">
            <a:noAutofit/>
          </a:bodyPr>
          <a:lstStyle>
            <a:lvl1pPr indent="0" defTabSz="457200">
              <a:lnSpc>
                <a:spcPct val="100000"/>
              </a:lnSpc>
              <a:buNone/>
              <a:defRPr b="0" lang="pt-BR" sz="1100" spc="-1" strike="noStrike">
                <a:solidFill>
                  <a:schemeClr val="lt1"/>
                </a:solidFill>
                <a:latin typeface="Arial"/>
                <a:ea typeface="Arial"/>
              </a:defRPr>
            </a:lvl1pPr>
          </a:lstStyle>
          <a:p>
            <a:pPr indent="0" defTabSz="457200">
              <a:lnSpc>
                <a:spcPct val="100000"/>
              </a:lnSpc>
              <a:buNone/>
            </a:pPr>
            <a:r>
              <a:rPr b="0" lang="pt-BR" sz="1100" spc="-1" strike="noStrike">
                <a:solidFill>
                  <a:schemeClr val="lt1"/>
                </a:solidFill>
                <a:latin typeface="Arial"/>
                <a:ea typeface="Arial"/>
              </a:rPr>
              <a:t>&lt;footer&gt;</a:t>
            </a:r>
            <a:endParaRPr b="0" lang="en-US" sz="1100" spc="-1" strike="noStrike">
              <a:solidFill>
                <a:srgbClr val="ffffff"/>
              </a:solidFill>
              <a:latin typeface="Calibri"/>
            </a:endParaRPr>
          </a:p>
        </p:txBody>
      </p:sp>
      <p:sp>
        <p:nvSpPr>
          <p:cNvPr id="101" name="PlaceHolder 4"/>
          <p:cNvSpPr>
            <a:spLocks noGrp="1"/>
          </p:cNvSpPr>
          <p:nvPr>
            <p:ph type="body"/>
          </p:nvPr>
        </p:nvSpPr>
        <p:spPr>
          <a:xfrm>
            <a:off x="407880" y="817560"/>
            <a:ext cx="11375640" cy="378720"/>
          </a:xfrm>
          <a:prstGeom prst="rect">
            <a:avLst/>
          </a:prstGeom>
          <a:noFill/>
          <a:ln w="0">
            <a:noFill/>
          </a:ln>
        </p:spPr>
        <p:txBody>
          <a:bodyPr lIns="0" rIns="0" tIns="0" bIns="0" anchor="t">
            <a:noAutofit/>
          </a:bodyPr>
          <a:p>
            <a:pPr indent="0" defTabSz="914400">
              <a:lnSpc>
                <a:spcPct val="110000"/>
              </a:lnSpc>
              <a:buNone/>
              <a:tabLst>
                <a:tab algn="l" pos="0"/>
              </a:tabLst>
            </a:pPr>
            <a:r>
              <a:rPr b="1" lang="de-DE" sz="1800" spc="-1" strike="noStrike">
                <a:solidFill>
                  <a:schemeClr val="accent2"/>
                </a:solidFill>
                <a:latin typeface="Arial"/>
                <a:ea typeface="Arial"/>
              </a:rPr>
              <a:t>Unterüberschrift</a:t>
            </a:r>
            <a:endParaRPr b="0" lang="en-US" sz="1800" spc="-1" strike="noStrike">
              <a:solidFill>
                <a:schemeClr val="lt1"/>
              </a:solidFill>
              <a:latin typeface="Arial"/>
            </a:endParaRPr>
          </a:p>
        </p:txBody>
      </p:sp>
    </p:spTree>
  </p:cSld>
  <p:clrMap bg1="lt1" tx1="dk1" bg2="lt2" tx2="dk2" accent1="accent1" accent2="accent2" accent3="accent3" accent4="accent4" accent5="accent5" accent6="accent6" hlink="hlink" folHlink="folHlink"/>
  <p:sldLayoutIdLst>
    <p:sldLayoutId id="2147483679" r:id="rId3"/>
  </p:sldLayoutIdLst>
</p:sldMaster>
</file>

<file path=ppt/slideMasters/slideMaster17.xml><?xml version="1.0" encoding="utf-8"?>
<p:sldMaster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p:cSld>
    <p:bg>
      <p:bgPr>
        <a:solidFill>
          <a:srgbClr val="002060"/>
        </a:solidFill>
      </p:bgPr>
    </p:bg>
    <p:spTree>
      <p:nvGrpSpPr>
        <p:cNvPr id="1" name=""/>
        <p:cNvGrpSpPr/>
        <p:nvPr/>
      </p:nvGrpSpPr>
      <p:grpSpPr>
        <a:xfrm>
          <a:off x="0" y="0"/>
          <a:ext cx="0" cy="0"/>
          <a:chOff x="0" y="0"/>
          <a:chExt cx="0" cy="0"/>
        </a:xfrm>
      </p:grpSpPr>
      <p:sp>
        <p:nvSpPr>
          <p:cNvPr id="102" name="Textfeld 13"/>
          <p:cNvSpPr/>
          <p:nvPr/>
        </p:nvSpPr>
        <p:spPr>
          <a:xfrm>
            <a:off x="10848600" y="6580800"/>
            <a:ext cx="935280" cy="186480"/>
          </a:xfrm>
          <a:prstGeom prst="rect">
            <a:avLst/>
          </a:prstGeom>
          <a:noFill/>
          <a:ln w="0">
            <a:noFill/>
          </a:ln>
        </p:spPr>
        <p:style>
          <a:lnRef idx="0"/>
          <a:fillRef idx="0"/>
          <a:effectRef idx="0"/>
          <a:fontRef idx="minor"/>
        </p:style>
        <p:txBody>
          <a:bodyPr lIns="0" rIns="0" tIns="0" bIns="0" anchor="t">
            <a:noAutofit/>
          </a:bodyPr>
          <a:p>
            <a:pPr algn="r" defTabSz="457200">
              <a:lnSpc>
                <a:spcPct val="100000"/>
              </a:lnSpc>
            </a:pPr>
            <a:r>
              <a:rPr b="1" lang="de-DE" sz="1100" spc="-1" strike="noStrike">
                <a:solidFill>
                  <a:schemeClr val="dk1"/>
                </a:solidFill>
                <a:latin typeface="Arial"/>
                <a:ea typeface="Arial"/>
              </a:rPr>
              <a:t>Seite </a:t>
            </a:r>
            <a:fld id="{5F47A3A2-4FB0-4E2C-AC1D-EB2377782072}" type="slidenum">
              <a:rPr b="1" lang="de-DE" sz="1100" spc="-1" strike="noStrike">
                <a:solidFill>
                  <a:schemeClr val="dk1"/>
                </a:solidFill>
                <a:latin typeface="Arial"/>
                <a:ea typeface="Arial"/>
              </a:rPr>
              <a:t>&lt;number&gt;</a:t>
            </a:fld>
            <a:endParaRPr b="0" lang="en-US" sz="1100" spc="-1" strike="noStrike">
              <a:solidFill>
                <a:srgbClr val="ffffff"/>
              </a:solidFill>
              <a:latin typeface="Calibri"/>
            </a:endParaRPr>
          </a:p>
        </p:txBody>
      </p:sp>
      <p:pic>
        <p:nvPicPr>
          <p:cNvPr id="103" name="Grafik 6" descr=""/>
          <p:cNvPicPr/>
          <p:nvPr/>
        </p:nvPicPr>
        <p:blipFill>
          <a:blip r:embed="rId2"/>
          <a:stretch/>
        </p:blipFill>
        <p:spPr>
          <a:xfrm>
            <a:off x="403200" y="6613920"/>
            <a:ext cx="325080" cy="100440"/>
          </a:xfrm>
          <a:prstGeom prst="rect">
            <a:avLst/>
          </a:prstGeom>
          <a:ln w="0">
            <a:noFill/>
          </a:ln>
        </p:spPr>
      </p:pic>
      <p:sp>
        <p:nvSpPr>
          <p:cNvPr id="104" name="PlaceHolder 1"/>
          <p:cNvSpPr>
            <a:spLocks noGrp="1"/>
          </p:cNvSpPr>
          <p:nvPr>
            <p:ph type="title"/>
          </p:nvPr>
        </p:nvSpPr>
        <p:spPr>
          <a:xfrm>
            <a:off x="407880" y="349560"/>
            <a:ext cx="11375640" cy="450720"/>
          </a:xfrm>
          <a:prstGeom prst="rect">
            <a:avLst/>
          </a:prstGeom>
          <a:noFill/>
          <a:ln w="0">
            <a:noFill/>
          </a:ln>
        </p:spPr>
        <p:txBody>
          <a:bodyPr lIns="0" rIns="0" tIns="0" bIns="0" anchor="t">
            <a:noAutofit/>
          </a:bodyPr>
          <a:p>
            <a:pPr indent="0" defTabSz="914400">
              <a:lnSpc>
                <a:spcPct val="90000"/>
              </a:lnSpc>
              <a:buNone/>
            </a:pPr>
            <a:r>
              <a:rPr b="1" lang="de-DE" sz="3000" spc="-1" strike="noStrike">
                <a:solidFill>
                  <a:schemeClr val="accent1"/>
                </a:solidFill>
                <a:latin typeface="Arial"/>
                <a:ea typeface="Arial"/>
              </a:rPr>
              <a:t>Mastertitelformat bearbeiten</a:t>
            </a:r>
            <a:endParaRPr b="0" lang="en-US" sz="3000" spc="-1" strike="noStrike">
              <a:solidFill>
                <a:schemeClr val="dk1"/>
              </a:solidFill>
              <a:latin typeface="Arial"/>
            </a:endParaRPr>
          </a:p>
        </p:txBody>
      </p:sp>
      <p:sp>
        <p:nvSpPr>
          <p:cNvPr id="105" name="PlaceHolder 2"/>
          <p:cNvSpPr>
            <a:spLocks noGrp="1"/>
          </p:cNvSpPr>
          <p:nvPr>
            <p:ph type="body"/>
          </p:nvPr>
        </p:nvSpPr>
        <p:spPr>
          <a:xfrm>
            <a:off x="407880" y="1406520"/>
            <a:ext cx="5616360" cy="5009760"/>
          </a:xfrm>
          <a:prstGeom prst="rect">
            <a:avLst/>
          </a:prstGeom>
          <a:noFill/>
          <a:ln w="0">
            <a:noFill/>
          </a:ln>
        </p:spPr>
        <p:txBody>
          <a:bodyPr lIns="0" rIns="0" tIns="0" bIns="0" anchor="t">
            <a:noAutofit/>
          </a:bodyPr>
          <a:p>
            <a:pPr marL="361800" indent="-361800" defTabSz="914400">
              <a:lnSpc>
                <a:spcPct val="110000"/>
              </a:lnSpc>
              <a:spcAft>
                <a:spcPts val="1199"/>
              </a:spcAft>
              <a:buClr>
                <a:srgbClr val="ffffff"/>
              </a:buClr>
              <a:buFont typeface="Arial"/>
              <a:buChar char="•"/>
              <a:tabLst>
                <a:tab algn="l" pos="361800"/>
              </a:tabLst>
            </a:pPr>
            <a:r>
              <a:rPr b="0" lang="de-DE" sz="1800" spc="-1" strike="noStrike">
                <a:solidFill>
                  <a:schemeClr val="lt1"/>
                </a:solidFill>
                <a:latin typeface="Arial"/>
                <a:ea typeface="Arial"/>
              </a:rPr>
              <a:t>Mastertextformat bearbeiten</a:t>
            </a:r>
            <a:endParaRPr b="0" lang="en-US" sz="1800" spc="-1" strike="noStrike">
              <a:solidFill>
                <a:schemeClr val="lt1"/>
              </a:solidFill>
              <a:latin typeface="Arial"/>
            </a:endParaRPr>
          </a:p>
          <a:p>
            <a:pPr lvl="1" marL="628560" indent="-266760" defTabSz="914400">
              <a:lnSpc>
                <a:spcPct val="110000"/>
              </a:lnSpc>
              <a:spcAft>
                <a:spcPts val="1199"/>
              </a:spcAft>
              <a:buClr>
                <a:srgbClr val="ffffff"/>
              </a:buClr>
              <a:buFont typeface="Arial"/>
              <a:buChar char="•"/>
              <a:tabLst>
                <a:tab algn="l" pos="361800"/>
              </a:tabLst>
            </a:pPr>
            <a:r>
              <a:rPr b="0" lang="de-DE" sz="1800" spc="-1" strike="noStrike">
                <a:solidFill>
                  <a:schemeClr val="lt1"/>
                </a:solidFill>
                <a:latin typeface="Arial"/>
                <a:ea typeface="Arial"/>
              </a:rPr>
              <a:t>Zweite Ebene</a:t>
            </a:r>
            <a:endParaRPr b="0" lang="en-US" sz="1800" spc="-1" strike="noStrike">
              <a:solidFill>
                <a:schemeClr val="lt1"/>
              </a:solidFill>
              <a:latin typeface="Arial"/>
            </a:endParaRPr>
          </a:p>
          <a:p>
            <a:pPr lvl="2" marL="895320" indent="-266760" defTabSz="914400">
              <a:lnSpc>
                <a:spcPct val="110000"/>
              </a:lnSpc>
              <a:spcAft>
                <a:spcPts val="1199"/>
              </a:spcAft>
              <a:buClr>
                <a:srgbClr val="ffffff"/>
              </a:buClr>
              <a:buFont typeface="Arial"/>
              <a:buChar char="•"/>
              <a:tabLst>
                <a:tab algn="l" pos="361800"/>
              </a:tabLst>
            </a:pPr>
            <a:r>
              <a:rPr b="0" lang="de-DE" sz="1800" spc="-1" strike="noStrike">
                <a:solidFill>
                  <a:schemeClr val="lt1"/>
                </a:solidFill>
                <a:latin typeface="Arial"/>
                <a:ea typeface="Arial"/>
              </a:rPr>
              <a:t>Dritte Ebene</a:t>
            </a:r>
            <a:endParaRPr b="0" lang="en-US" sz="1800" spc="-1" strike="noStrike">
              <a:solidFill>
                <a:schemeClr val="lt1"/>
              </a:solidFill>
              <a:latin typeface="Arial"/>
            </a:endParaRPr>
          </a:p>
          <a:p>
            <a:pPr lvl="3" marL="1162080" indent="-266760" defTabSz="914400">
              <a:lnSpc>
                <a:spcPct val="110000"/>
              </a:lnSpc>
              <a:spcAft>
                <a:spcPts val="1199"/>
              </a:spcAft>
              <a:buClr>
                <a:srgbClr val="ffffff"/>
              </a:buClr>
              <a:buFont typeface="Arial"/>
              <a:buChar char="•"/>
              <a:tabLst>
                <a:tab algn="l" pos="361800"/>
              </a:tabLst>
            </a:pPr>
            <a:r>
              <a:rPr b="0" lang="de-DE" sz="1800" spc="-1" strike="noStrike">
                <a:solidFill>
                  <a:schemeClr val="lt1"/>
                </a:solidFill>
                <a:latin typeface="Arial"/>
                <a:ea typeface="Arial"/>
              </a:rPr>
              <a:t>Vierte Ebene</a:t>
            </a:r>
            <a:endParaRPr b="0" lang="en-US" sz="1800" spc="-1" strike="noStrike">
              <a:solidFill>
                <a:schemeClr val="lt1"/>
              </a:solidFill>
              <a:latin typeface="Arial"/>
            </a:endParaRPr>
          </a:p>
          <a:p>
            <a:pPr lvl="4" marL="1438200" indent="-276120" defTabSz="914400">
              <a:lnSpc>
                <a:spcPct val="110000"/>
              </a:lnSpc>
              <a:spcAft>
                <a:spcPts val="1199"/>
              </a:spcAft>
              <a:buClr>
                <a:srgbClr val="ffffff"/>
              </a:buClr>
              <a:buFont typeface="Arial"/>
              <a:buChar char="•"/>
              <a:tabLst>
                <a:tab algn="l" pos="361800"/>
              </a:tabLst>
            </a:pPr>
            <a:r>
              <a:rPr b="0" lang="de-DE" sz="1800" spc="-1" strike="noStrike">
                <a:solidFill>
                  <a:schemeClr val="lt1"/>
                </a:solidFill>
                <a:latin typeface="Arial"/>
                <a:ea typeface="Arial"/>
              </a:rPr>
              <a:t>Fünfte Ebene</a:t>
            </a:r>
            <a:endParaRPr b="0" lang="en-US" sz="1800" spc="-1" strike="noStrike">
              <a:solidFill>
                <a:schemeClr val="lt1"/>
              </a:solidFill>
              <a:latin typeface="Arial"/>
            </a:endParaRPr>
          </a:p>
        </p:txBody>
      </p:sp>
      <p:sp>
        <p:nvSpPr>
          <p:cNvPr id="106" name="PlaceHolder 3"/>
          <p:cNvSpPr>
            <a:spLocks noGrp="1"/>
          </p:cNvSpPr>
          <p:nvPr>
            <p:ph type="ftr" idx="13"/>
          </p:nvPr>
        </p:nvSpPr>
        <p:spPr>
          <a:xfrm>
            <a:off x="791640" y="6580800"/>
            <a:ext cx="9948600" cy="186480"/>
          </a:xfrm>
          <a:prstGeom prst="rect">
            <a:avLst/>
          </a:prstGeom>
          <a:noFill/>
          <a:ln w="0">
            <a:noFill/>
          </a:ln>
        </p:spPr>
        <p:txBody>
          <a:bodyPr lIns="0" rIns="0" tIns="0" bIns="0" anchor="t">
            <a:noAutofit/>
          </a:bodyPr>
          <a:lstStyle>
            <a:lvl1pPr indent="0" defTabSz="457200">
              <a:lnSpc>
                <a:spcPct val="100000"/>
              </a:lnSpc>
              <a:buNone/>
              <a:defRPr b="0" lang="pt-BR" sz="1100" spc="-1" strike="noStrike">
                <a:solidFill>
                  <a:schemeClr val="lt1"/>
                </a:solidFill>
                <a:latin typeface="Arial"/>
                <a:ea typeface="Arial"/>
              </a:defRPr>
            </a:lvl1pPr>
          </a:lstStyle>
          <a:p>
            <a:pPr indent="0" defTabSz="457200">
              <a:lnSpc>
                <a:spcPct val="100000"/>
              </a:lnSpc>
              <a:buNone/>
            </a:pPr>
            <a:r>
              <a:rPr b="0" lang="pt-BR" sz="1100" spc="-1" strike="noStrike">
                <a:solidFill>
                  <a:schemeClr val="lt1"/>
                </a:solidFill>
                <a:latin typeface="Arial"/>
                <a:ea typeface="Arial"/>
              </a:rPr>
              <a:t>&lt;footer&gt;</a:t>
            </a:r>
            <a:endParaRPr b="0" lang="en-US" sz="1100" spc="-1" strike="noStrike">
              <a:solidFill>
                <a:srgbClr val="ffffff"/>
              </a:solidFill>
              <a:latin typeface="Calibri"/>
            </a:endParaRPr>
          </a:p>
        </p:txBody>
      </p:sp>
      <p:sp>
        <p:nvSpPr>
          <p:cNvPr id="107" name="PlaceHolder 4"/>
          <p:cNvSpPr>
            <a:spLocks noGrp="1"/>
          </p:cNvSpPr>
          <p:nvPr>
            <p:ph type="body"/>
          </p:nvPr>
        </p:nvSpPr>
        <p:spPr>
          <a:xfrm>
            <a:off x="407880" y="817560"/>
            <a:ext cx="11375640" cy="378720"/>
          </a:xfrm>
          <a:prstGeom prst="rect">
            <a:avLst/>
          </a:prstGeom>
          <a:noFill/>
          <a:ln w="0">
            <a:noFill/>
          </a:ln>
        </p:spPr>
        <p:txBody>
          <a:bodyPr lIns="0" rIns="0" tIns="0" bIns="0" anchor="t">
            <a:noAutofit/>
          </a:bodyPr>
          <a:p>
            <a:pPr indent="0" defTabSz="914400">
              <a:lnSpc>
                <a:spcPct val="110000"/>
              </a:lnSpc>
              <a:buNone/>
              <a:tabLst>
                <a:tab algn="l" pos="0"/>
              </a:tabLst>
            </a:pPr>
            <a:r>
              <a:rPr b="1" lang="de-DE" sz="1800" spc="-1" strike="noStrike">
                <a:solidFill>
                  <a:schemeClr val="accent2"/>
                </a:solidFill>
                <a:latin typeface="Arial"/>
                <a:ea typeface="Arial"/>
              </a:rPr>
              <a:t>Unterüberschrift</a:t>
            </a:r>
            <a:endParaRPr b="0" lang="en-US" sz="1800" spc="-1" strike="noStrike">
              <a:solidFill>
                <a:schemeClr val="lt1"/>
              </a:solidFill>
              <a:latin typeface="Arial"/>
            </a:endParaRPr>
          </a:p>
        </p:txBody>
      </p:sp>
      <p:sp>
        <p:nvSpPr>
          <p:cNvPr id="108" name="PlaceHolder 5"/>
          <p:cNvSpPr>
            <a:spLocks noGrp="1"/>
          </p:cNvSpPr>
          <p:nvPr>
            <p:ph type="body"/>
          </p:nvPr>
        </p:nvSpPr>
        <p:spPr>
          <a:xfrm>
            <a:off x="6167520" y="1406520"/>
            <a:ext cx="5616360" cy="5009760"/>
          </a:xfrm>
          <a:prstGeom prst="rect">
            <a:avLst/>
          </a:prstGeom>
          <a:noFill/>
          <a:ln w="0">
            <a:noFill/>
          </a:ln>
        </p:spPr>
        <p:txBody>
          <a:bodyPr lIns="0" rIns="0" tIns="0" bIns="0" anchor="t">
            <a:noAutofit/>
          </a:bodyPr>
          <a:p>
            <a:pPr marL="361800" indent="-361800" defTabSz="914400">
              <a:lnSpc>
                <a:spcPct val="110000"/>
              </a:lnSpc>
              <a:spcAft>
                <a:spcPts val="1199"/>
              </a:spcAft>
              <a:buClr>
                <a:srgbClr val="ffffff"/>
              </a:buClr>
              <a:buFont typeface="Arial"/>
              <a:buChar char="•"/>
              <a:tabLst>
                <a:tab algn="l" pos="361800"/>
              </a:tabLst>
            </a:pPr>
            <a:r>
              <a:rPr b="0" lang="de-DE" sz="1800" spc="-1" strike="noStrike">
                <a:solidFill>
                  <a:schemeClr val="lt1"/>
                </a:solidFill>
                <a:latin typeface="Arial"/>
                <a:ea typeface="Arial"/>
              </a:rPr>
              <a:t>Mastertextformat bearbeiten</a:t>
            </a:r>
            <a:endParaRPr b="0" lang="en-US" sz="1800" spc="-1" strike="noStrike">
              <a:solidFill>
                <a:schemeClr val="lt1"/>
              </a:solidFill>
              <a:latin typeface="Arial"/>
            </a:endParaRPr>
          </a:p>
          <a:p>
            <a:pPr lvl="1" marL="628560" indent="-266760" defTabSz="914400">
              <a:lnSpc>
                <a:spcPct val="110000"/>
              </a:lnSpc>
              <a:spcAft>
                <a:spcPts val="1199"/>
              </a:spcAft>
              <a:buClr>
                <a:srgbClr val="ffffff"/>
              </a:buClr>
              <a:buFont typeface="Arial"/>
              <a:buChar char="•"/>
              <a:tabLst>
                <a:tab algn="l" pos="361800"/>
              </a:tabLst>
            </a:pPr>
            <a:r>
              <a:rPr b="0" lang="de-DE" sz="1800" spc="-1" strike="noStrike">
                <a:solidFill>
                  <a:schemeClr val="lt1"/>
                </a:solidFill>
                <a:latin typeface="Arial"/>
                <a:ea typeface="Arial"/>
              </a:rPr>
              <a:t>Zweite Ebene</a:t>
            </a:r>
            <a:endParaRPr b="0" lang="en-US" sz="1800" spc="-1" strike="noStrike">
              <a:solidFill>
                <a:schemeClr val="lt1"/>
              </a:solidFill>
              <a:latin typeface="Arial"/>
            </a:endParaRPr>
          </a:p>
          <a:p>
            <a:pPr lvl="2" marL="895320" indent="-266760" defTabSz="914400">
              <a:lnSpc>
                <a:spcPct val="110000"/>
              </a:lnSpc>
              <a:spcAft>
                <a:spcPts val="1199"/>
              </a:spcAft>
              <a:buClr>
                <a:srgbClr val="ffffff"/>
              </a:buClr>
              <a:buFont typeface="Arial"/>
              <a:buChar char="•"/>
              <a:tabLst>
                <a:tab algn="l" pos="361800"/>
              </a:tabLst>
            </a:pPr>
            <a:r>
              <a:rPr b="0" lang="de-DE" sz="1800" spc="-1" strike="noStrike">
                <a:solidFill>
                  <a:schemeClr val="lt1"/>
                </a:solidFill>
                <a:latin typeface="Arial"/>
                <a:ea typeface="Arial"/>
              </a:rPr>
              <a:t>Dritte Ebene</a:t>
            </a:r>
            <a:endParaRPr b="0" lang="en-US" sz="1800" spc="-1" strike="noStrike">
              <a:solidFill>
                <a:schemeClr val="lt1"/>
              </a:solidFill>
              <a:latin typeface="Arial"/>
            </a:endParaRPr>
          </a:p>
          <a:p>
            <a:pPr lvl="3" marL="1162080" indent="-266760" defTabSz="914400">
              <a:lnSpc>
                <a:spcPct val="110000"/>
              </a:lnSpc>
              <a:spcAft>
                <a:spcPts val="1199"/>
              </a:spcAft>
              <a:buClr>
                <a:srgbClr val="ffffff"/>
              </a:buClr>
              <a:buFont typeface="Arial"/>
              <a:buChar char="•"/>
              <a:tabLst>
                <a:tab algn="l" pos="361800"/>
              </a:tabLst>
            </a:pPr>
            <a:r>
              <a:rPr b="0" lang="de-DE" sz="1800" spc="-1" strike="noStrike">
                <a:solidFill>
                  <a:schemeClr val="lt1"/>
                </a:solidFill>
                <a:latin typeface="Arial"/>
                <a:ea typeface="Arial"/>
              </a:rPr>
              <a:t>Vierte Ebene</a:t>
            </a:r>
            <a:endParaRPr b="0" lang="en-US" sz="1800" spc="-1" strike="noStrike">
              <a:solidFill>
                <a:schemeClr val="lt1"/>
              </a:solidFill>
              <a:latin typeface="Arial"/>
            </a:endParaRPr>
          </a:p>
          <a:p>
            <a:pPr lvl="4" marL="1438200" indent="-276120" defTabSz="914400">
              <a:lnSpc>
                <a:spcPct val="110000"/>
              </a:lnSpc>
              <a:spcAft>
                <a:spcPts val="1199"/>
              </a:spcAft>
              <a:buClr>
                <a:srgbClr val="ffffff"/>
              </a:buClr>
              <a:buFont typeface="Arial"/>
              <a:buChar char="•"/>
              <a:tabLst>
                <a:tab algn="l" pos="361800"/>
              </a:tabLst>
            </a:pPr>
            <a:r>
              <a:rPr b="0" lang="de-DE" sz="1800" spc="-1" strike="noStrike">
                <a:solidFill>
                  <a:schemeClr val="lt1"/>
                </a:solidFill>
                <a:latin typeface="Arial"/>
                <a:ea typeface="Arial"/>
              </a:rPr>
              <a:t>Fünfte Ebene</a:t>
            </a:r>
            <a:endParaRPr b="0" lang="en-US" sz="1800" spc="-1" strike="noStrike">
              <a:solidFill>
                <a:schemeClr val="lt1"/>
              </a:solidFill>
              <a:latin typeface="Arial"/>
            </a:endParaRPr>
          </a:p>
        </p:txBody>
      </p:sp>
    </p:spTree>
  </p:cSld>
  <p:clrMap bg1="lt1" tx1="dk1" bg2="lt2" tx2="dk2" accent1="accent1" accent2="accent2" accent3="accent3" accent4="accent4" accent5="accent5" accent6="accent6" hlink="hlink" folHlink="folHlink"/>
  <p:sldLayoutIdLst>
    <p:sldLayoutId id="2147483681" r:id="rId3"/>
  </p:sldLayoutIdLst>
</p:sldMaster>
</file>

<file path=ppt/slideMasters/slideMaster18.xml><?xml version="1.0" encoding="utf-8"?>
<p:sldMaster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p:cSld>
    <p:bg>
      <p:bgPr>
        <a:solidFill>
          <a:srgbClr val="002060"/>
        </a:solidFill>
      </p:bgPr>
    </p:bg>
    <p:spTree>
      <p:nvGrpSpPr>
        <p:cNvPr id="1" name=""/>
        <p:cNvGrpSpPr/>
        <p:nvPr/>
      </p:nvGrpSpPr>
      <p:grpSpPr>
        <a:xfrm>
          <a:off x="0" y="0"/>
          <a:ext cx="0" cy="0"/>
          <a:chOff x="0" y="0"/>
          <a:chExt cx="0" cy="0"/>
        </a:xfrm>
      </p:grpSpPr>
      <p:sp>
        <p:nvSpPr>
          <p:cNvPr id="109" name="Textfeld 13"/>
          <p:cNvSpPr/>
          <p:nvPr/>
        </p:nvSpPr>
        <p:spPr>
          <a:xfrm>
            <a:off x="10848600" y="6580800"/>
            <a:ext cx="935280" cy="186480"/>
          </a:xfrm>
          <a:prstGeom prst="rect">
            <a:avLst/>
          </a:prstGeom>
          <a:noFill/>
          <a:ln w="0">
            <a:noFill/>
          </a:ln>
        </p:spPr>
        <p:style>
          <a:lnRef idx="0"/>
          <a:fillRef idx="0"/>
          <a:effectRef idx="0"/>
          <a:fontRef idx="minor"/>
        </p:style>
        <p:txBody>
          <a:bodyPr lIns="0" rIns="0" tIns="0" bIns="0" anchor="t">
            <a:noAutofit/>
          </a:bodyPr>
          <a:p>
            <a:pPr algn="r" defTabSz="457200">
              <a:lnSpc>
                <a:spcPct val="100000"/>
              </a:lnSpc>
            </a:pPr>
            <a:r>
              <a:rPr b="1" lang="de-DE" sz="1100" spc="-1" strike="noStrike">
                <a:solidFill>
                  <a:schemeClr val="dk1"/>
                </a:solidFill>
                <a:latin typeface="Arial"/>
                <a:ea typeface="Arial"/>
              </a:rPr>
              <a:t>Seite </a:t>
            </a:r>
            <a:fld id="{43706DA8-9938-451C-896C-F9F9BC869004}" type="slidenum">
              <a:rPr b="1" lang="de-DE" sz="1100" spc="-1" strike="noStrike">
                <a:solidFill>
                  <a:schemeClr val="dk1"/>
                </a:solidFill>
                <a:latin typeface="Arial"/>
                <a:ea typeface="Arial"/>
              </a:rPr>
              <a:t>&lt;number&gt;</a:t>
            </a:fld>
            <a:endParaRPr b="0" lang="en-US" sz="1100" spc="-1" strike="noStrike">
              <a:solidFill>
                <a:srgbClr val="ffffff"/>
              </a:solidFill>
              <a:latin typeface="Calibri"/>
            </a:endParaRPr>
          </a:p>
        </p:txBody>
      </p:sp>
      <p:pic>
        <p:nvPicPr>
          <p:cNvPr id="110" name="Grafik 6" descr=""/>
          <p:cNvPicPr/>
          <p:nvPr/>
        </p:nvPicPr>
        <p:blipFill>
          <a:blip r:embed="rId2"/>
          <a:stretch/>
        </p:blipFill>
        <p:spPr>
          <a:xfrm>
            <a:off x="403200" y="6613920"/>
            <a:ext cx="325080" cy="100440"/>
          </a:xfrm>
          <a:prstGeom prst="rect">
            <a:avLst/>
          </a:prstGeom>
          <a:ln w="0">
            <a:noFill/>
          </a:ln>
        </p:spPr>
      </p:pic>
      <p:sp>
        <p:nvSpPr>
          <p:cNvPr id="111" name="PlaceHolder 1"/>
          <p:cNvSpPr>
            <a:spLocks noGrp="1"/>
          </p:cNvSpPr>
          <p:nvPr>
            <p:ph type="title"/>
          </p:nvPr>
        </p:nvSpPr>
        <p:spPr>
          <a:xfrm>
            <a:off x="407880" y="349560"/>
            <a:ext cx="11375640" cy="450720"/>
          </a:xfrm>
          <a:prstGeom prst="rect">
            <a:avLst/>
          </a:prstGeom>
          <a:noFill/>
          <a:ln w="0">
            <a:noFill/>
          </a:ln>
        </p:spPr>
        <p:txBody>
          <a:bodyPr lIns="0" rIns="0" tIns="0" bIns="0" anchor="t">
            <a:noAutofit/>
          </a:bodyPr>
          <a:p>
            <a:pPr indent="0" defTabSz="914400">
              <a:lnSpc>
                <a:spcPct val="90000"/>
              </a:lnSpc>
              <a:buNone/>
            </a:pPr>
            <a:r>
              <a:rPr b="1" lang="de-DE" sz="3000" spc="-1" strike="noStrike">
                <a:solidFill>
                  <a:schemeClr val="accent1"/>
                </a:solidFill>
                <a:latin typeface="Arial"/>
                <a:ea typeface="Arial"/>
              </a:rPr>
              <a:t>Mastertitelformat bearbeiten</a:t>
            </a:r>
            <a:endParaRPr b="0" lang="en-US" sz="3000" spc="-1" strike="noStrike">
              <a:solidFill>
                <a:schemeClr val="dk1"/>
              </a:solidFill>
              <a:latin typeface="Arial"/>
            </a:endParaRPr>
          </a:p>
        </p:txBody>
      </p:sp>
      <p:sp>
        <p:nvSpPr>
          <p:cNvPr id="112" name="PlaceHolder 2"/>
          <p:cNvSpPr>
            <a:spLocks noGrp="1"/>
          </p:cNvSpPr>
          <p:nvPr>
            <p:ph type="body"/>
          </p:nvPr>
        </p:nvSpPr>
        <p:spPr>
          <a:xfrm>
            <a:off x="407880" y="1406520"/>
            <a:ext cx="3708000" cy="5009760"/>
          </a:xfrm>
          <a:prstGeom prst="rect">
            <a:avLst/>
          </a:prstGeom>
          <a:noFill/>
          <a:ln w="0">
            <a:noFill/>
          </a:ln>
        </p:spPr>
        <p:txBody>
          <a:bodyPr lIns="0" rIns="0" tIns="0" bIns="0" anchor="t">
            <a:noAutofit/>
          </a:bodyPr>
          <a:p>
            <a:pPr marL="361800" indent="-361800" defTabSz="914400">
              <a:lnSpc>
                <a:spcPct val="110000"/>
              </a:lnSpc>
              <a:spcAft>
                <a:spcPts val="1199"/>
              </a:spcAft>
              <a:buClr>
                <a:srgbClr val="ffffff"/>
              </a:buClr>
              <a:buFont typeface="Arial"/>
              <a:buChar char="•"/>
              <a:tabLst>
                <a:tab algn="l" pos="361800"/>
              </a:tabLst>
            </a:pPr>
            <a:r>
              <a:rPr b="0" lang="de-DE" sz="1800" spc="-1" strike="noStrike">
                <a:solidFill>
                  <a:schemeClr val="lt1"/>
                </a:solidFill>
                <a:latin typeface="Arial"/>
                <a:ea typeface="Arial"/>
              </a:rPr>
              <a:t>Mastertextformat bearbeiten</a:t>
            </a:r>
            <a:endParaRPr b="0" lang="en-US" sz="1800" spc="-1" strike="noStrike">
              <a:solidFill>
                <a:schemeClr val="lt1"/>
              </a:solidFill>
              <a:latin typeface="Arial"/>
            </a:endParaRPr>
          </a:p>
          <a:p>
            <a:pPr lvl="1" marL="628560" indent="-266760" defTabSz="914400">
              <a:lnSpc>
                <a:spcPct val="110000"/>
              </a:lnSpc>
              <a:spcAft>
                <a:spcPts val="1199"/>
              </a:spcAft>
              <a:buClr>
                <a:srgbClr val="ffffff"/>
              </a:buClr>
              <a:buFont typeface="Arial"/>
              <a:buChar char="•"/>
              <a:tabLst>
                <a:tab algn="l" pos="361800"/>
              </a:tabLst>
            </a:pPr>
            <a:r>
              <a:rPr b="0" lang="de-DE" sz="1800" spc="-1" strike="noStrike">
                <a:solidFill>
                  <a:schemeClr val="lt1"/>
                </a:solidFill>
                <a:latin typeface="Arial"/>
                <a:ea typeface="Arial"/>
              </a:rPr>
              <a:t>Zweite Ebene</a:t>
            </a:r>
            <a:endParaRPr b="0" lang="en-US" sz="1800" spc="-1" strike="noStrike">
              <a:solidFill>
                <a:schemeClr val="lt1"/>
              </a:solidFill>
              <a:latin typeface="Arial"/>
            </a:endParaRPr>
          </a:p>
          <a:p>
            <a:pPr lvl="2" marL="895320" indent="-266760" defTabSz="914400">
              <a:lnSpc>
                <a:spcPct val="110000"/>
              </a:lnSpc>
              <a:spcAft>
                <a:spcPts val="1199"/>
              </a:spcAft>
              <a:buClr>
                <a:srgbClr val="ffffff"/>
              </a:buClr>
              <a:buFont typeface="Arial"/>
              <a:buChar char="•"/>
              <a:tabLst>
                <a:tab algn="l" pos="361800"/>
              </a:tabLst>
            </a:pPr>
            <a:r>
              <a:rPr b="0" lang="de-DE" sz="1800" spc="-1" strike="noStrike">
                <a:solidFill>
                  <a:schemeClr val="lt1"/>
                </a:solidFill>
                <a:latin typeface="Arial"/>
                <a:ea typeface="Arial"/>
              </a:rPr>
              <a:t>Dritte Ebene</a:t>
            </a:r>
            <a:endParaRPr b="0" lang="en-US" sz="1800" spc="-1" strike="noStrike">
              <a:solidFill>
                <a:schemeClr val="lt1"/>
              </a:solidFill>
              <a:latin typeface="Arial"/>
            </a:endParaRPr>
          </a:p>
          <a:p>
            <a:pPr lvl="3" marL="1162080" indent="-266760" defTabSz="914400">
              <a:lnSpc>
                <a:spcPct val="110000"/>
              </a:lnSpc>
              <a:spcAft>
                <a:spcPts val="1199"/>
              </a:spcAft>
              <a:buClr>
                <a:srgbClr val="ffffff"/>
              </a:buClr>
              <a:buFont typeface="Arial"/>
              <a:buChar char="•"/>
              <a:tabLst>
                <a:tab algn="l" pos="361800"/>
              </a:tabLst>
            </a:pPr>
            <a:r>
              <a:rPr b="0" lang="de-DE" sz="1800" spc="-1" strike="noStrike">
                <a:solidFill>
                  <a:schemeClr val="lt1"/>
                </a:solidFill>
                <a:latin typeface="Arial"/>
                <a:ea typeface="Arial"/>
              </a:rPr>
              <a:t>Vierte Ebene</a:t>
            </a:r>
            <a:endParaRPr b="0" lang="en-US" sz="1800" spc="-1" strike="noStrike">
              <a:solidFill>
                <a:schemeClr val="lt1"/>
              </a:solidFill>
              <a:latin typeface="Arial"/>
            </a:endParaRPr>
          </a:p>
          <a:p>
            <a:pPr lvl="4" marL="1438200" indent="-276120" defTabSz="914400">
              <a:lnSpc>
                <a:spcPct val="110000"/>
              </a:lnSpc>
              <a:spcAft>
                <a:spcPts val="1199"/>
              </a:spcAft>
              <a:buClr>
                <a:srgbClr val="ffffff"/>
              </a:buClr>
              <a:buFont typeface="Arial"/>
              <a:buChar char="•"/>
              <a:tabLst>
                <a:tab algn="l" pos="361800"/>
              </a:tabLst>
            </a:pPr>
            <a:r>
              <a:rPr b="0" lang="de-DE" sz="1800" spc="-1" strike="noStrike">
                <a:solidFill>
                  <a:schemeClr val="lt1"/>
                </a:solidFill>
                <a:latin typeface="Arial"/>
                <a:ea typeface="Arial"/>
              </a:rPr>
              <a:t>Fünfte Ebene</a:t>
            </a:r>
            <a:endParaRPr b="0" lang="en-US" sz="1800" spc="-1" strike="noStrike">
              <a:solidFill>
                <a:schemeClr val="lt1"/>
              </a:solidFill>
              <a:latin typeface="Arial"/>
            </a:endParaRPr>
          </a:p>
        </p:txBody>
      </p:sp>
      <p:sp>
        <p:nvSpPr>
          <p:cNvPr id="113" name="PlaceHolder 3"/>
          <p:cNvSpPr>
            <a:spLocks noGrp="1"/>
          </p:cNvSpPr>
          <p:nvPr>
            <p:ph type="ftr" idx="14"/>
          </p:nvPr>
        </p:nvSpPr>
        <p:spPr>
          <a:xfrm>
            <a:off x="791640" y="6580800"/>
            <a:ext cx="9948600" cy="186480"/>
          </a:xfrm>
          <a:prstGeom prst="rect">
            <a:avLst/>
          </a:prstGeom>
          <a:noFill/>
          <a:ln w="0">
            <a:noFill/>
          </a:ln>
        </p:spPr>
        <p:txBody>
          <a:bodyPr lIns="0" rIns="0" tIns="0" bIns="0" anchor="t">
            <a:noAutofit/>
          </a:bodyPr>
          <a:lstStyle>
            <a:lvl1pPr indent="0" defTabSz="457200">
              <a:lnSpc>
                <a:spcPct val="100000"/>
              </a:lnSpc>
              <a:buNone/>
              <a:defRPr b="0" lang="pt-BR" sz="1100" spc="-1" strike="noStrike">
                <a:solidFill>
                  <a:schemeClr val="lt1"/>
                </a:solidFill>
                <a:latin typeface="Arial"/>
                <a:ea typeface="Arial"/>
              </a:defRPr>
            </a:lvl1pPr>
          </a:lstStyle>
          <a:p>
            <a:pPr indent="0" defTabSz="457200">
              <a:lnSpc>
                <a:spcPct val="100000"/>
              </a:lnSpc>
              <a:buNone/>
            </a:pPr>
            <a:r>
              <a:rPr b="0" lang="pt-BR" sz="1100" spc="-1" strike="noStrike">
                <a:solidFill>
                  <a:schemeClr val="lt1"/>
                </a:solidFill>
                <a:latin typeface="Arial"/>
                <a:ea typeface="Arial"/>
              </a:rPr>
              <a:t>&lt;footer&gt;</a:t>
            </a:r>
            <a:endParaRPr b="0" lang="en-US" sz="1100" spc="-1" strike="noStrike">
              <a:solidFill>
                <a:srgbClr val="ffffff"/>
              </a:solidFill>
              <a:latin typeface="Calibri"/>
            </a:endParaRPr>
          </a:p>
        </p:txBody>
      </p:sp>
      <p:sp>
        <p:nvSpPr>
          <p:cNvPr id="114" name="PlaceHolder 4"/>
          <p:cNvSpPr>
            <a:spLocks noGrp="1"/>
          </p:cNvSpPr>
          <p:nvPr>
            <p:ph type="body"/>
          </p:nvPr>
        </p:nvSpPr>
        <p:spPr>
          <a:xfrm>
            <a:off x="407880" y="817560"/>
            <a:ext cx="11375640" cy="378720"/>
          </a:xfrm>
          <a:prstGeom prst="rect">
            <a:avLst/>
          </a:prstGeom>
          <a:noFill/>
          <a:ln w="0">
            <a:noFill/>
          </a:ln>
        </p:spPr>
        <p:txBody>
          <a:bodyPr lIns="0" rIns="0" tIns="0" bIns="0" anchor="t">
            <a:noAutofit/>
          </a:bodyPr>
          <a:p>
            <a:pPr indent="0" defTabSz="914400">
              <a:lnSpc>
                <a:spcPct val="110000"/>
              </a:lnSpc>
              <a:buNone/>
              <a:tabLst>
                <a:tab algn="l" pos="0"/>
              </a:tabLst>
            </a:pPr>
            <a:r>
              <a:rPr b="1" lang="de-DE" sz="1800" spc="-1" strike="noStrike">
                <a:solidFill>
                  <a:schemeClr val="accent2"/>
                </a:solidFill>
                <a:latin typeface="Arial"/>
                <a:ea typeface="Arial"/>
              </a:rPr>
              <a:t>Unterüberschrift</a:t>
            </a:r>
            <a:endParaRPr b="0" lang="en-US" sz="1800" spc="-1" strike="noStrike">
              <a:solidFill>
                <a:schemeClr val="lt1"/>
              </a:solidFill>
              <a:latin typeface="Arial"/>
            </a:endParaRPr>
          </a:p>
        </p:txBody>
      </p:sp>
      <p:sp>
        <p:nvSpPr>
          <p:cNvPr id="115" name="PlaceHolder 5"/>
          <p:cNvSpPr>
            <a:spLocks noGrp="1"/>
          </p:cNvSpPr>
          <p:nvPr>
            <p:ph type="body"/>
          </p:nvPr>
        </p:nvSpPr>
        <p:spPr>
          <a:xfrm>
            <a:off x="4259160" y="1406520"/>
            <a:ext cx="3673080" cy="5009760"/>
          </a:xfrm>
          <a:prstGeom prst="rect">
            <a:avLst/>
          </a:prstGeom>
          <a:noFill/>
          <a:ln w="0">
            <a:noFill/>
          </a:ln>
        </p:spPr>
        <p:txBody>
          <a:bodyPr lIns="0" rIns="0" tIns="0" bIns="0" anchor="t">
            <a:noAutofit/>
          </a:bodyPr>
          <a:p>
            <a:pPr marL="361800" indent="-361800" defTabSz="914400">
              <a:lnSpc>
                <a:spcPct val="110000"/>
              </a:lnSpc>
              <a:spcAft>
                <a:spcPts val="1199"/>
              </a:spcAft>
              <a:buClr>
                <a:srgbClr val="ffffff"/>
              </a:buClr>
              <a:buFont typeface="Arial"/>
              <a:buChar char="•"/>
              <a:tabLst>
                <a:tab algn="l" pos="361800"/>
              </a:tabLst>
            </a:pPr>
            <a:r>
              <a:rPr b="0" lang="de-DE" sz="1800" spc="-1" strike="noStrike">
                <a:solidFill>
                  <a:schemeClr val="lt1"/>
                </a:solidFill>
                <a:latin typeface="Arial"/>
                <a:ea typeface="Arial"/>
              </a:rPr>
              <a:t>Mastertextformat bearbeiten</a:t>
            </a:r>
            <a:endParaRPr b="0" lang="en-US" sz="1800" spc="-1" strike="noStrike">
              <a:solidFill>
                <a:schemeClr val="lt1"/>
              </a:solidFill>
              <a:latin typeface="Arial"/>
            </a:endParaRPr>
          </a:p>
          <a:p>
            <a:pPr lvl="1" marL="628560" indent="-266760" defTabSz="914400">
              <a:lnSpc>
                <a:spcPct val="110000"/>
              </a:lnSpc>
              <a:spcAft>
                <a:spcPts val="1199"/>
              </a:spcAft>
              <a:buClr>
                <a:srgbClr val="ffffff"/>
              </a:buClr>
              <a:buFont typeface="Arial"/>
              <a:buChar char="•"/>
              <a:tabLst>
                <a:tab algn="l" pos="361800"/>
              </a:tabLst>
            </a:pPr>
            <a:r>
              <a:rPr b="0" lang="de-DE" sz="1800" spc="-1" strike="noStrike">
                <a:solidFill>
                  <a:schemeClr val="lt1"/>
                </a:solidFill>
                <a:latin typeface="Arial"/>
                <a:ea typeface="Arial"/>
              </a:rPr>
              <a:t>Zweite Ebene</a:t>
            </a:r>
            <a:endParaRPr b="0" lang="en-US" sz="1800" spc="-1" strike="noStrike">
              <a:solidFill>
                <a:schemeClr val="lt1"/>
              </a:solidFill>
              <a:latin typeface="Arial"/>
            </a:endParaRPr>
          </a:p>
          <a:p>
            <a:pPr lvl="2" marL="895320" indent="-266760" defTabSz="914400">
              <a:lnSpc>
                <a:spcPct val="110000"/>
              </a:lnSpc>
              <a:spcAft>
                <a:spcPts val="1199"/>
              </a:spcAft>
              <a:buClr>
                <a:srgbClr val="ffffff"/>
              </a:buClr>
              <a:buFont typeface="Arial"/>
              <a:buChar char="•"/>
              <a:tabLst>
                <a:tab algn="l" pos="361800"/>
              </a:tabLst>
            </a:pPr>
            <a:r>
              <a:rPr b="0" lang="de-DE" sz="1800" spc="-1" strike="noStrike">
                <a:solidFill>
                  <a:schemeClr val="lt1"/>
                </a:solidFill>
                <a:latin typeface="Arial"/>
                <a:ea typeface="Arial"/>
              </a:rPr>
              <a:t>Dritte Ebene</a:t>
            </a:r>
            <a:endParaRPr b="0" lang="en-US" sz="1800" spc="-1" strike="noStrike">
              <a:solidFill>
                <a:schemeClr val="lt1"/>
              </a:solidFill>
              <a:latin typeface="Arial"/>
            </a:endParaRPr>
          </a:p>
          <a:p>
            <a:pPr lvl="3" marL="1162080" indent="-266760" defTabSz="914400">
              <a:lnSpc>
                <a:spcPct val="110000"/>
              </a:lnSpc>
              <a:spcAft>
                <a:spcPts val="1199"/>
              </a:spcAft>
              <a:buClr>
                <a:srgbClr val="ffffff"/>
              </a:buClr>
              <a:buFont typeface="Arial"/>
              <a:buChar char="•"/>
              <a:tabLst>
                <a:tab algn="l" pos="361800"/>
              </a:tabLst>
            </a:pPr>
            <a:r>
              <a:rPr b="0" lang="de-DE" sz="1800" spc="-1" strike="noStrike">
                <a:solidFill>
                  <a:schemeClr val="lt1"/>
                </a:solidFill>
                <a:latin typeface="Arial"/>
                <a:ea typeface="Arial"/>
              </a:rPr>
              <a:t>Vierte Ebene</a:t>
            </a:r>
            <a:endParaRPr b="0" lang="en-US" sz="1800" spc="-1" strike="noStrike">
              <a:solidFill>
                <a:schemeClr val="lt1"/>
              </a:solidFill>
              <a:latin typeface="Arial"/>
            </a:endParaRPr>
          </a:p>
          <a:p>
            <a:pPr lvl="4" marL="1438200" indent="-276120" defTabSz="914400">
              <a:lnSpc>
                <a:spcPct val="110000"/>
              </a:lnSpc>
              <a:spcAft>
                <a:spcPts val="1199"/>
              </a:spcAft>
              <a:buClr>
                <a:srgbClr val="ffffff"/>
              </a:buClr>
              <a:buFont typeface="Arial"/>
              <a:buChar char="•"/>
              <a:tabLst>
                <a:tab algn="l" pos="361800"/>
              </a:tabLst>
            </a:pPr>
            <a:r>
              <a:rPr b="0" lang="de-DE" sz="1800" spc="-1" strike="noStrike">
                <a:solidFill>
                  <a:schemeClr val="lt1"/>
                </a:solidFill>
                <a:latin typeface="Arial"/>
                <a:ea typeface="Arial"/>
              </a:rPr>
              <a:t>Fünfte Ebene</a:t>
            </a:r>
            <a:endParaRPr b="0" lang="en-US" sz="1800" spc="-1" strike="noStrike">
              <a:solidFill>
                <a:schemeClr val="lt1"/>
              </a:solidFill>
              <a:latin typeface="Arial"/>
            </a:endParaRPr>
          </a:p>
        </p:txBody>
      </p:sp>
      <p:sp>
        <p:nvSpPr>
          <p:cNvPr id="116" name="PlaceHolder 6"/>
          <p:cNvSpPr>
            <a:spLocks noGrp="1"/>
          </p:cNvSpPr>
          <p:nvPr>
            <p:ph type="body"/>
          </p:nvPr>
        </p:nvSpPr>
        <p:spPr>
          <a:xfrm>
            <a:off x="8075520" y="1406520"/>
            <a:ext cx="3708000" cy="5009760"/>
          </a:xfrm>
          <a:prstGeom prst="rect">
            <a:avLst/>
          </a:prstGeom>
          <a:noFill/>
          <a:ln w="0">
            <a:noFill/>
          </a:ln>
        </p:spPr>
        <p:txBody>
          <a:bodyPr lIns="0" rIns="0" tIns="0" bIns="0" anchor="t">
            <a:noAutofit/>
          </a:bodyPr>
          <a:p>
            <a:pPr marL="361800" indent="-361800" defTabSz="914400">
              <a:lnSpc>
                <a:spcPct val="110000"/>
              </a:lnSpc>
              <a:spcAft>
                <a:spcPts val="1199"/>
              </a:spcAft>
              <a:buClr>
                <a:srgbClr val="ffffff"/>
              </a:buClr>
              <a:buFont typeface="Arial"/>
              <a:buChar char="•"/>
              <a:tabLst>
                <a:tab algn="l" pos="361800"/>
              </a:tabLst>
            </a:pPr>
            <a:r>
              <a:rPr b="0" lang="de-DE" sz="1800" spc="-1" strike="noStrike">
                <a:solidFill>
                  <a:schemeClr val="lt1"/>
                </a:solidFill>
                <a:latin typeface="Arial"/>
                <a:ea typeface="Arial"/>
              </a:rPr>
              <a:t>Mastertextformat bearbeiten</a:t>
            </a:r>
            <a:endParaRPr b="0" lang="en-US" sz="1800" spc="-1" strike="noStrike">
              <a:solidFill>
                <a:schemeClr val="lt1"/>
              </a:solidFill>
              <a:latin typeface="Arial"/>
            </a:endParaRPr>
          </a:p>
          <a:p>
            <a:pPr lvl="1" marL="628560" indent="-266760" defTabSz="914400">
              <a:lnSpc>
                <a:spcPct val="110000"/>
              </a:lnSpc>
              <a:spcAft>
                <a:spcPts val="1199"/>
              </a:spcAft>
              <a:buClr>
                <a:srgbClr val="ffffff"/>
              </a:buClr>
              <a:buFont typeface="Arial"/>
              <a:buChar char="•"/>
              <a:tabLst>
                <a:tab algn="l" pos="361800"/>
              </a:tabLst>
            </a:pPr>
            <a:r>
              <a:rPr b="0" lang="de-DE" sz="1800" spc="-1" strike="noStrike">
                <a:solidFill>
                  <a:schemeClr val="lt1"/>
                </a:solidFill>
                <a:latin typeface="Arial"/>
                <a:ea typeface="Arial"/>
              </a:rPr>
              <a:t>Zweite Ebene</a:t>
            </a:r>
            <a:endParaRPr b="0" lang="en-US" sz="1800" spc="-1" strike="noStrike">
              <a:solidFill>
                <a:schemeClr val="lt1"/>
              </a:solidFill>
              <a:latin typeface="Arial"/>
            </a:endParaRPr>
          </a:p>
          <a:p>
            <a:pPr lvl="2" marL="895320" indent="-266760" defTabSz="914400">
              <a:lnSpc>
                <a:spcPct val="110000"/>
              </a:lnSpc>
              <a:spcAft>
                <a:spcPts val="1199"/>
              </a:spcAft>
              <a:buClr>
                <a:srgbClr val="ffffff"/>
              </a:buClr>
              <a:buFont typeface="Arial"/>
              <a:buChar char="•"/>
              <a:tabLst>
                <a:tab algn="l" pos="361800"/>
              </a:tabLst>
            </a:pPr>
            <a:r>
              <a:rPr b="0" lang="de-DE" sz="1800" spc="-1" strike="noStrike">
                <a:solidFill>
                  <a:schemeClr val="lt1"/>
                </a:solidFill>
                <a:latin typeface="Arial"/>
                <a:ea typeface="Arial"/>
              </a:rPr>
              <a:t>Dritte Ebene</a:t>
            </a:r>
            <a:endParaRPr b="0" lang="en-US" sz="1800" spc="-1" strike="noStrike">
              <a:solidFill>
                <a:schemeClr val="lt1"/>
              </a:solidFill>
              <a:latin typeface="Arial"/>
            </a:endParaRPr>
          </a:p>
          <a:p>
            <a:pPr lvl="3" marL="1162080" indent="-266760" defTabSz="914400">
              <a:lnSpc>
                <a:spcPct val="110000"/>
              </a:lnSpc>
              <a:spcAft>
                <a:spcPts val="1199"/>
              </a:spcAft>
              <a:buClr>
                <a:srgbClr val="ffffff"/>
              </a:buClr>
              <a:buFont typeface="Arial"/>
              <a:buChar char="•"/>
              <a:tabLst>
                <a:tab algn="l" pos="361800"/>
              </a:tabLst>
            </a:pPr>
            <a:r>
              <a:rPr b="0" lang="de-DE" sz="1800" spc="-1" strike="noStrike">
                <a:solidFill>
                  <a:schemeClr val="lt1"/>
                </a:solidFill>
                <a:latin typeface="Arial"/>
                <a:ea typeface="Arial"/>
              </a:rPr>
              <a:t>Vierte Ebene</a:t>
            </a:r>
            <a:endParaRPr b="0" lang="en-US" sz="1800" spc="-1" strike="noStrike">
              <a:solidFill>
                <a:schemeClr val="lt1"/>
              </a:solidFill>
              <a:latin typeface="Arial"/>
            </a:endParaRPr>
          </a:p>
          <a:p>
            <a:pPr lvl="4" marL="1438200" indent="-276120" defTabSz="914400">
              <a:lnSpc>
                <a:spcPct val="110000"/>
              </a:lnSpc>
              <a:spcAft>
                <a:spcPts val="1199"/>
              </a:spcAft>
              <a:buClr>
                <a:srgbClr val="ffffff"/>
              </a:buClr>
              <a:buFont typeface="Arial"/>
              <a:buChar char="•"/>
              <a:tabLst>
                <a:tab algn="l" pos="361800"/>
              </a:tabLst>
            </a:pPr>
            <a:r>
              <a:rPr b="0" lang="de-DE" sz="1800" spc="-1" strike="noStrike">
                <a:solidFill>
                  <a:schemeClr val="lt1"/>
                </a:solidFill>
                <a:latin typeface="Arial"/>
                <a:ea typeface="Arial"/>
              </a:rPr>
              <a:t>Fünfte Ebene</a:t>
            </a:r>
            <a:endParaRPr b="0" lang="en-US" sz="1800" spc="-1" strike="noStrike">
              <a:solidFill>
                <a:schemeClr val="lt1"/>
              </a:solidFill>
              <a:latin typeface="Arial"/>
            </a:endParaRPr>
          </a:p>
        </p:txBody>
      </p:sp>
    </p:spTree>
  </p:cSld>
  <p:clrMap bg1="lt1" tx1="dk1" bg2="lt2" tx2="dk2" accent1="accent1" accent2="accent2" accent3="accent3" accent4="accent4" accent5="accent5" accent6="accent6" hlink="hlink" folHlink="folHlink"/>
  <p:sldLayoutIdLst>
    <p:sldLayoutId id="2147483683" r:id="rId3"/>
  </p:sldLayoutIdLst>
</p:sldMaster>
</file>

<file path=ppt/slideMasters/slideMaster19.xml><?xml version="1.0" encoding="utf-8"?>
<p:sldMaster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p:cSld>
    <p:bg>
      <p:bgPr>
        <a:solidFill>
          <a:srgbClr val="002060"/>
        </a:solidFill>
      </p:bgPr>
    </p:bg>
    <p:spTree>
      <p:nvGrpSpPr>
        <p:cNvPr id="1" name=""/>
        <p:cNvGrpSpPr/>
        <p:nvPr/>
      </p:nvGrpSpPr>
      <p:grpSpPr>
        <a:xfrm>
          <a:off x="0" y="0"/>
          <a:ext cx="0" cy="0"/>
          <a:chOff x="0" y="0"/>
          <a:chExt cx="0" cy="0"/>
        </a:xfrm>
      </p:grpSpPr>
      <p:sp>
        <p:nvSpPr>
          <p:cNvPr id="117" name="Textfeld 13"/>
          <p:cNvSpPr/>
          <p:nvPr/>
        </p:nvSpPr>
        <p:spPr>
          <a:xfrm>
            <a:off x="10848600" y="6580800"/>
            <a:ext cx="935280" cy="186480"/>
          </a:xfrm>
          <a:prstGeom prst="rect">
            <a:avLst/>
          </a:prstGeom>
          <a:noFill/>
          <a:ln w="0">
            <a:noFill/>
          </a:ln>
        </p:spPr>
        <p:style>
          <a:lnRef idx="0"/>
          <a:fillRef idx="0"/>
          <a:effectRef idx="0"/>
          <a:fontRef idx="minor"/>
        </p:style>
        <p:txBody>
          <a:bodyPr lIns="0" rIns="0" tIns="0" bIns="0" anchor="t">
            <a:noAutofit/>
          </a:bodyPr>
          <a:p>
            <a:pPr algn="r" defTabSz="457200">
              <a:lnSpc>
                <a:spcPct val="100000"/>
              </a:lnSpc>
            </a:pPr>
            <a:r>
              <a:rPr b="1" lang="de-DE" sz="1100" spc="-1" strike="noStrike">
                <a:solidFill>
                  <a:schemeClr val="dk1"/>
                </a:solidFill>
                <a:latin typeface="Arial"/>
                <a:ea typeface="Arial"/>
              </a:rPr>
              <a:t>Seite </a:t>
            </a:r>
            <a:fld id="{3D935242-71E8-435E-9EC0-EA2E0B23B7A8}" type="slidenum">
              <a:rPr b="1" lang="de-DE" sz="1100" spc="-1" strike="noStrike">
                <a:solidFill>
                  <a:schemeClr val="dk1"/>
                </a:solidFill>
                <a:latin typeface="Arial"/>
                <a:ea typeface="Arial"/>
              </a:rPr>
              <a:t>&lt;number&gt;</a:t>
            </a:fld>
            <a:endParaRPr b="0" lang="en-US" sz="1100" spc="-1" strike="noStrike">
              <a:solidFill>
                <a:srgbClr val="ffffff"/>
              </a:solidFill>
              <a:latin typeface="Calibri"/>
            </a:endParaRPr>
          </a:p>
        </p:txBody>
      </p:sp>
      <p:pic>
        <p:nvPicPr>
          <p:cNvPr id="118" name="Grafik 6" descr=""/>
          <p:cNvPicPr/>
          <p:nvPr/>
        </p:nvPicPr>
        <p:blipFill>
          <a:blip r:embed="rId2"/>
          <a:stretch/>
        </p:blipFill>
        <p:spPr>
          <a:xfrm>
            <a:off x="403200" y="6613920"/>
            <a:ext cx="325080" cy="100440"/>
          </a:xfrm>
          <a:prstGeom prst="rect">
            <a:avLst/>
          </a:prstGeom>
          <a:ln w="0">
            <a:noFill/>
          </a:ln>
        </p:spPr>
      </p:pic>
      <p:sp>
        <p:nvSpPr>
          <p:cNvPr id="119" name="PlaceHolder 1"/>
          <p:cNvSpPr>
            <a:spLocks noGrp="1"/>
          </p:cNvSpPr>
          <p:nvPr>
            <p:ph type="title"/>
          </p:nvPr>
        </p:nvSpPr>
        <p:spPr>
          <a:xfrm>
            <a:off x="407880" y="349560"/>
            <a:ext cx="11375640" cy="450720"/>
          </a:xfrm>
          <a:prstGeom prst="rect">
            <a:avLst/>
          </a:prstGeom>
          <a:noFill/>
          <a:ln w="0">
            <a:noFill/>
          </a:ln>
        </p:spPr>
        <p:txBody>
          <a:bodyPr lIns="0" rIns="0" tIns="0" bIns="0" anchor="t">
            <a:noAutofit/>
          </a:bodyPr>
          <a:p>
            <a:pPr indent="0" defTabSz="914400">
              <a:lnSpc>
                <a:spcPct val="90000"/>
              </a:lnSpc>
              <a:buNone/>
            </a:pPr>
            <a:r>
              <a:rPr b="1" lang="de-DE" sz="3000" spc="-1" strike="noStrike">
                <a:solidFill>
                  <a:schemeClr val="accent1"/>
                </a:solidFill>
                <a:latin typeface="Arial"/>
                <a:ea typeface="Arial"/>
              </a:rPr>
              <a:t>Mastertitelformat bearbeiten</a:t>
            </a:r>
            <a:endParaRPr b="0" lang="en-US" sz="3000" spc="-1" strike="noStrike">
              <a:solidFill>
                <a:schemeClr val="dk1"/>
              </a:solidFill>
              <a:latin typeface="Arial"/>
            </a:endParaRPr>
          </a:p>
        </p:txBody>
      </p:sp>
      <p:sp>
        <p:nvSpPr>
          <p:cNvPr id="120" name="PlaceHolder 2"/>
          <p:cNvSpPr>
            <a:spLocks noGrp="1"/>
          </p:cNvSpPr>
          <p:nvPr>
            <p:ph type="ftr" idx="15"/>
          </p:nvPr>
        </p:nvSpPr>
        <p:spPr>
          <a:xfrm>
            <a:off x="791640" y="6580800"/>
            <a:ext cx="9948600" cy="186480"/>
          </a:xfrm>
          <a:prstGeom prst="rect">
            <a:avLst/>
          </a:prstGeom>
          <a:noFill/>
          <a:ln w="0">
            <a:noFill/>
          </a:ln>
        </p:spPr>
        <p:txBody>
          <a:bodyPr lIns="0" rIns="0" tIns="0" bIns="0" anchor="t">
            <a:noAutofit/>
          </a:bodyPr>
          <a:lstStyle>
            <a:lvl1pPr indent="0" defTabSz="457200">
              <a:lnSpc>
                <a:spcPct val="100000"/>
              </a:lnSpc>
              <a:buNone/>
              <a:defRPr b="0" lang="pt-BR" sz="1100" spc="-1" strike="noStrike">
                <a:solidFill>
                  <a:schemeClr val="lt1"/>
                </a:solidFill>
                <a:latin typeface="Arial"/>
                <a:ea typeface="Arial"/>
              </a:defRPr>
            </a:lvl1pPr>
          </a:lstStyle>
          <a:p>
            <a:pPr indent="0" defTabSz="457200">
              <a:lnSpc>
                <a:spcPct val="100000"/>
              </a:lnSpc>
              <a:buNone/>
            </a:pPr>
            <a:r>
              <a:rPr b="0" lang="pt-BR" sz="1100" spc="-1" strike="noStrike">
                <a:solidFill>
                  <a:schemeClr val="lt1"/>
                </a:solidFill>
                <a:latin typeface="Arial"/>
                <a:ea typeface="Arial"/>
              </a:rPr>
              <a:t>&lt;footer&gt;</a:t>
            </a:r>
            <a:endParaRPr b="0" lang="en-US" sz="1100" spc="-1" strike="noStrike">
              <a:solidFill>
                <a:srgbClr val="ffffff"/>
              </a:solidFill>
              <a:latin typeface="Calibri"/>
            </a:endParaRPr>
          </a:p>
        </p:txBody>
      </p:sp>
      <p:sp>
        <p:nvSpPr>
          <p:cNvPr id="121" name="PlaceHolder 3"/>
          <p:cNvSpPr>
            <a:spLocks noGrp="1"/>
          </p:cNvSpPr>
          <p:nvPr>
            <p:ph type="body"/>
          </p:nvPr>
        </p:nvSpPr>
        <p:spPr>
          <a:xfrm>
            <a:off x="407880" y="817560"/>
            <a:ext cx="11375640" cy="378720"/>
          </a:xfrm>
          <a:prstGeom prst="rect">
            <a:avLst/>
          </a:prstGeom>
          <a:noFill/>
          <a:ln w="0">
            <a:noFill/>
          </a:ln>
        </p:spPr>
        <p:txBody>
          <a:bodyPr lIns="0" rIns="0" tIns="0" bIns="0" anchor="t">
            <a:noAutofit/>
          </a:bodyPr>
          <a:p>
            <a:pPr indent="0" defTabSz="914400">
              <a:lnSpc>
                <a:spcPct val="110000"/>
              </a:lnSpc>
              <a:buNone/>
              <a:tabLst>
                <a:tab algn="l" pos="0"/>
              </a:tabLst>
            </a:pPr>
            <a:r>
              <a:rPr b="1" lang="de-DE" sz="1800" spc="-1" strike="noStrike">
                <a:solidFill>
                  <a:schemeClr val="accent2"/>
                </a:solidFill>
                <a:latin typeface="Arial"/>
                <a:ea typeface="Arial"/>
              </a:rPr>
              <a:t>Unterüberschrift</a:t>
            </a:r>
            <a:endParaRPr b="0" lang="en-US" sz="1800" spc="-1" strike="noStrike">
              <a:solidFill>
                <a:schemeClr val="lt1"/>
              </a:solidFill>
              <a:latin typeface="Arial"/>
            </a:endParaRPr>
          </a:p>
        </p:txBody>
      </p:sp>
      <p:sp>
        <p:nvSpPr>
          <p:cNvPr id="122" name="PlaceHolder 4"/>
          <p:cNvSpPr>
            <a:spLocks noGrp="1"/>
          </p:cNvSpPr>
          <p:nvPr>
            <p:ph type="body"/>
          </p:nvPr>
        </p:nvSpPr>
        <p:spPr>
          <a:xfrm>
            <a:off x="407880" y="1406520"/>
            <a:ext cx="5616360" cy="2454120"/>
          </a:xfrm>
          <a:prstGeom prst="rect">
            <a:avLst/>
          </a:prstGeom>
          <a:noFill/>
          <a:ln w="0">
            <a:noFill/>
          </a:ln>
        </p:spPr>
        <p:txBody>
          <a:bodyPr lIns="0" rIns="0" tIns="0" bIns="0" anchor="t">
            <a:noAutofit/>
          </a:bodyPr>
          <a:p>
            <a:pPr marL="361800" indent="-361800" defTabSz="914400">
              <a:lnSpc>
                <a:spcPct val="110000"/>
              </a:lnSpc>
              <a:spcAft>
                <a:spcPts val="1199"/>
              </a:spcAft>
              <a:buClr>
                <a:srgbClr val="ffffff"/>
              </a:buClr>
              <a:buFont typeface="Arial"/>
              <a:buChar char="•"/>
              <a:tabLst>
                <a:tab algn="l" pos="361800"/>
              </a:tabLst>
            </a:pPr>
            <a:r>
              <a:rPr b="0" lang="de-DE" sz="1800" spc="-1" strike="noStrike">
                <a:solidFill>
                  <a:schemeClr val="lt1"/>
                </a:solidFill>
                <a:latin typeface="Arial"/>
                <a:ea typeface="Arial"/>
              </a:rPr>
              <a:t>Mastertextformat bearbeiten</a:t>
            </a:r>
            <a:endParaRPr b="0" lang="en-US" sz="1800" spc="-1" strike="noStrike">
              <a:solidFill>
                <a:schemeClr val="lt1"/>
              </a:solidFill>
              <a:latin typeface="Arial"/>
            </a:endParaRPr>
          </a:p>
          <a:p>
            <a:pPr lvl="1" marL="628560" indent="-266760" defTabSz="914400">
              <a:lnSpc>
                <a:spcPct val="110000"/>
              </a:lnSpc>
              <a:spcAft>
                <a:spcPts val="1199"/>
              </a:spcAft>
              <a:buClr>
                <a:srgbClr val="ffffff"/>
              </a:buClr>
              <a:buFont typeface="Arial"/>
              <a:buChar char="•"/>
              <a:tabLst>
                <a:tab algn="l" pos="361800"/>
              </a:tabLst>
            </a:pPr>
            <a:r>
              <a:rPr b="0" lang="de-DE" sz="1800" spc="-1" strike="noStrike">
                <a:solidFill>
                  <a:schemeClr val="lt1"/>
                </a:solidFill>
                <a:latin typeface="Arial"/>
                <a:ea typeface="Arial"/>
              </a:rPr>
              <a:t>Zweite Ebene</a:t>
            </a:r>
            <a:endParaRPr b="0" lang="en-US" sz="1800" spc="-1" strike="noStrike">
              <a:solidFill>
                <a:schemeClr val="lt1"/>
              </a:solidFill>
              <a:latin typeface="Arial"/>
            </a:endParaRPr>
          </a:p>
          <a:p>
            <a:pPr lvl="2" marL="895320" indent="-266760" defTabSz="914400">
              <a:lnSpc>
                <a:spcPct val="110000"/>
              </a:lnSpc>
              <a:spcAft>
                <a:spcPts val="1199"/>
              </a:spcAft>
              <a:buClr>
                <a:srgbClr val="ffffff"/>
              </a:buClr>
              <a:buFont typeface="Arial"/>
              <a:buChar char="•"/>
              <a:tabLst>
                <a:tab algn="l" pos="361800"/>
              </a:tabLst>
            </a:pPr>
            <a:r>
              <a:rPr b="0" lang="de-DE" sz="1800" spc="-1" strike="noStrike">
                <a:solidFill>
                  <a:schemeClr val="lt1"/>
                </a:solidFill>
                <a:latin typeface="Arial"/>
                <a:ea typeface="Arial"/>
              </a:rPr>
              <a:t>Dritte Ebene</a:t>
            </a:r>
            <a:endParaRPr b="0" lang="en-US" sz="1800" spc="-1" strike="noStrike">
              <a:solidFill>
                <a:schemeClr val="lt1"/>
              </a:solidFill>
              <a:latin typeface="Arial"/>
            </a:endParaRPr>
          </a:p>
          <a:p>
            <a:pPr lvl="3" marL="1162080" indent="-266760" defTabSz="914400">
              <a:lnSpc>
                <a:spcPct val="110000"/>
              </a:lnSpc>
              <a:spcAft>
                <a:spcPts val="1199"/>
              </a:spcAft>
              <a:buClr>
                <a:srgbClr val="ffffff"/>
              </a:buClr>
              <a:buFont typeface="Arial"/>
              <a:buChar char="•"/>
              <a:tabLst>
                <a:tab algn="l" pos="361800"/>
              </a:tabLst>
            </a:pPr>
            <a:r>
              <a:rPr b="0" lang="de-DE" sz="1800" spc="-1" strike="noStrike">
                <a:solidFill>
                  <a:schemeClr val="lt1"/>
                </a:solidFill>
                <a:latin typeface="Arial"/>
                <a:ea typeface="Arial"/>
              </a:rPr>
              <a:t>Vierte Ebene</a:t>
            </a:r>
            <a:endParaRPr b="0" lang="en-US" sz="1800" spc="-1" strike="noStrike">
              <a:solidFill>
                <a:schemeClr val="lt1"/>
              </a:solidFill>
              <a:latin typeface="Arial"/>
            </a:endParaRPr>
          </a:p>
          <a:p>
            <a:pPr lvl="4" marL="1438200" indent="-276120" defTabSz="914400">
              <a:lnSpc>
                <a:spcPct val="110000"/>
              </a:lnSpc>
              <a:spcAft>
                <a:spcPts val="1199"/>
              </a:spcAft>
              <a:buClr>
                <a:srgbClr val="ffffff"/>
              </a:buClr>
              <a:buFont typeface="Arial"/>
              <a:buChar char="•"/>
              <a:tabLst>
                <a:tab algn="l" pos="361800"/>
              </a:tabLst>
            </a:pPr>
            <a:r>
              <a:rPr b="0" lang="de-DE" sz="1800" spc="-1" strike="noStrike">
                <a:solidFill>
                  <a:schemeClr val="lt1"/>
                </a:solidFill>
                <a:latin typeface="Arial"/>
                <a:ea typeface="Arial"/>
              </a:rPr>
              <a:t>Fünfte Ebene</a:t>
            </a:r>
            <a:endParaRPr b="0" lang="en-US" sz="1800" spc="-1" strike="noStrike">
              <a:solidFill>
                <a:schemeClr val="lt1"/>
              </a:solidFill>
              <a:latin typeface="Arial"/>
            </a:endParaRPr>
          </a:p>
        </p:txBody>
      </p:sp>
      <p:sp>
        <p:nvSpPr>
          <p:cNvPr id="123" name="PlaceHolder 5"/>
          <p:cNvSpPr>
            <a:spLocks noGrp="1"/>
          </p:cNvSpPr>
          <p:nvPr>
            <p:ph type="body"/>
          </p:nvPr>
        </p:nvSpPr>
        <p:spPr>
          <a:xfrm>
            <a:off x="407880" y="3963600"/>
            <a:ext cx="5616360" cy="2454120"/>
          </a:xfrm>
          <a:prstGeom prst="rect">
            <a:avLst/>
          </a:prstGeom>
          <a:noFill/>
          <a:ln w="0">
            <a:noFill/>
          </a:ln>
        </p:spPr>
        <p:txBody>
          <a:bodyPr lIns="0" rIns="0" tIns="0" bIns="0" anchor="t">
            <a:noAutofit/>
          </a:bodyPr>
          <a:p>
            <a:pPr marL="361800" indent="-361800" defTabSz="914400">
              <a:lnSpc>
                <a:spcPct val="110000"/>
              </a:lnSpc>
              <a:spcAft>
                <a:spcPts val="1199"/>
              </a:spcAft>
              <a:buClr>
                <a:srgbClr val="ffffff"/>
              </a:buClr>
              <a:buFont typeface="Arial"/>
              <a:buChar char="•"/>
              <a:tabLst>
                <a:tab algn="l" pos="361800"/>
              </a:tabLst>
            </a:pPr>
            <a:r>
              <a:rPr b="0" lang="de-DE" sz="1800" spc="-1" strike="noStrike">
                <a:solidFill>
                  <a:schemeClr val="lt1"/>
                </a:solidFill>
                <a:latin typeface="Arial"/>
                <a:ea typeface="Arial"/>
              </a:rPr>
              <a:t>Mastertextformat bearbeiten</a:t>
            </a:r>
            <a:endParaRPr b="0" lang="en-US" sz="1800" spc="-1" strike="noStrike">
              <a:solidFill>
                <a:schemeClr val="lt1"/>
              </a:solidFill>
              <a:latin typeface="Arial"/>
            </a:endParaRPr>
          </a:p>
          <a:p>
            <a:pPr lvl="1" marL="628560" indent="-266760" defTabSz="914400">
              <a:lnSpc>
                <a:spcPct val="110000"/>
              </a:lnSpc>
              <a:spcAft>
                <a:spcPts val="1199"/>
              </a:spcAft>
              <a:buClr>
                <a:srgbClr val="ffffff"/>
              </a:buClr>
              <a:buFont typeface="Arial"/>
              <a:buChar char="•"/>
              <a:tabLst>
                <a:tab algn="l" pos="361800"/>
              </a:tabLst>
            </a:pPr>
            <a:r>
              <a:rPr b="0" lang="de-DE" sz="1800" spc="-1" strike="noStrike">
                <a:solidFill>
                  <a:schemeClr val="lt1"/>
                </a:solidFill>
                <a:latin typeface="Arial"/>
                <a:ea typeface="Arial"/>
              </a:rPr>
              <a:t>Zweite Ebene</a:t>
            </a:r>
            <a:endParaRPr b="0" lang="en-US" sz="1800" spc="-1" strike="noStrike">
              <a:solidFill>
                <a:schemeClr val="lt1"/>
              </a:solidFill>
              <a:latin typeface="Arial"/>
            </a:endParaRPr>
          </a:p>
          <a:p>
            <a:pPr lvl="2" marL="895320" indent="-266760" defTabSz="914400">
              <a:lnSpc>
                <a:spcPct val="110000"/>
              </a:lnSpc>
              <a:spcAft>
                <a:spcPts val="1199"/>
              </a:spcAft>
              <a:buClr>
                <a:srgbClr val="ffffff"/>
              </a:buClr>
              <a:buFont typeface="Arial"/>
              <a:buChar char="•"/>
              <a:tabLst>
                <a:tab algn="l" pos="361800"/>
              </a:tabLst>
            </a:pPr>
            <a:r>
              <a:rPr b="0" lang="de-DE" sz="1800" spc="-1" strike="noStrike">
                <a:solidFill>
                  <a:schemeClr val="lt1"/>
                </a:solidFill>
                <a:latin typeface="Arial"/>
                <a:ea typeface="Arial"/>
              </a:rPr>
              <a:t>Dritte Ebene</a:t>
            </a:r>
            <a:endParaRPr b="0" lang="en-US" sz="1800" spc="-1" strike="noStrike">
              <a:solidFill>
                <a:schemeClr val="lt1"/>
              </a:solidFill>
              <a:latin typeface="Arial"/>
            </a:endParaRPr>
          </a:p>
          <a:p>
            <a:pPr lvl="3" marL="1162080" indent="-266760" defTabSz="914400">
              <a:lnSpc>
                <a:spcPct val="110000"/>
              </a:lnSpc>
              <a:spcAft>
                <a:spcPts val="1199"/>
              </a:spcAft>
              <a:buClr>
                <a:srgbClr val="ffffff"/>
              </a:buClr>
              <a:buFont typeface="Arial"/>
              <a:buChar char="•"/>
              <a:tabLst>
                <a:tab algn="l" pos="361800"/>
              </a:tabLst>
            </a:pPr>
            <a:r>
              <a:rPr b="0" lang="de-DE" sz="1800" spc="-1" strike="noStrike">
                <a:solidFill>
                  <a:schemeClr val="lt1"/>
                </a:solidFill>
                <a:latin typeface="Arial"/>
                <a:ea typeface="Arial"/>
              </a:rPr>
              <a:t>Vierte Ebene</a:t>
            </a:r>
            <a:endParaRPr b="0" lang="en-US" sz="1800" spc="-1" strike="noStrike">
              <a:solidFill>
                <a:schemeClr val="lt1"/>
              </a:solidFill>
              <a:latin typeface="Arial"/>
            </a:endParaRPr>
          </a:p>
          <a:p>
            <a:pPr lvl="4" marL="1438200" indent="-276120" defTabSz="914400">
              <a:lnSpc>
                <a:spcPct val="110000"/>
              </a:lnSpc>
              <a:spcAft>
                <a:spcPts val="1199"/>
              </a:spcAft>
              <a:buClr>
                <a:srgbClr val="ffffff"/>
              </a:buClr>
              <a:buFont typeface="Arial"/>
              <a:buChar char="•"/>
              <a:tabLst>
                <a:tab algn="l" pos="361800"/>
              </a:tabLst>
            </a:pPr>
            <a:r>
              <a:rPr b="0" lang="de-DE" sz="1800" spc="-1" strike="noStrike">
                <a:solidFill>
                  <a:schemeClr val="lt1"/>
                </a:solidFill>
                <a:latin typeface="Arial"/>
                <a:ea typeface="Arial"/>
              </a:rPr>
              <a:t>Fünfte Ebene</a:t>
            </a:r>
            <a:endParaRPr b="0" lang="en-US" sz="1800" spc="-1" strike="noStrike">
              <a:solidFill>
                <a:schemeClr val="lt1"/>
              </a:solidFill>
              <a:latin typeface="Arial"/>
            </a:endParaRPr>
          </a:p>
        </p:txBody>
      </p:sp>
      <p:sp>
        <p:nvSpPr>
          <p:cNvPr id="124" name="PlaceHolder 6"/>
          <p:cNvSpPr>
            <a:spLocks noGrp="1"/>
          </p:cNvSpPr>
          <p:nvPr>
            <p:ph type="body"/>
          </p:nvPr>
        </p:nvSpPr>
        <p:spPr>
          <a:xfrm>
            <a:off x="6167520" y="1449360"/>
            <a:ext cx="5616360" cy="2410920"/>
          </a:xfrm>
          <a:prstGeom prst="rect">
            <a:avLst/>
          </a:prstGeom>
          <a:solidFill>
            <a:schemeClr val="lt1">
              <a:lumMod val="95000"/>
            </a:schemeClr>
          </a:solidFill>
          <a:ln w="0">
            <a:noFill/>
          </a:ln>
        </p:spPr>
        <p:txBody>
          <a:bodyPr lIns="90000" rIns="90000" tIns="45000" bIns="45000" anchor="ctr">
            <a:noAutofit/>
          </a:bodyPr>
          <a:p>
            <a:pPr indent="0" algn="ctr" defTabSz="457200">
              <a:lnSpc>
                <a:spcPct val="100000"/>
              </a:lnSpc>
              <a:buNone/>
              <a:tabLst>
                <a:tab algn="l" pos="0"/>
              </a:tabLst>
            </a:pPr>
            <a:r>
              <a:rPr b="0" lang="de-DE" sz="1900" spc="-1" strike="noStrike">
                <a:solidFill>
                  <a:schemeClr val="dk1"/>
                </a:solidFill>
                <a:latin typeface="Arial"/>
                <a:ea typeface="Arial"/>
              </a:rPr>
              <a:t>Bild auf Platzhalter ziehen oder durch Klicken auf Symbol hinzufügen</a:t>
            </a:r>
            <a:endParaRPr b="0" lang="en-US" sz="1900" spc="-1" strike="noStrike">
              <a:solidFill>
                <a:schemeClr val="lt1"/>
              </a:solidFill>
              <a:latin typeface="Arial"/>
            </a:endParaRPr>
          </a:p>
        </p:txBody>
      </p:sp>
      <p:sp>
        <p:nvSpPr>
          <p:cNvPr id="125" name="PlaceHolder 7"/>
          <p:cNvSpPr>
            <a:spLocks noGrp="1"/>
          </p:cNvSpPr>
          <p:nvPr>
            <p:ph type="body"/>
          </p:nvPr>
        </p:nvSpPr>
        <p:spPr>
          <a:xfrm>
            <a:off x="6167520" y="4005360"/>
            <a:ext cx="5616360" cy="2412360"/>
          </a:xfrm>
          <a:prstGeom prst="rect">
            <a:avLst/>
          </a:prstGeom>
          <a:solidFill>
            <a:schemeClr val="lt1">
              <a:lumMod val="95000"/>
            </a:schemeClr>
          </a:solidFill>
          <a:ln w="0">
            <a:noFill/>
          </a:ln>
        </p:spPr>
        <p:txBody>
          <a:bodyPr lIns="90000" rIns="90000" tIns="45000" bIns="45000" anchor="ctr">
            <a:noAutofit/>
          </a:bodyPr>
          <a:p>
            <a:pPr indent="0" algn="ctr" defTabSz="457200">
              <a:lnSpc>
                <a:spcPct val="100000"/>
              </a:lnSpc>
              <a:buNone/>
              <a:tabLst>
                <a:tab algn="l" pos="0"/>
              </a:tabLst>
            </a:pPr>
            <a:r>
              <a:rPr b="0" lang="de-DE" sz="1900" spc="-1" strike="noStrike">
                <a:solidFill>
                  <a:schemeClr val="dk1"/>
                </a:solidFill>
                <a:latin typeface="Arial"/>
                <a:ea typeface="Arial"/>
              </a:rPr>
              <a:t>Bild auf Platzhalter ziehen oder durch Klicken auf Symbol hinzufügen</a:t>
            </a:r>
            <a:endParaRPr b="0" lang="en-US" sz="1900" spc="-1" strike="noStrike">
              <a:solidFill>
                <a:schemeClr val="lt1"/>
              </a:solidFill>
              <a:latin typeface="Arial"/>
            </a:endParaRPr>
          </a:p>
        </p:txBody>
      </p:sp>
    </p:spTree>
  </p:cSld>
  <p:clrMap bg1="lt1" tx1="dk1" bg2="lt2" tx2="dk2" accent1="accent1" accent2="accent2" accent3="accent3" accent4="accent4" accent5="accent5" accent6="accent6" hlink="hlink" folHlink="folHlink"/>
  <p:sldLayoutIdLst>
    <p:sldLayoutId id="2147483685" r:id="rId3"/>
  </p:sldLayoutIdLst>
</p:sldMaster>
</file>

<file path=ppt/slideMasters/slideMaster2.xml><?xml version="1.0" encoding="utf-8"?>
<p:sldMaster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p:cSld>
    <p:bg>
      <p:bgPr>
        <a:solidFill>
          <a:srgbClr val="002060"/>
        </a:solidFill>
      </p:bgPr>
    </p:bg>
    <p:spTree>
      <p:nvGrpSpPr>
        <p:cNvPr id="1" name=""/>
        <p:cNvGrpSpPr/>
        <p:nvPr/>
      </p:nvGrpSpPr>
      <p:grpSpPr>
        <a:xfrm>
          <a:off x="0" y="0"/>
          <a:ext cx="0" cy="0"/>
          <a:chOff x="0" y="0"/>
          <a:chExt cx="0" cy="0"/>
        </a:xfrm>
      </p:grpSpPr>
      <p:sp>
        <p:nvSpPr>
          <p:cNvPr id="6" name="Textfeld 13"/>
          <p:cNvSpPr/>
          <p:nvPr/>
        </p:nvSpPr>
        <p:spPr>
          <a:xfrm>
            <a:off x="10848600" y="6580800"/>
            <a:ext cx="935280" cy="186480"/>
          </a:xfrm>
          <a:prstGeom prst="rect">
            <a:avLst/>
          </a:prstGeom>
          <a:noFill/>
          <a:ln w="0">
            <a:noFill/>
          </a:ln>
        </p:spPr>
        <p:style>
          <a:lnRef idx="0"/>
          <a:fillRef idx="0"/>
          <a:effectRef idx="0"/>
          <a:fontRef idx="minor"/>
        </p:style>
        <p:txBody>
          <a:bodyPr lIns="0" rIns="0" tIns="0" bIns="0" anchor="t">
            <a:noAutofit/>
          </a:bodyPr>
          <a:p>
            <a:pPr algn="r" defTabSz="457200">
              <a:lnSpc>
                <a:spcPct val="100000"/>
              </a:lnSpc>
            </a:pPr>
            <a:r>
              <a:rPr b="1" lang="de-DE" sz="1100" spc="-1" strike="noStrike">
                <a:solidFill>
                  <a:schemeClr val="dk1"/>
                </a:solidFill>
                <a:latin typeface="Arial"/>
                <a:ea typeface="Arial"/>
              </a:rPr>
              <a:t>Seite </a:t>
            </a:r>
            <a:fld id="{EB4C70D0-DD03-4288-863E-E38F40AF4089}" type="slidenum">
              <a:rPr b="1" lang="de-DE" sz="1100" spc="-1" strike="noStrike">
                <a:solidFill>
                  <a:schemeClr val="dk1"/>
                </a:solidFill>
                <a:latin typeface="Arial"/>
                <a:ea typeface="Arial"/>
              </a:rPr>
              <a:t>&lt;number&gt;</a:t>
            </a:fld>
            <a:endParaRPr b="0" lang="en-US" sz="1100" spc="-1" strike="noStrike">
              <a:solidFill>
                <a:srgbClr val="ffffff"/>
              </a:solidFill>
              <a:latin typeface="Calibri"/>
            </a:endParaRPr>
          </a:p>
        </p:txBody>
      </p:sp>
      <p:pic>
        <p:nvPicPr>
          <p:cNvPr id="7" name="Grafik 6" descr=""/>
          <p:cNvPicPr/>
          <p:nvPr/>
        </p:nvPicPr>
        <p:blipFill>
          <a:blip r:embed="rId2"/>
          <a:stretch/>
        </p:blipFill>
        <p:spPr>
          <a:xfrm>
            <a:off x="403200" y="6613920"/>
            <a:ext cx="325080" cy="100440"/>
          </a:xfrm>
          <a:prstGeom prst="rect">
            <a:avLst/>
          </a:prstGeom>
          <a:ln w="0">
            <a:noFill/>
          </a:ln>
        </p:spPr>
      </p:pic>
      <p:sp>
        <p:nvSpPr>
          <p:cNvPr id="8" name="PlaceHolder 1"/>
          <p:cNvSpPr>
            <a:spLocks noGrp="1"/>
          </p:cNvSpPr>
          <p:nvPr>
            <p:ph type="title"/>
          </p:nvPr>
        </p:nvSpPr>
        <p:spPr>
          <a:xfrm>
            <a:off x="407880" y="349560"/>
            <a:ext cx="11375640" cy="450720"/>
          </a:xfrm>
          <a:prstGeom prst="rect">
            <a:avLst/>
          </a:prstGeom>
          <a:noFill/>
          <a:ln w="0">
            <a:noFill/>
          </a:ln>
        </p:spPr>
        <p:txBody>
          <a:bodyPr lIns="0" rIns="0" tIns="0" bIns="0" anchor="t">
            <a:noAutofit/>
          </a:bodyPr>
          <a:p>
            <a:pPr indent="0" defTabSz="914400">
              <a:lnSpc>
                <a:spcPct val="90000"/>
              </a:lnSpc>
              <a:buNone/>
            </a:pPr>
            <a:r>
              <a:rPr b="1" lang="de-DE" sz="3000" spc="-1" strike="noStrike">
                <a:solidFill>
                  <a:schemeClr val="accent1"/>
                </a:solidFill>
                <a:latin typeface="Arial"/>
                <a:ea typeface="Arial"/>
              </a:rPr>
              <a:t>Mastertitelformat bearbeiten</a:t>
            </a:r>
            <a:endParaRPr b="0" lang="en-US" sz="3000" spc="-1" strike="noStrike">
              <a:solidFill>
                <a:schemeClr val="dk1"/>
              </a:solidFill>
              <a:latin typeface="Arial"/>
            </a:endParaRPr>
          </a:p>
        </p:txBody>
      </p:sp>
      <p:sp>
        <p:nvSpPr>
          <p:cNvPr id="9" name="PlaceHolder 2"/>
          <p:cNvSpPr>
            <a:spLocks noGrp="1"/>
          </p:cNvSpPr>
          <p:nvPr>
            <p:ph type="ftr" idx="1"/>
          </p:nvPr>
        </p:nvSpPr>
        <p:spPr>
          <a:xfrm>
            <a:off x="791640" y="6580800"/>
            <a:ext cx="9948600" cy="186480"/>
          </a:xfrm>
          <a:prstGeom prst="rect">
            <a:avLst/>
          </a:prstGeom>
          <a:noFill/>
          <a:ln w="0">
            <a:noFill/>
          </a:ln>
        </p:spPr>
        <p:txBody>
          <a:bodyPr lIns="0" rIns="0" tIns="0" bIns="0" anchor="t">
            <a:noAutofit/>
          </a:bodyPr>
          <a:lstStyle>
            <a:lvl1pPr indent="0" defTabSz="457200">
              <a:lnSpc>
                <a:spcPct val="100000"/>
              </a:lnSpc>
              <a:buNone/>
              <a:defRPr b="0" lang="pt-BR" sz="1100" spc="-1" strike="noStrike">
                <a:solidFill>
                  <a:schemeClr val="lt1"/>
                </a:solidFill>
                <a:latin typeface="Arial"/>
                <a:ea typeface="Arial"/>
              </a:defRPr>
            </a:lvl1pPr>
          </a:lstStyle>
          <a:p>
            <a:pPr indent="0" defTabSz="457200">
              <a:lnSpc>
                <a:spcPct val="100000"/>
              </a:lnSpc>
              <a:buNone/>
            </a:pPr>
            <a:r>
              <a:rPr b="0" lang="pt-BR" sz="1100" spc="-1" strike="noStrike">
                <a:solidFill>
                  <a:schemeClr val="lt1"/>
                </a:solidFill>
                <a:latin typeface="Arial"/>
                <a:ea typeface="Arial"/>
              </a:rPr>
              <a:t>&lt;footer&gt;</a:t>
            </a:r>
            <a:endParaRPr b="0" lang="en-US" sz="1100" spc="-1" strike="noStrike">
              <a:solidFill>
                <a:srgbClr val="ffffff"/>
              </a:solidFill>
              <a:latin typeface="Calibri"/>
            </a:endParaRPr>
          </a:p>
        </p:txBody>
      </p:sp>
      <p:sp>
        <p:nvSpPr>
          <p:cNvPr id="10" name="PlaceHolder 3"/>
          <p:cNvSpPr>
            <a:spLocks noGrp="1"/>
          </p:cNvSpPr>
          <p:nvPr>
            <p:ph type="body"/>
          </p:nvPr>
        </p:nvSpPr>
        <p:spPr>
          <a:xfrm>
            <a:off x="407880" y="817560"/>
            <a:ext cx="11375640" cy="378720"/>
          </a:xfrm>
          <a:prstGeom prst="rect">
            <a:avLst/>
          </a:prstGeom>
          <a:noFill/>
          <a:ln w="0">
            <a:noFill/>
          </a:ln>
        </p:spPr>
        <p:txBody>
          <a:bodyPr lIns="0" rIns="0" tIns="0" bIns="0" anchor="t">
            <a:noAutofit/>
          </a:bodyPr>
          <a:p>
            <a:pPr indent="0" defTabSz="914400">
              <a:lnSpc>
                <a:spcPct val="110000"/>
              </a:lnSpc>
              <a:buNone/>
              <a:tabLst>
                <a:tab algn="l" pos="0"/>
              </a:tabLst>
            </a:pPr>
            <a:r>
              <a:rPr b="1" lang="de-DE" sz="1800" spc="-1" strike="noStrike">
                <a:solidFill>
                  <a:schemeClr val="accent2"/>
                </a:solidFill>
                <a:latin typeface="Arial"/>
                <a:ea typeface="Arial"/>
              </a:rPr>
              <a:t>Unterüberschrift</a:t>
            </a:r>
            <a:endParaRPr b="0" lang="en-US" sz="1800" spc="-1" strike="noStrike">
              <a:solidFill>
                <a:schemeClr val="lt1"/>
              </a:solidFill>
              <a:latin typeface="Arial"/>
            </a:endParaRPr>
          </a:p>
        </p:txBody>
      </p:sp>
      <p:sp>
        <p:nvSpPr>
          <p:cNvPr id="11" name="PlaceHolder 4"/>
          <p:cNvSpPr>
            <a:spLocks noGrp="1"/>
          </p:cNvSpPr>
          <p:nvPr>
            <p:ph type="body"/>
          </p:nvPr>
        </p:nvSpPr>
        <p:spPr>
          <a:xfrm>
            <a:off x="407880" y="1406520"/>
            <a:ext cx="7524360" cy="2454120"/>
          </a:xfrm>
          <a:prstGeom prst="rect">
            <a:avLst/>
          </a:prstGeom>
          <a:noFill/>
          <a:ln w="0">
            <a:noFill/>
          </a:ln>
        </p:spPr>
        <p:txBody>
          <a:bodyPr lIns="0" rIns="0" tIns="0" bIns="0" anchor="t">
            <a:noAutofit/>
          </a:bodyPr>
          <a:p>
            <a:pPr marL="361800" indent="-361800" defTabSz="914400">
              <a:lnSpc>
                <a:spcPct val="110000"/>
              </a:lnSpc>
              <a:spcAft>
                <a:spcPts val="1199"/>
              </a:spcAft>
              <a:buClr>
                <a:srgbClr val="ffffff"/>
              </a:buClr>
              <a:buFont typeface="Arial"/>
              <a:buChar char="•"/>
              <a:tabLst>
                <a:tab algn="l" pos="361800"/>
              </a:tabLst>
            </a:pPr>
            <a:r>
              <a:rPr b="0" lang="de-DE" sz="1800" spc="-1" strike="noStrike">
                <a:solidFill>
                  <a:schemeClr val="lt1"/>
                </a:solidFill>
                <a:latin typeface="Arial"/>
                <a:ea typeface="Arial"/>
              </a:rPr>
              <a:t>Mastertextformat bearbeiten</a:t>
            </a:r>
            <a:endParaRPr b="0" lang="en-US" sz="1800" spc="-1" strike="noStrike">
              <a:solidFill>
                <a:schemeClr val="lt1"/>
              </a:solidFill>
              <a:latin typeface="Arial"/>
            </a:endParaRPr>
          </a:p>
          <a:p>
            <a:pPr lvl="1" marL="628560" indent="-266760" defTabSz="914400">
              <a:lnSpc>
                <a:spcPct val="110000"/>
              </a:lnSpc>
              <a:spcAft>
                <a:spcPts val="1199"/>
              </a:spcAft>
              <a:buClr>
                <a:srgbClr val="ffffff"/>
              </a:buClr>
              <a:buFont typeface="Arial"/>
              <a:buChar char="•"/>
              <a:tabLst>
                <a:tab algn="l" pos="361800"/>
              </a:tabLst>
            </a:pPr>
            <a:r>
              <a:rPr b="0" lang="de-DE" sz="1800" spc="-1" strike="noStrike">
                <a:solidFill>
                  <a:schemeClr val="lt1"/>
                </a:solidFill>
                <a:latin typeface="Arial"/>
                <a:ea typeface="Arial"/>
              </a:rPr>
              <a:t>Zweite Ebene</a:t>
            </a:r>
            <a:endParaRPr b="0" lang="en-US" sz="1800" spc="-1" strike="noStrike">
              <a:solidFill>
                <a:schemeClr val="lt1"/>
              </a:solidFill>
              <a:latin typeface="Arial"/>
            </a:endParaRPr>
          </a:p>
          <a:p>
            <a:pPr lvl="2" marL="895320" indent="-266760" defTabSz="914400">
              <a:lnSpc>
                <a:spcPct val="110000"/>
              </a:lnSpc>
              <a:spcAft>
                <a:spcPts val="1199"/>
              </a:spcAft>
              <a:buClr>
                <a:srgbClr val="ffffff"/>
              </a:buClr>
              <a:buFont typeface="Arial"/>
              <a:buChar char="•"/>
              <a:tabLst>
                <a:tab algn="l" pos="361800"/>
              </a:tabLst>
            </a:pPr>
            <a:r>
              <a:rPr b="0" lang="de-DE" sz="1800" spc="-1" strike="noStrike">
                <a:solidFill>
                  <a:schemeClr val="lt1"/>
                </a:solidFill>
                <a:latin typeface="Arial"/>
                <a:ea typeface="Arial"/>
              </a:rPr>
              <a:t>Dritte Ebene</a:t>
            </a:r>
            <a:endParaRPr b="0" lang="en-US" sz="1800" spc="-1" strike="noStrike">
              <a:solidFill>
                <a:schemeClr val="lt1"/>
              </a:solidFill>
              <a:latin typeface="Arial"/>
            </a:endParaRPr>
          </a:p>
          <a:p>
            <a:pPr lvl="3" marL="1162080" indent="-266760" defTabSz="914400">
              <a:lnSpc>
                <a:spcPct val="110000"/>
              </a:lnSpc>
              <a:spcAft>
                <a:spcPts val="1199"/>
              </a:spcAft>
              <a:buClr>
                <a:srgbClr val="ffffff"/>
              </a:buClr>
              <a:buFont typeface="Arial"/>
              <a:buChar char="•"/>
              <a:tabLst>
                <a:tab algn="l" pos="361800"/>
              </a:tabLst>
            </a:pPr>
            <a:r>
              <a:rPr b="0" lang="de-DE" sz="1800" spc="-1" strike="noStrike">
                <a:solidFill>
                  <a:schemeClr val="lt1"/>
                </a:solidFill>
                <a:latin typeface="Arial"/>
                <a:ea typeface="Arial"/>
              </a:rPr>
              <a:t>Vierte Ebene</a:t>
            </a:r>
            <a:endParaRPr b="0" lang="en-US" sz="1800" spc="-1" strike="noStrike">
              <a:solidFill>
                <a:schemeClr val="lt1"/>
              </a:solidFill>
              <a:latin typeface="Arial"/>
            </a:endParaRPr>
          </a:p>
          <a:p>
            <a:pPr lvl="4" marL="1438200" indent="-276120" defTabSz="914400">
              <a:lnSpc>
                <a:spcPct val="110000"/>
              </a:lnSpc>
              <a:spcAft>
                <a:spcPts val="1199"/>
              </a:spcAft>
              <a:buClr>
                <a:srgbClr val="ffffff"/>
              </a:buClr>
              <a:buFont typeface="Arial"/>
              <a:buChar char="•"/>
              <a:tabLst>
                <a:tab algn="l" pos="361800"/>
              </a:tabLst>
            </a:pPr>
            <a:r>
              <a:rPr b="0" lang="de-DE" sz="1800" spc="-1" strike="noStrike">
                <a:solidFill>
                  <a:schemeClr val="lt1"/>
                </a:solidFill>
                <a:latin typeface="Arial"/>
                <a:ea typeface="Arial"/>
              </a:rPr>
              <a:t>Fünfte Ebene</a:t>
            </a:r>
            <a:endParaRPr b="0" lang="en-US" sz="1800" spc="-1" strike="noStrike">
              <a:solidFill>
                <a:schemeClr val="lt1"/>
              </a:solidFill>
              <a:latin typeface="Arial"/>
            </a:endParaRPr>
          </a:p>
        </p:txBody>
      </p:sp>
      <p:sp>
        <p:nvSpPr>
          <p:cNvPr id="12" name="PlaceHolder 5"/>
          <p:cNvSpPr>
            <a:spLocks noGrp="1"/>
          </p:cNvSpPr>
          <p:nvPr>
            <p:ph type="body"/>
          </p:nvPr>
        </p:nvSpPr>
        <p:spPr>
          <a:xfrm>
            <a:off x="407880" y="3963600"/>
            <a:ext cx="7524360" cy="2454120"/>
          </a:xfrm>
          <a:prstGeom prst="rect">
            <a:avLst/>
          </a:prstGeom>
          <a:noFill/>
          <a:ln w="0">
            <a:noFill/>
          </a:ln>
        </p:spPr>
        <p:txBody>
          <a:bodyPr lIns="0" rIns="0" tIns="0" bIns="0" anchor="t">
            <a:noAutofit/>
          </a:bodyPr>
          <a:p>
            <a:pPr marL="361800" indent="-361800" defTabSz="914400">
              <a:lnSpc>
                <a:spcPct val="110000"/>
              </a:lnSpc>
              <a:spcAft>
                <a:spcPts val="1199"/>
              </a:spcAft>
              <a:buClr>
                <a:srgbClr val="ffffff"/>
              </a:buClr>
              <a:buFont typeface="Arial"/>
              <a:buChar char="•"/>
              <a:tabLst>
                <a:tab algn="l" pos="361800"/>
              </a:tabLst>
            </a:pPr>
            <a:r>
              <a:rPr b="0" lang="de-DE" sz="1800" spc="-1" strike="noStrike">
                <a:solidFill>
                  <a:schemeClr val="lt1"/>
                </a:solidFill>
                <a:latin typeface="Arial"/>
                <a:ea typeface="Arial"/>
              </a:rPr>
              <a:t>Mastertextformat bearbeiten</a:t>
            </a:r>
            <a:endParaRPr b="0" lang="en-US" sz="1800" spc="-1" strike="noStrike">
              <a:solidFill>
                <a:schemeClr val="lt1"/>
              </a:solidFill>
              <a:latin typeface="Arial"/>
            </a:endParaRPr>
          </a:p>
          <a:p>
            <a:pPr lvl="1" marL="628560" indent="-266760" defTabSz="914400">
              <a:lnSpc>
                <a:spcPct val="110000"/>
              </a:lnSpc>
              <a:spcAft>
                <a:spcPts val="1199"/>
              </a:spcAft>
              <a:buClr>
                <a:srgbClr val="ffffff"/>
              </a:buClr>
              <a:buFont typeface="Arial"/>
              <a:buChar char="•"/>
              <a:tabLst>
                <a:tab algn="l" pos="361800"/>
              </a:tabLst>
            </a:pPr>
            <a:r>
              <a:rPr b="0" lang="de-DE" sz="1800" spc="-1" strike="noStrike">
                <a:solidFill>
                  <a:schemeClr val="lt1"/>
                </a:solidFill>
                <a:latin typeface="Arial"/>
                <a:ea typeface="Arial"/>
              </a:rPr>
              <a:t>Zweite Ebene</a:t>
            </a:r>
            <a:endParaRPr b="0" lang="en-US" sz="1800" spc="-1" strike="noStrike">
              <a:solidFill>
                <a:schemeClr val="lt1"/>
              </a:solidFill>
              <a:latin typeface="Arial"/>
            </a:endParaRPr>
          </a:p>
          <a:p>
            <a:pPr lvl="2" marL="895320" indent="-266760" defTabSz="914400">
              <a:lnSpc>
                <a:spcPct val="110000"/>
              </a:lnSpc>
              <a:spcAft>
                <a:spcPts val="1199"/>
              </a:spcAft>
              <a:buClr>
                <a:srgbClr val="ffffff"/>
              </a:buClr>
              <a:buFont typeface="Arial"/>
              <a:buChar char="•"/>
              <a:tabLst>
                <a:tab algn="l" pos="361800"/>
              </a:tabLst>
            </a:pPr>
            <a:r>
              <a:rPr b="0" lang="de-DE" sz="1800" spc="-1" strike="noStrike">
                <a:solidFill>
                  <a:schemeClr val="lt1"/>
                </a:solidFill>
                <a:latin typeface="Arial"/>
                <a:ea typeface="Arial"/>
              </a:rPr>
              <a:t>Dritte Ebene</a:t>
            </a:r>
            <a:endParaRPr b="0" lang="en-US" sz="1800" spc="-1" strike="noStrike">
              <a:solidFill>
                <a:schemeClr val="lt1"/>
              </a:solidFill>
              <a:latin typeface="Arial"/>
            </a:endParaRPr>
          </a:p>
          <a:p>
            <a:pPr lvl="3" marL="1162080" indent="-266760" defTabSz="914400">
              <a:lnSpc>
                <a:spcPct val="110000"/>
              </a:lnSpc>
              <a:spcAft>
                <a:spcPts val="1199"/>
              </a:spcAft>
              <a:buClr>
                <a:srgbClr val="ffffff"/>
              </a:buClr>
              <a:buFont typeface="Arial"/>
              <a:buChar char="•"/>
              <a:tabLst>
                <a:tab algn="l" pos="361800"/>
              </a:tabLst>
            </a:pPr>
            <a:r>
              <a:rPr b="0" lang="de-DE" sz="1800" spc="-1" strike="noStrike">
                <a:solidFill>
                  <a:schemeClr val="lt1"/>
                </a:solidFill>
                <a:latin typeface="Arial"/>
                <a:ea typeface="Arial"/>
              </a:rPr>
              <a:t>Vierte Ebene</a:t>
            </a:r>
            <a:endParaRPr b="0" lang="en-US" sz="1800" spc="-1" strike="noStrike">
              <a:solidFill>
                <a:schemeClr val="lt1"/>
              </a:solidFill>
              <a:latin typeface="Arial"/>
            </a:endParaRPr>
          </a:p>
          <a:p>
            <a:pPr lvl="4" marL="1438200" indent="-276120" defTabSz="914400">
              <a:lnSpc>
                <a:spcPct val="110000"/>
              </a:lnSpc>
              <a:spcAft>
                <a:spcPts val="1199"/>
              </a:spcAft>
              <a:buClr>
                <a:srgbClr val="ffffff"/>
              </a:buClr>
              <a:buFont typeface="Arial"/>
              <a:buChar char="•"/>
              <a:tabLst>
                <a:tab algn="l" pos="361800"/>
              </a:tabLst>
            </a:pPr>
            <a:r>
              <a:rPr b="0" lang="de-DE" sz="1800" spc="-1" strike="noStrike">
                <a:solidFill>
                  <a:schemeClr val="lt1"/>
                </a:solidFill>
                <a:latin typeface="Arial"/>
                <a:ea typeface="Arial"/>
              </a:rPr>
              <a:t>Fünfte Ebene</a:t>
            </a:r>
            <a:endParaRPr b="0" lang="en-US" sz="1800" spc="-1" strike="noStrike">
              <a:solidFill>
                <a:schemeClr val="lt1"/>
              </a:solidFill>
              <a:latin typeface="Arial"/>
            </a:endParaRPr>
          </a:p>
        </p:txBody>
      </p:sp>
      <p:sp>
        <p:nvSpPr>
          <p:cNvPr id="13" name="PlaceHolder 6"/>
          <p:cNvSpPr>
            <a:spLocks noGrp="1"/>
          </p:cNvSpPr>
          <p:nvPr>
            <p:ph type="body"/>
          </p:nvPr>
        </p:nvSpPr>
        <p:spPr>
          <a:xfrm>
            <a:off x="8075520" y="1449360"/>
            <a:ext cx="3708000" cy="2410920"/>
          </a:xfrm>
          <a:prstGeom prst="rect">
            <a:avLst/>
          </a:prstGeom>
          <a:solidFill>
            <a:schemeClr val="lt1">
              <a:lumMod val="95000"/>
            </a:schemeClr>
          </a:solidFill>
          <a:ln w="0">
            <a:noFill/>
          </a:ln>
        </p:spPr>
        <p:txBody>
          <a:bodyPr lIns="90000" rIns="90000" tIns="45000" bIns="45000" anchor="ctr">
            <a:noAutofit/>
          </a:bodyPr>
          <a:p>
            <a:pPr indent="0" algn="ctr" defTabSz="457200">
              <a:lnSpc>
                <a:spcPct val="100000"/>
              </a:lnSpc>
              <a:buNone/>
              <a:tabLst>
                <a:tab algn="l" pos="0"/>
              </a:tabLst>
            </a:pPr>
            <a:r>
              <a:rPr b="0" lang="de-DE" sz="1900" spc="-1" strike="noStrike">
                <a:solidFill>
                  <a:schemeClr val="dk1"/>
                </a:solidFill>
                <a:latin typeface="Arial"/>
                <a:ea typeface="Arial"/>
              </a:rPr>
              <a:t>Bild auf Platzhalter ziehen oder durch Klicken auf Symbol hinzufügen</a:t>
            </a:r>
            <a:endParaRPr b="0" lang="en-US" sz="1900" spc="-1" strike="noStrike">
              <a:solidFill>
                <a:schemeClr val="lt1"/>
              </a:solidFill>
              <a:latin typeface="Arial"/>
            </a:endParaRPr>
          </a:p>
        </p:txBody>
      </p:sp>
      <p:sp>
        <p:nvSpPr>
          <p:cNvPr id="14" name="PlaceHolder 7"/>
          <p:cNvSpPr>
            <a:spLocks noGrp="1"/>
          </p:cNvSpPr>
          <p:nvPr>
            <p:ph type="body"/>
          </p:nvPr>
        </p:nvSpPr>
        <p:spPr>
          <a:xfrm>
            <a:off x="8075520" y="4005360"/>
            <a:ext cx="3708000" cy="2412360"/>
          </a:xfrm>
          <a:prstGeom prst="rect">
            <a:avLst/>
          </a:prstGeom>
          <a:solidFill>
            <a:schemeClr val="lt1">
              <a:lumMod val="95000"/>
            </a:schemeClr>
          </a:solidFill>
          <a:ln w="0">
            <a:noFill/>
          </a:ln>
        </p:spPr>
        <p:txBody>
          <a:bodyPr lIns="90000" rIns="90000" tIns="45000" bIns="45000" anchor="ctr">
            <a:noAutofit/>
          </a:bodyPr>
          <a:p>
            <a:pPr indent="0" algn="ctr" defTabSz="457200">
              <a:lnSpc>
                <a:spcPct val="100000"/>
              </a:lnSpc>
              <a:buNone/>
              <a:tabLst>
                <a:tab algn="l" pos="0"/>
              </a:tabLst>
            </a:pPr>
            <a:r>
              <a:rPr b="0" lang="de-DE" sz="1900" spc="-1" strike="noStrike">
                <a:solidFill>
                  <a:schemeClr val="dk1"/>
                </a:solidFill>
                <a:latin typeface="Arial"/>
                <a:ea typeface="Arial"/>
              </a:rPr>
              <a:t>Bild auf Platzhalter ziehen oder durch Klicken auf Symbol hinzufügen</a:t>
            </a:r>
            <a:endParaRPr b="0" lang="en-US" sz="1900" spc="-1" strike="noStrike">
              <a:solidFill>
                <a:schemeClr val="lt1"/>
              </a:solidFill>
              <a:latin typeface="Arial"/>
            </a:endParaRPr>
          </a:p>
        </p:txBody>
      </p:sp>
    </p:spTree>
  </p:cSld>
  <p:clrMap bg1="lt1" tx1="dk1" bg2="lt2" tx2="dk2" accent1="accent1" accent2="accent2" accent3="accent3" accent4="accent4" accent5="accent5" accent6="accent6" hlink="hlink" folHlink="folHlink"/>
  <p:sldLayoutIdLst>
    <p:sldLayoutId id="2147483651" r:id="rId3"/>
  </p:sldLayoutIdLst>
</p:sldMaster>
</file>

<file path=ppt/slideMasters/slideMaster20.xml><?xml version="1.0" encoding="utf-8"?>
<p:sldMaster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p:cSld>
    <p:bg>
      <p:bgPr>
        <a:solidFill>
          <a:srgbClr val="002060"/>
        </a:solidFill>
      </p:bgPr>
    </p:bg>
    <p:spTree>
      <p:nvGrpSpPr>
        <p:cNvPr id="1" name=""/>
        <p:cNvGrpSpPr/>
        <p:nvPr/>
      </p:nvGrpSpPr>
      <p:grpSpPr>
        <a:xfrm>
          <a:off x="0" y="0"/>
          <a:ext cx="0" cy="0"/>
          <a:chOff x="0" y="0"/>
          <a:chExt cx="0" cy="0"/>
        </a:xfrm>
      </p:grpSpPr>
      <p:sp>
        <p:nvSpPr>
          <p:cNvPr id="126" name="Textfeld 13"/>
          <p:cNvSpPr/>
          <p:nvPr/>
        </p:nvSpPr>
        <p:spPr>
          <a:xfrm>
            <a:off x="10848600" y="6580800"/>
            <a:ext cx="935280" cy="186480"/>
          </a:xfrm>
          <a:prstGeom prst="rect">
            <a:avLst/>
          </a:prstGeom>
          <a:noFill/>
          <a:ln w="0">
            <a:noFill/>
          </a:ln>
        </p:spPr>
        <p:style>
          <a:lnRef idx="0"/>
          <a:fillRef idx="0"/>
          <a:effectRef idx="0"/>
          <a:fontRef idx="minor"/>
        </p:style>
        <p:txBody>
          <a:bodyPr lIns="0" rIns="0" tIns="0" bIns="0" anchor="t">
            <a:noAutofit/>
          </a:bodyPr>
          <a:p>
            <a:pPr algn="r" defTabSz="457200">
              <a:lnSpc>
                <a:spcPct val="100000"/>
              </a:lnSpc>
            </a:pPr>
            <a:r>
              <a:rPr b="1" lang="de-DE" sz="1100" spc="-1" strike="noStrike">
                <a:solidFill>
                  <a:schemeClr val="dk1"/>
                </a:solidFill>
                <a:latin typeface="Arial"/>
                <a:ea typeface="Arial"/>
              </a:rPr>
              <a:t>Seite </a:t>
            </a:r>
            <a:fld id="{52A6724B-80AC-4DB5-A17D-2F92683F7113}" type="slidenum">
              <a:rPr b="1" lang="de-DE" sz="1100" spc="-1" strike="noStrike">
                <a:solidFill>
                  <a:schemeClr val="dk1"/>
                </a:solidFill>
                <a:latin typeface="Arial"/>
                <a:ea typeface="Arial"/>
              </a:rPr>
              <a:t>&lt;number&gt;</a:t>
            </a:fld>
            <a:endParaRPr b="0" lang="en-US" sz="1100" spc="-1" strike="noStrike">
              <a:solidFill>
                <a:srgbClr val="ffffff"/>
              </a:solidFill>
              <a:latin typeface="Calibri"/>
            </a:endParaRPr>
          </a:p>
        </p:txBody>
      </p:sp>
      <p:pic>
        <p:nvPicPr>
          <p:cNvPr id="127" name="Grafik 6" descr=""/>
          <p:cNvPicPr/>
          <p:nvPr/>
        </p:nvPicPr>
        <p:blipFill>
          <a:blip r:embed="rId2"/>
          <a:stretch/>
        </p:blipFill>
        <p:spPr>
          <a:xfrm>
            <a:off x="403200" y="6613920"/>
            <a:ext cx="325080" cy="100440"/>
          </a:xfrm>
          <a:prstGeom prst="rect">
            <a:avLst/>
          </a:prstGeom>
          <a:ln w="0">
            <a:noFill/>
          </a:ln>
        </p:spPr>
      </p:pic>
      <p:sp>
        <p:nvSpPr>
          <p:cNvPr id="128" name="PlaceHolder 1"/>
          <p:cNvSpPr>
            <a:spLocks noGrp="1"/>
          </p:cNvSpPr>
          <p:nvPr>
            <p:ph type="title"/>
          </p:nvPr>
        </p:nvSpPr>
        <p:spPr>
          <a:xfrm>
            <a:off x="407880" y="349560"/>
            <a:ext cx="11375640" cy="450720"/>
          </a:xfrm>
          <a:prstGeom prst="rect">
            <a:avLst/>
          </a:prstGeom>
          <a:noFill/>
          <a:ln w="0">
            <a:noFill/>
          </a:ln>
        </p:spPr>
        <p:txBody>
          <a:bodyPr lIns="0" rIns="0" tIns="0" bIns="0" anchor="t">
            <a:noAutofit/>
          </a:bodyPr>
          <a:p>
            <a:pPr indent="0" defTabSz="914400">
              <a:lnSpc>
                <a:spcPct val="90000"/>
              </a:lnSpc>
              <a:buNone/>
            </a:pPr>
            <a:r>
              <a:rPr b="1" lang="de-DE" sz="3000" spc="-1" strike="noStrike">
                <a:solidFill>
                  <a:schemeClr val="accent1"/>
                </a:solidFill>
                <a:latin typeface="Arial"/>
                <a:ea typeface="Arial"/>
              </a:rPr>
              <a:t>Mastertitelformat bearbeiten</a:t>
            </a:r>
            <a:endParaRPr b="0" lang="en-US" sz="3000" spc="-1" strike="noStrike">
              <a:solidFill>
                <a:schemeClr val="dk1"/>
              </a:solidFill>
              <a:latin typeface="Arial"/>
            </a:endParaRPr>
          </a:p>
        </p:txBody>
      </p:sp>
      <p:sp>
        <p:nvSpPr>
          <p:cNvPr id="129" name="PlaceHolder 2"/>
          <p:cNvSpPr>
            <a:spLocks noGrp="1"/>
          </p:cNvSpPr>
          <p:nvPr>
            <p:ph type="ftr" idx="16"/>
          </p:nvPr>
        </p:nvSpPr>
        <p:spPr>
          <a:xfrm>
            <a:off x="791640" y="6580800"/>
            <a:ext cx="9948600" cy="186480"/>
          </a:xfrm>
          <a:prstGeom prst="rect">
            <a:avLst/>
          </a:prstGeom>
          <a:noFill/>
          <a:ln w="0">
            <a:noFill/>
          </a:ln>
        </p:spPr>
        <p:txBody>
          <a:bodyPr lIns="0" rIns="0" tIns="0" bIns="0" anchor="t">
            <a:noAutofit/>
          </a:bodyPr>
          <a:lstStyle>
            <a:lvl1pPr indent="0" defTabSz="457200">
              <a:lnSpc>
                <a:spcPct val="100000"/>
              </a:lnSpc>
              <a:buNone/>
              <a:defRPr b="0" lang="pt-BR" sz="1100" spc="-1" strike="noStrike">
                <a:solidFill>
                  <a:schemeClr val="lt1"/>
                </a:solidFill>
                <a:latin typeface="Arial"/>
                <a:ea typeface="Arial"/>
              </a:defRPr>
            </a:lvl1pPr>
          </a:lstStyle>
          <a:p>
            <a:pPr indent="0" defTabSz="457200">
              <a:lnSpc>
                <a:spcPct val="100000"/>
              </a:lnSpc>
              <a:buNone/>
            </a:pPr>
            <a:r>
              <a:rPr b="0" lang="pt-BR" sz="1100" spc="-1" strike="noStrike">
                <a:solidFill>
                  <a:schemeClr val="lt1"/>
                </a:solidFill>
                <a:latin typeface="Arial"/>
                <a:ea typeface="Arial"/>
              </a:rPr>
              <a:t>&lt;footer&gt;</a:t>
            </a:r>
            <a:endParaRPr b="0" lang="en-US" sz="1100" spc="-1" strike="noStrike">
              <a:solidFill>
                <a:srgbClr val="ffffff"/>
              </a:solidFill>
              <a:latin typeface="Calibri"/>
            </a:endParaRPr>
          </a:p>
        </p:txBody>
      </p:sp>
      <p:sp>
        <p:nvSpPr>
          <p:cNvPr id="130" name="PlaceHolder 3"/>
          <p:cNvSpPr>
            <a:spLocks noGrp="1"/>
          </p:cNvSpPr>
          <p:nvPr>
            <p:ph type="body"/>
          </p:nvPr>
        </p:nvSpPr>
        <p:spPr>
          <a:xfrm>
            <a:off x="407880" y="817560"/>
            <a:ext cx="11375640" cy="378720"/>
          </a:xfrm>
          <a:prstGeom prst="rect">
            <a:avLst/>
          </a:prstGeom>
          <a:noFill/>
          <a:ln w="0">
            <a:noFill/>
          </a:ln>
        </p:spPr>
        <p:txBody>
          <a:bodyPr lIns="0" rIns="0" tIns="0" bIns="0" anchor="t">
            <a:noAutofit/>
          </a:bodyPr>
          <a:p>
            <a:pPr indent="0" defTabSz="914400">
              <a:lnSpc>
                <a:spcPct val="110000"/>
              </a:lnSpc>
              <a:buNone/>
              <a:tabLst>
                <a:tab algn="l" pos="0"/>
              </a:tabLst>
            </a:pPr>
            <a:r>
              <a:rPr b="1" lang="de-DE" sz="1800" spc="-1" strike="noStrike">
                <a:solidFill>
                  <a:schemeClr val="accent2"/>
                </a:solidFill>
                <a:latin typeface="Arial"/>
                <a:ea typeface="Arial"/>
              </a:rPr>
              <a:t>Unterüberschrift</a:t>
            </a:r>
            <a:endParaRPr b="0" lang="en-US" sz="1800" spc="-1" strike="noStrike">
              <a:solidFill>
                <a:schemeClr val="lt1"/>
              </a:solidFill>
              <a:latin typeface="Arial"/>
            </a:endParaRPr>
          </a:p>
        </p:txBody>
      </p:sp>
      <p:sp>
        <p:nvSpPr>
          <p:cNvPr id="131" name="PlaceHolder 4"/>
          <p:cNvSpPr>
            <a:spLocks noGrp="1"/>
          </p:cNvSpPr>
          <p:nvPr>
            <p:ph type="body"/>
          </p:nvPr>
        </p:nvSpPr>
        <p:spPr>
          <a:xfrm>
            <a:off x="407880" y="1406520"/>
            <a:ext cx="5616360" cy="2454120"/>
          </a:xfrm>
          <a:prstGeom prst="rect">
            <a:avLst/>
          </a:prstGeom>
          <a:noFill/>
          <a:ln w="0">
            <a:noFill/>
          </a:ln>
        </p:spPr>
        <p:txBody>
          <a:bodyPr lIns="0" rIns="0" tIns="0" bIns="0" anchor="t">
            <a:noAutofit/>
          </a:bodyPr>
          <a:p>
            <a:pPr marL="361800" indent="-361800" defTabSz="914400">
              <a:lnSpc>
                <a:spcPct val="110000"/>
              </a:lnSpc>
              <a:spcAft>
                <a:spcPts val="1199"/>
              </a:spcAft>
              <a:buClr>
                <a:srgbClr val="ffffff"/>
              </a:buClr>
              <a:buFont typeface="Arial"/>
              <a:buChar char="•"/>
              <a:tabLst>
                <a:tab algn="l" pos="361800"/>
              </a:tabLst>
            </a:pPr>
            <a:r>
              <a:rPr b="0" lang="de-DE" sz="1800" spc="-1" strike="noStrike">
                <a:solidFill>
                  <a:schemeClr val="lt1"/>
                </a:solidFill>
                <a:latin typeface="Arial"/>
                <a:ea typeface="Arial"/>
              </a:rPr>
              <a:t>Mastertextformat bearbeiten</a:t>
            </a:r>
            <a:endParaRPr b="0" lang="en-US" sz="1800" spc="-1" strike="noStrike">
              <a:solidFill>
                <a:schemeClr val="lt1"/>
              </a:solidFill>
              <a:latin typeface="Arial"/>
            </a:endParaRPr>
          </a:p>
          <a:p>
            <a:pPr lvl="1" marL="628560" indent="-266760" defTabSz="914400">
              <a:lnSpc>
                <a:spcPct val="110000"/>
              </a:lnSpc>
              <a:spcAft>
                <a:spcPts val="1199"/>
              </a:spcAft>
              <a:buClr>
                <a:srgbClr val="ffffff"/>
              </a:buClr>
              <a:buFont typeface="Arial"/>
              <a:buChar char="•"/>
              <a:tabLst>
                <a:tab algn="l" pos="361800"/>
              </a:tabLst>
            </a:pPr>
            <a:r>
              <a:rPr b="0" lang="de-DE" sz="1800" spc="-1" strike="noStrike">
                <a:solidFill>
                  <a:schemeClr val="lt1"/>
                </a:solidFill>
                <a:latin typeface="Arial"/>
                <a:ea typeface="Arial"/>
              </a:rPr>
              <a:t>Zweite Ebene</a:t>
            </a:r>
            <a:endParaRPr b="0" lang="en-US" sz="1800" spc="-1" strike="noStrike">
              <a:solidFill>
                <a:schemeClr val="lt1"/>
              </a:solidFill>
              <a:latin typeface="Arial"/>
            </a:endParaRPr>
          </a:p>
          <a:p>
            <a:pPr lvl="2" marL="895320" indent="-266760" defTabSz="914400">
              <a:lnSpc>
                <a:spcPct val="110000"/>
              </a:lnSpc>
              <a:spcAft>
                <a:spcPts val="1199"/>
              </a:spcAft>
              <a:buClr>
                <a:srgbClr val="ffffff"/>
              </a:buClr>
              <a:buFont typeface="Arial"/>
              <a:buChar char="•"/>
              <a:tabLst>
                <a:tab algn="l" pos="361800"/>
              </a:tabLst>
            </a:pPr>
            <a:r>
              <a:rPr b="0" lang="de-DE" sz="1800" spc="-1" strike="noStrike">
                <a:solidFill>
                  <a:schemeClr val="lt1"/>
                </a:solidFill>
                <a:latin typeface="Arial"/>
                <a:ea typeface="Arial"/>
              </a:rPr>
              <a:t>Dritte Ebene</a:t>
            </a:r>
            <a:endParaRPr b="0" lang="en-US" sz="1800" spc="-1" strike="noStrike">
              <a:solidFill>
                <a:schemeClr val="lt1"/>
              </a:solidFill>
              <a:latin typeface="Arial"/>
            </a:endParaRPr>
          </a:p>
          <a:p>
            <a:pPr lvl="3" marL="1162080" indent="-266760" defTabSz="914400">
              <a:lnSpc>
                <a:spcPct val="110000"/>
              </a:lnSpc>
              <a:spcAft>
                <a:spcPts val="1199"/>
              </a:spcAft>
              <a:buClr>
                <a:srgbClr val="ffffff"/>
              </a:buClr>
              <a:buFont typeface="Arial"/>
              <a:buChar char="•"/>
              <a:tabLst>
                <a:tab algn="l" pos="361800"/>
              </a:tabLst>
            </a:pPr>
            <a:r>
              <a:rPr b="0" lang="de-DE" sz="1800" spc="-1" strike="noStrike">
                <a:solidFill>
                  <a:schemeClr val="lt1"/>
                </a:solidFill>
                <a:latin typeface="Arial"/>
                <a:ea typeface="Arial"/>
              </a:rPr>
              <a:t>Vierte Ebene</a:t>
            </a:r>
            <a:endParaRPr b="0" lang="en-US" sz="1800" spc="-1" strike="noStrike">
              <a:solidFill>
                <a:schemeClr val="lt1"/>
              </a:solidFill>
              <a:latin typeface="Arial"/>
            </a:endParaRPr>
          </a:p>
          <a:p>
            <a:pPr lvl="4" marL="1438200" indent="-276120" defTabSz="914400">
              <a:lnSpc>
                <a:spcPct val="110000"/>
              </a:lnSpc>
              <a:spcAft>
                <a:spcPts val="1199"/>
              </a:spcAft>
              <a:buClr>
                <a:srgbClr val="ffffff"/>
              </a:buClr>
              <a:buFont typeface="Arial"/>
              <a:buChar char="•"/>
              <a:tabLst>
                <a:tab algn="l" pos="361800"/>
              </a:tabLst>
            </a:pPr>
            <a:r>
              <a:rPr b="0" lang="de-DE" sz="1800" spc="-1" strike="noStrike">
                <a:solidFill>
                  <a:schemeClr val="lt1"/>
                </a:solidFill>
                <a:latin typeface="Arial"/>
                <a:ea typeface="Arial"/>
              </a:rPr>
              <a:t>Fünfte Ebene</a:t>
            </a:r>
            <a:endParaRPr b="0" lang="en-US" sz="1800" spc="-1" strike="noStrike">
              <a:solidFill>
                <a:schemeClr val="lt1"/>
              </a:solidFill>
              <a:latin typeface="Arial"/>
            </a:endParaRPr>
          </a:p>
        </p:txBody>
      </p:sp>
      <p:sp>
        <p:nvSpPr>
          <p:cNvPr id="132" name="PlaceHolder 5"/>
          <p:cNvSpPr>
            <a:spLocks noGrp="1"/>
          </p:cNvSpPr>
          <p:nvPr>
            <p:ph type="body"/>
          </p:nvPr>
        </p:nvSpPr>
        <p:spPr>
          <a:xfrm>
            <a:off x="407880" y="3963600"/>
            <a:ext cx="5616360" cy="2454120"/>
          </a:xfrm>
          <a:prstGeom prst="rect">
            <a:avLst/>
          </a:prstGeom>
          <a:noFill/>
          <a:ln w="0">
            <a:noFill/>
          </a:ln>
        </p:spPr>
        <p:txBody>
          <a:bodyPr lIns="0" rIns="0" tIns="0" bIns="0" anchor="t">
            <a:noAutofit/>
          </a:bodyPr>
          <a:p>
            <a:pPr marL="361800" indent="-361800" defTabSz="914400">
              <a:lnSpc>
                <a:spcPct val="110000"/>
              </a:lnSpc>
              <a:spcAft>
                <a:spcPts val="1199"/>
              </a:spcAft>
              <a:buClr>
                <a:srgbClr val="ffffff"/>
              </a:buClr>
              <a:buFont typeface="Arial"/>
              <a:buChar char="•"/>
              <a:tabLst>
                <a:tab algn="l" pos="361800"/>
              </a:tabLst>
            </a:pPr>
            <a:r>
              <a:rPr b="0" lang="de-DE" sz="1800" spc="-1" strike="noStrike">
                <a:solidFill>
                  <a:schemeClr val="lt1"/>
                </a:solidFill>
                <a:latin typeface="Arial"/>
                <a:ea typeface="Arial"/>
              </a:rPr>
              <a:t>Mastertextformat bearbeiten</a:t>
            </a:r>
            <a:endParaRPr b="0" lang="en-US" sz="1800" spc="-1" strike="noStrike">
              <a:solidFill>
                <a:schemeClr val="lt1"/>
              </a:solidFill>
              <a:latin typeface="Arial"/>
            </a:endParaRPr>
          </a:p>
          <a:p>
            <a:pPr lvl="1" marL="628560" indent="-266760" defTabSz="914400">
              <a:lnSpc>
                <a:spcPct val="110000"/>
              </a:lnSpc>
              <a:spcAft>
                <a:spcPts val="1199"/>
              </a:spcAft>
              <a:buClr>
                <a:srgbClr val="ffffff"/>
              </a:buClr>
              <a:buFont typeface="Arial"/>
              <a:buChar char="•"/>
              <a:tabLst>
                <a:tab algn="l" pos="361800"/>
              </a:tabLst>
            </a:pPr>
            <a:r>
              <a:rPr b="0" lang="de-DE" sz="1800" spc="-1" strike="noStrike">
                <a:solidFill>
                  <a:schemeClr val="lt1"/>
                </a:solidFill>
                <a:latin typeface="Arial"/>
                <a:ea typeface="Arial"/>
              </a:rPr>
              <a:t>Zweite Ebene</a:t>
            </a:r>
            <a:endParaRPr b="0" lang="en-US" sz="1800" spc="-1" strike="noStrike">
              <a:solidFill>
                <a:schemeClr val="lt1"/>
              </a:solidFill>
              <a:latin typeface="Arial"/>
            </a:endParaRPr>
          </a:p>
          <a:p>
            <a:pPr lvl="2" marL="895320" indent="-266760" defTabSz="914400">
              <a:lnSpc>
                <a:spcPct val="110000"/>
              </a:lnSpc>
              <a:spcAft>
                <a:spcPts val="1199"/>
              </a:spcAft>
              <a:buClr>
                <a:srgbClr val="ffffff"/>
              </a:buClr>
              <a:buFont typeface="Arial"/>
              <a:buChar char="•"/>
              <a:tabLst>
                <a:tab algn="l" pos="361800"/>
              </a:tabLst>
            </a:pPr>
            <a:r>
              <a:rPr b="0" lang="de-DE" sz="1800" spc="-1" strike="noStrike">
                <a:solidFill>
                  <a:schemeClr val="lt1"/>
                </a:solidFill>
                <a:latin typeface="Arial"/>
                <a:ea typeface="Arial"/>
              </a:rPr>
              <a:t>Dritte Ebene</a:t>
            </a:r>
            <a:endParaRPr b="0" lang="en-US" sz="1800" spc="-1" strike="noStrike">
              <a:solidFill>
                <a:schemeClr val="lt1"/>
              </a:solidFill>
              <a:latin typeface="Arial"/>
            </a:endParaRPr>
          </a:p>
          <a:p>
            <a:pPr lvl="3" marL="1162080" indent="-266760" defTabSz="914400">
              <a:lnSpc>
                <a:spcPct val="110000"/>
              </a:lnSpc>
              <a:spcAft>
                <a:spcPts val="1199"/>
              </a:spcAft>
              <a:buClr>
                <a:srgbClr val="ffffff"/>
              </a:buClr>
              <a:buFont typeface="Arial"/>
              <a:buChar char="•"/>
              <a:tabLst>
                <a:tab algn="l" pos="361800"/>
              </a:tabLst>
            </a:pPr>
            <a:r>
              <a:rPr b="0" lang="de-DE" sz="1800" spc="-1" strike="noStrike">
                <a:solidFill>
                  <a:schemeClr val="lt1"/>
                </a:solidFill>
                <a:latin typeface="Arial"/>
                <a:ea typeface="Arial"/>
              </a:rPr>
              <a:t>Vierte Ebene</a:t>
            </a:r>
            <a:endParaRPr b="0" lang="en-US" sz="1800" spc="-1" strike="noStrike">
              <a:solidFill>
                <a:schemeClr val="lt1"/>
              </a:solidFill>
              <a:latin typeface="Arial"/>
            </a:endParaRPr>
          </a:p>
          <a:p>
            <a:pPr lvl="4" marL="1438200" indent="-276120" defTabSz="914400">
              <a:lnSpc>
                <a:spcPct val="110000"/>
              </a:lnSpc>
              <a:spcAft>
                <a:spcPts val="1199"/>
              </a:spcAft>
              <a:buClr>
                <a:srgbClr val="ffffff"/>
              </a:buClr>
              <a:buFont typeface="Arial"/>
              <a:buChar char="•"/>
              <a:tabLst>
                <a:tab algn="l" pos="361800"/>
              </a:tabLst>
            </a:pPr>
            <a:r>
              <a:rPr b="0" lang="de-DE" sz="1800" spc="-1" strike="noStrike">
                <a:solidFill>
                  <a:schemeClr val="lt1"/>
                </a:solidFill>
                <a:latin typeface="Arial"/>
                <a:ea typeface="Arial"/>
              </a:rPr>
              <a:t>Fünfte Ebene</a:t>
            </a:r>
            <a:endParaRPr b="0" lang="en-US" sz="1800" spc="-1" strike="noStrike">
              <a:solidFill>
                <a:schemeClr val="lt1"/>
              </a:solidFill>
              <a:latin typeface="Arial"/>
            </a:endParaRPr>
          </a:p>
        </p:txBody>
      </p:sp>
      <p:sp>
        <p:nvSpPr>
          <p:cNvPr id="133" name="PlaceHolder 6"/>
          <p:cNvSpPr>
            <a:spLocks noGrp="1"/>
          </p:cNvSpPr>
          <p:nvPr>
            <p:ph type="body"/>
          </p:nvPr>
        </p:nvSpPr>
        <p:spPr>
          <a:xfrm>
            <a:off x="6167520" y="1449360"/>
            <a:ext cx="5616360" cy="2410920"/>
          </a:xfrm>
          <a:prstGeom prst="rect">
            <a:avLst/>
          </a:prstGeom>
          <a:solidFill>
            <a:schemeClr val="lt1">
              <a:lumMod val="95000"/>
            </a:schemeClr>
          </a:solidFill>
          <a:ln w="0">
            <a:noFill/>
          </a:ln>
        </p:spPr>
        <p:txBody>
          <a:bodyPr lIns="72000" rIns="72000" tIns="36000" bIns="36000" anchor="t">
            <a:noAutofit/>
          </a:bodyPr>
          <a:p>
            <a:pPr indent="0" defTabSz="914400">
              <a:lnSpc>
                <a:spcPct val="110000"/>
              </a:lnSpc>
              <a:spcAft>
                <a:spcPts val="1199"/>
              </a:spcAft>
              <a:buNone/>
              <a:tabLst>
                <a:tab algn="l" pos="0"/>
              </a:tabLst>
            </a:pPr>
            <a:r>
              <a:rPr b="0" lang="de-DE" sz="1800" spc="-1" strike="noStrike">
                <a:solidFill>
                  <a:schemeClr val="lt1"/>
                </a:solidFill>
                <a:latin typeface="Arial"/>
                <a:ea typeface="Arial"/>
              </a:rPr>
              <a:t>Mastertextformat bearbeiten</a:t>
            </a:r>
            <a:endParaRPr b="0" lang="en-US" sz="1800" spc="-1" strike="noStrike">
              <a:solidFill>
                <a:schemeClr val="lt1"/>
              </a:solidFill>
              <a:latin typeface="Arial"/>
            </a:endParaRPr>
          </a:p>
        </p:txBody>
      </p:sp>
      <p:sp>
        <p:nvSpPr>
          <p:cNvPr id="134" name="PlaceHolder 7"/>
          <p:cNvSpPr>
            <a:spLocks noGrp="1"/>
          </p:cNvSpPr>
          <p:nvPr>
            <p:ph type="body"/>
          </p:nvPr>
        </p:nvSpPr>
        <p:spPr>
          <a:xfrm>
            <a:off x="6167520" y="4005360"/>
            <a:ext cx="5616360" cy="2410920"/>
          </a:xfrm>
          <a:prstGeom prst="rect">
            <a:avLst/>
          </a:prstGeom>
          <a:solidFill>
            <a:schemeClr val="lt1">
              <a:lumMod val="95000"/>
            </a:schemeClr>
          </a:solidFill>
          <a:ln w="0">
            <a:noFill/>
          </a:ln>
        </p:spPr>
        <p:txBody>
          <a:bodyPr lIns="72000" rIns="72000" tIns="36000" bIns="36000" anchor="t">
            <a:noAutofit/>
          </a:bodyPr>
          <a:p>
            <a:pPr indent="0" defTabSz="914400">
              <a:lnSpc>
                <a:spcPct val="110000"/>
              </a:lnSpc>
              <a:spcAft>
                <a:spcPts val="1199"/>
              </a:spcAft>
              <a:buNone/>
              <a:tabLst>
                <a:tab algn="l" pos="0"/>
              </a:tabLst>
            </a:pPr>
            <a:r>
              <a:rPr b="0" lang="de-DE" sz="1800" spc="-1" strike="noStrike">
                <a:solidFill>
                  <a:schemeClr val="lt1"/>
                </a:solidFill>
                <a:latin typeface="Arial"/>
                <a:ea typeface="Arial"/>
              </a:rPr>
              <a:t>Mastertextformat bearbeiten</a:t>
            </a:r>
            <a:endParaRPr b="0" lang="en-US" sz="1800" spc="-1" strike="noStrike">
              <a:solidFill>
                <a:schemeClr val="lt1"/>
              </a:solidFill>
              <a:latin typeface="Arial"/>
            </a:endParaRPr>
          </a:p>
        </p:txBody>
      </p:sp>
    </p:spTree>
  </p:cSld>
  <p:clrMap bg1="lt1" tx1="dk1" bg2="lt2" tx2="dk2" accent1="accent1" accent2="accent2" accent3="accent3" accent4="accent4" accent5="accent5" accent6="accent6" hlink="hlink" folHlink="folHlink"/>
  <p:sldLayoutIdLst>
    <p:sldLayoutId id="2147483687" r:id="rId3"/>
  </p:sldLayoutIdLst>
</p:sldMaster>
</file>

<file path=ppt/slideMasters/slideMaster21.xml><?xml version="1.0" encoding="utf-8"?>
<p:sldMaster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p:cSld>
    <p:bg>
      <p:bgPr>
        <a:solidFill>
          <a:srgbClr val="ffffff"/>
        </a:solidFill>
      </p:bgPr>
    </p:bg>
    <p:spTree>
      <p:nvGrpSpPr>
        <p:cNvPr id="1" name=""/>
        <p:cNvGrpSpPr/>
        <p:nvPr/>
      </p:nvGrpSpPr>
      <p:grpSpPr>
        <a:xfrm>
          <a:off x="0" y="0"/>
          <a:ext cx="0" cy="0"/>
          <a:chOff x="0" y="0"/>
          <a:chExt cx="0" cy="0"/>
        </a:xfrm>
      </p:grpSpPr>
      <p:sp>
        <p:nvSpPr>
          <p:cNvPr id="135" name="Textfeld 13" hidden="1"/>
          <p:cNvSpPr/>
          <p:nvPr/>
        </p:nvSpPr>
        <p:spPr>
          <a:xfrm>
            <a:off x="10848600" y="6580800"/>
            <a:ext cx="935280" cy="186480"/>
          </a:xfrm>
          <a:prstGeom prst="rect">
            <a:avLst/>
          </a:prstGeom>
          <a:noFill/>
          <a:ln w="0">
            <a:noFill/>
          </a:ln>
        </p:spPr>
        <p:style>
          <a:lnRef idx="0"/>
          <a:fillRef idx="0"/>
          <a:effectRef idx="0"/>
          <a:fontRef idx="minor"/>
        </p:style>
        <p:txBody>
          <a:bodyPr lIns="0" rIns="0" tIns="0" bIns="0" anchor="t">
            <a:noAutofit/>
          </a:bodyPr>
          <a:p>
            <a:pPr algn="r" defTabSz="457200">
              <a:lnSpc>
                <a:spcPct val="100000"/>
              </a:lnSpc>
            </a:pPr>
            <a:r>
              <a:rPr b="1" lang="de-DE" sz="1100" spc="-1" strike="noStrike">
                <a:solidFill>
                  <a:schemeClr val="dk1"/>
                </a:solidFill>
                <a:latin typeface="Arial"/>
                <a:ea typeface="Arial"/>
              </a:rPr>
              <a:t>Seite </a:t>
            </a:r>
            <a:fld id="{AB5BABE3-D1EF-4700-88D0-86752BECAEB6}" type="slidenum">
              <a:rPr b="1" lang="de-DE" sz="1100" spc="-1" strike="noStrike">
                <a:solidFill>
                  <a:schemeClr val="dk1"/>
                </a:solidFill>
                <a:latin typeface="Arial"/>
                <a:ea typeface="Arial"/>
              </a:rPr>
              <a:t>&lt;number&gt;</a:t>
            </a:fld>
            <a:endParaRPr b="0" lang="en-US" sz="1100" spc="-1" strike="noStrike">
              <a:solidFill>
                <a:srgbClr val="000000"/>
              </a:solidFill>
              <a:latin typeface="Calibri"/>
            </a:endParaRPr>
          </a:p>
        </p:txBody>
      </p:sp>
      <p:pic>
        <p:nvPicPr>
          <p:cNvPr id="136" name="Grafik 6" descr=""/>
          <p:cNvPicPr/>
          <p:nvPr/>
        </p:nvPicPr>
        <p:blipFill>
          <a:blip r:embed="rId2"/>
          <a:stretch/>
        </p:blipFill>
        <p:spPr>
          <a:xfrm>
            <a:off x="403200" y="6613920"/>
            <a:ext cx="325080" cy="100440"/>
          </a:xfrm>
          <a:prstGeom prst="rect">
            <a:avLst/>
          </a:prstGeom>
          <a:ln w="0">
            <a:noFill/>
          </a:ln>
        </p:spPr>
      </p:pic>
      <p:sp>
        <p:nvSpPr>
          <p:cNvPr id="137" name="PlaceHolder 1"/>
          <p:cNvSpPr>
            <a:spLocks noGrp="1"/>
          </p:cNvSpPr>
          <p:nvPr>
            <p:ph type="title"/>
          </p:nvPr>
        </p:nvSpPr>
        <p:spPr>
          <a:xfrm>
            <a:off x="407880" y="349560"/>
            <a:ext cx="11375640" cy="1854720"/>
          </a:xfrm>
          <a:prstGeom prst="rect">
            <a:avLst/>
          </a:prstGeom>
          <a:noFill/>
          <a:ln w="0">
            <a:noFill/>
          </a:ln>
        </p:spPr>
        <p:txBody>
          <a:bodyPr lIns="0" rIns="0" tIns="0" bIns="0" anchor="t">
            <a:noAutofit/>
          </a:bodyPr>
          <a:p>
            <a:pPr indent="0" defTabSz="914400">
              <a:lnSpc>
                <a:spcPct val="100000"/>
              </a:lnSpc>
              <a:buNone/>
            </a:pPr>
            <a:r>
              <a:rPr b="1" lang="de-DE" sz="6000" spc="-1" strike="noStrike">
                <a:solidFill>
                  <a:schemeClr val="accent1"/>
                </a:solidFill>
                <a:latin typeface="Arial"/>
                <a:ea typeface="Arial"/>
              </a:rPr>
              <a:t>Mastertitelformat bearbeiten</a:t>
            </a:r>
            <a:endParaRPr b="0" lang="en-US" sz="6000" spc="-1" strike="noStrike">
              <a:solidFill>
                <a:schemeClr val="dk1"/>
              </a:solidFill>
              <a:latin typeface="Arial"/>
            </a:endParaRPr>
          </a:p>
        </p:txBody>
      </p:sp>
      <p:sp>
        <p:nvSpPr>
          <p:cNvPr id="138" name="PlaceHolder 2"/>
          <p:cNvSpPr>
            <a:spLocks noGrp="1"/>
          </p:cNvSpPr>
          <p:nvPr>
            <p:ph type="body"/>
          </p:nvPr>
        </p:nvSpPr>
        <p:spPr>
          <a:xfrm>
            <a:off x="414360" y="4096800"/>
            <a:ext cx="11369160" cy="699840"/>
          </a:xfrm>
          <a:prstGeom prst="rect">
            <a:avLst/>
          </a:prstGeom>
          <a:noFill/>
          <a:ln w="0">
            <a:noFill/>
          </a:ln>
        </p:spPr>
        <p:txBody>
          <a:bodyPr lIns="0" rIns="0" tIns="0" bIns="0" anchor="t">
            <a:noAutofit/>
          </a:bodyPr>
          <a:p>
            <a:pPr indent="0" defTabSz="914400">
              <a:lnSpc>
                <a:spcPct val="110000"/>
              </a:lnSpc>
              <a:buNone/>
              <a:tabLst>
                <a:tab algn="l" pos="0"/>
              </a:tabLst>
            </a:pPr>
            <a:r>
              <a:rPr b="0" lang="de-DE" sz="1900" spc="-1" strike="noStrike">
                <a:solidFill>
                  <a:schemeClr val="dk1"/>
                </a:solidFill>
                <a:latin typeface="Arial"/>
                <a:ea typeface="Arial"/>
              </a:rPr>
              <a:t>Mastertextformat bearbeiten</a:t>
            </a:r>
            <a:endParaRPr b="0" lang="en-US" sz="1900" spc="-1" strike="noStrike">
              <a:solidFill>
                <a:schemeClr val="dk1"/>
              </a:solidFill>
              <a:latin typeface="Arial"/>
            </a:endParaRPr>
          </a:p>
        </p:txBody>
      </p:sp>
      <p:pic>
        <p:nvPicPr>
          <p:cNvPr id="139" name="Grafik 9" descr=""/>
          <p:cNvPicPr/>
          <p:nvPr/>
        </p:nvPicPr>
        <p:blipFill>
          <a:blip r:embed="rId3"/>
          <a:stretch/>
        </p:blipFill>
        <p:spPr>
          <a:xfrm>
            <a:off x="407520" y="6242400"/>
            <a:ext cx="2637360" cy="179640"/>
          </a:xfrm>
          <a:prstGeom prst="rect">
            <a:avLst/>
          </a:prstGeom>
          <a:ln w="0">
            <a:noFill/>
          </a:ln>
        </p:spPr>
      </p:pic>
      <p:pic>
        <p:nvPicPr>
          <p:cNvPr id="140" name="Grafik 6" descr=""/>
          <p:cNvPicPr/>
          <p:nvPr/>
        </p:nvPicPr>
        <p:blipFill>
          <a:blip r:embed="rId4"/>
          <a:stretch/>
        </p:blipFill>
        <p:spPr>
          <a:xfrm>
            <a:off x="10833120" y="5670000"/>
            <a:ext cx="793440" cy="793800"/>
          </a:xfrm>
          <a:prstGeom prst="rect">
            <a:avLst/>
          </a:prstGeom>
          <a:ln w="0">
            <a:noFill/>
          </a:ln>
        </p:spPr>
      </p:pic>
    </p:spTree>
  </p:cSld>
  <p:clrMap bg1="lt1" tx1="dk1" bg2="lt2" tx2="dk2" accent1="accent1" accent2="accent2" accent3="accent3" accent4="accent4" accent5="accent5" accent6="accent6" hlink="hlink" folHlink="folHlink"/>
  <p:sldLayoutIdLst>
    <p:sldLayoutId id="2147483689" r:id="rId5"/>
  </p:sldLayoutIdLst>
</p:sldMaster>
</file>

<file path=ppt/slideMasters/slideMaster22.xml><?xml version="1.0" encoding="utf-8"?>
<p:sldMaster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p:cSld>
    <p:bg>
      <p:bgPr>
        <a:solidFill>
          <a:srgbClr val="ffffff"/>
        </a:solidFill>
      </p:bgPr>
    </p:bg>
    <p:spTree>
      <p:nvGrpSpPr>
        <p:cNvPr id="1" name=""/>
        <p:cNvGrpSpPr/>
        <p:nvPr/>
      </p:nvGrpSpPr>
      <p:grpSpPr>
        <a:xfrm>
          <a:off x="0" y="0"/>
          <a:ext cx="0" cy="0"/>
          <a:chOff x="0" y="0"/>
          <a:chExt cx="0" cy="0"/>
        </a:xfrm>
      </p:grpSpPr>
      <p:sp>
        <p:nvSpPr>
          <p:cNvPr id="141" name="Textfeld 13"/>
          <p:cNvSpPr/>
          <p:nvPr/>
        </p:nvSpPr>
        <p:spPr>
          <a:xfrm>
            <a:off x="10848600" y="6580800"/>
            <a:ext cx="935280" cy="186480"/>
          </a:xfrm>
          <a:prstGeom prst="rect">
            <a:avLst/>
          </a:prstGeom>
          <a:noFill/>
          <a:ln w="0">
            <a:noFill/>
          </a:ln>
        </p:spPr>
        <p:style>
          <a:lnRef idx="0"/>
          <a:fillRef idx="0"/>
          <a:effectRef idx="0"/>
          <a:fontRef idx="minor"/>
        </p:style>
        <p:txBody>
          <a:bodyPr lIns="0" rIns="0" tIns="0" bIns="0" anchor="t">
            <a:noAutofit/>
          </a:bodyPr>
          <a:p>
            <a:pPr algn="r" defTabSz="457200">
              <a:lnSpc>
                <a:spcPct val="100000"/>
              </a:lnSpc>
            </a:pPr>
            <a:r>
              <a:rPr b="1" lang="de-DE" sz="1100" spc="-1" strike="noStrike">
                <a:solidFill>
                  <a:schemeClr val="dk1"/>
                </a:solidFill>
                <a:latin typeface="Arial"/>
                <a:ea typeface="Arial"/>
              </a:rPr>
              <a:t>Seite </a:t>
            </a:r>
            <a:fld id="{D6FCD88A-016C-452B-A236-8A303E7BB4E1}" type="slidenum">
              <a:rPr b="1" lang="de-DE" sz="1100" spc="-1" strike="noStrike">
                <a:solidFill>
                  <a:schemeClr val="dk1"/>
                </a:solidFill>
                <a:latin typeface="Arial"/>
                <a:ea typeface="Arial"/>
              </a:rPr>
              <a:t>&lt;number&gt;</a:t>
            </a:fld>
            <a:endParaRPr b="0" lang="en-US" sz="1100" spc="-1" strike="noStrike">
              <a:solidFill>
                <a:srgbClr val="000000"/>
              </a:solidFill>
              <a:latin typeface="Calibri"/>
            </a:endParaRPr>
          </a:p>
        </p:txBody>
      </p:sp>
      <p:pic>
        <p:nvPicPr>
          <p:cNvPr id="142" name="Grafik 6" descr=""/>
          <p:cNvPicPr/>
          <p:nvPr/>
        </p:nvPicPr>
        <p:blipFill>
          <a:blip r:embed="rId2"/>
          <a:stretch/>
        </p:blipFill>
        <p:spPr>
          <a:xfrm>
            <a:off x="403200" y="6613920"/>
            <a:ext cx="325080" cy="100440"/>
          </a:xfrm>
          <a:prstGeom prst="rect">
            <a:avLst/>
          </a:prstGeom>
          <a:ln w="0">
            <a:noFill/>
          </a:ln>
        </p:spPr>
      </p:pic>
      <p:sp>
        <p:nvSpPr>
          <p:cNvPr id="143" name="PlaceHolder 1"/>
          <p:cNvSpPr>
            <a:spLocks noGrp="1"/>
          </p:cNvSpPr>
          <p:nvPr>
            <p:ph type="title"/>
          </p:nvPr>
        </p:nvSpPr>
        <p:spPr>
          <a:xfrm>
            <a:off x="407880" y="349560"/>
            <a:ext cx="11375640" cy="450720"/>
          </a:xfrm>
          <a:prstGeom prst="rect">
            <a:avLst/>
          </a:prstGeom>
          <a:noFill/>
          <a:ln w="0">
            <a:noFill/>
          </a:ln>
        </p:spPr>
        <p:txBody>
          <a:bodyPr lIns="0" rIns="0" tIns="0" bIns="0" anchor="t">
            <a:noAutofit/>
          </a:bodyPr>
          <a:p>
            <a:pPr indent="0" defTabSz="914400">
              <a:lnSpc>
                <a:spcPct val="90000"/>
              </a:lnSpc>
              <a:buNone/>
            </a:pPr>
            <a:r>
              <a:rPr b="1" lang="de-DE" sz="3000" spc="-1" strike="noStrike">
                <a:solidFill>
                  <a:schemeClr val="accent1"/>
                </a:solidFill>
                <a:latin typeface="Arial"/>
                <a:ea typeface="Arial"/>
              </a:rPr>
              <a:t>Mastertitelformat bearbeiten</a:t>
            </a:r>
            <a:endParaRPr b="0" lang="en-US" sz="3000" spc="-1" strike="noStrike">
              <a:solidFill>
                <a:schemeClr val="dk1"/>
              </a:solidFill>
              <a:latin typeface="Arial"/>
            </a:endParaRPr>
          </a:p>
        </p:txBody>
      </p:sp>
      <p:sp>
        <p:nvSpPr>
          <p:cNvPr id="144" name="PlaceHolder 2"/>
          <p:cNvSpPr>
            <a:spLocks noGrp="1"/>
          </p:cNvSpPr>
          <p:nvPr>
            <p:ph type="ftr" idx="17"/>
          </p:nvPr>
        </p:nvSpPr>
        <p:spPr>
          <a:xfrm>
            <a:off x="791640" y="6580800"/>
            <a:ext cx="9948600" cy="186480"/>
          </a:xfrm>
          <a:prstGeom prst="rect">
            <a:avLst/>
          </a:prstGeom>
          <a:noFill/>
          <a:ln w="0">
            <a:noFill/>
          </a:ln>
        </p:spPr>
        <p:txBody>
          <a:bodyPr lIns="0" rIns="0" tIns="0" bIns="0" anchor="t">
            <a:noAutofit/>
          </a:bodyPr>
          <a:lstStyle>
            <a:lvl1pPr indent="0" defTabSz="457200">
              <a:lnSpc>
                <a:spcPct val="100000"/>
              </a:lnSpc>
              <a:buNone/>
              <a:defRPr b="0" lang="pt-BR" sz="1100" spc="-1" strike="noStrike">
                <a:solidFill>
                  <a:schemeClr val="dk1"/>
                </a:solidFill>
                <a:latin typeface="Arial"/>
                <a:ea typeface="Arial"/>
              </a:defRPr>
            </a:lvl1pPr>
          </a:lstStyle>
          <a:p>
            <a:pPr indent="0" defTabSz="457200">
              <a:lnSpc>
                <a:spcPct val="100000"/>
              </a:lnSpc>
              <a:buNone/>
            </a:pPr>
            <a:r>
              <a:rPr b="0" lang="pt-BR" sz="1100" spc="-1" strike="noStrike">
                <a:solidFill>
                  <a:schemeClr val="dk1"/>
                </a:solidFill>
                <a:latin typeface="Arial"/>
                <a:ea typeface="Arial"/>
              </a:rPr>
              <a:t>&lt;footer&gt;</a:t>
            </a:r>
            <a:endParaRPr b="0" lang="en-US" sz="1100" spc="-1" strike="noStrike">
              <a:solidFill>
                <a:srgbClr val="000000"/>
              </a:solidFill>
              <a:latin typeface="Calibri"/>
            </a:endParaRPr>
          </a:p>
        </p:txBody>
      </p:sp>
      <p:sp>
        <p:nvSpPr>
          <p:cNvPr id="145" name="PlaceHolder 3"/>
          <p:cNvSpPr>
            <a:spLocks noGrp="1"/>
          </p:cNvSpPr>
          <p:nvPr>
            <p:ph type="body"/>
          </p:nvPr>
        </p:nvSpPr>
        <p:spPr>
          <a:xfrm>
            <a:off x="407880" y="817560"/>
            <a:ext cx="11375640" cy="378720"/>
          </a:xfrm>
          <a:prstGeom prst="rect">
            <a:avLst/>
          </a:prstGeom>
          <a:noFill/>
          <a:ln w="0">
            <a:noFill/>
          </a:ln>
        </p:spPr>
        <p:txBody>
          <a:bodyPr lIns="0" rIns="0" tIns="0" bIns="0" anchor="t">
            <a:noAutofit/>
          </a:bodyPr>
          <a:p>
            <a:pPr indent="0" defTabSz="914400">
              <a:lnSpc>
                <a:spcPct val="110000"/>
              </a:lnSpc>
              <a:buNone/>
              <a:tabLst>
                <a:tab algn="l" pos="0"/>
              </a:tabLst>
            </a:pPr>
            <a:r>
              <a:rPr b="1" lang="de-DE" sz="1800" spc="-1" strike="noStrike">
                <a:solidFill>
                  <a:schemeClr val="accent2"/>
                </a:solidFill>
                <a:latin typeface="Arial"/>
                <a:ea typeface="Arial"/>
              </a:rPr>
              <a:t>Unterüberschrift</a:t>
            </a:r>
            <a:endParaRPr b="0" lang="en-US" sz="1800" spc="-1" strike="noStrike">
              <a:solidFill>
                <a:schemeClr val="dk1"/>
              </a:solidFill>
              <a:latin typeface="Arial"/>
            </a:endParaRPr>
          </a:p>
        </p:txBody>
      </p:sp>
      <p:sp>
        <p:nvSpPr>
          <p:cNvPr id="146" name="PlaceHolder 4"/>
          <p:cNvSpPr>
            <a:spLocks noGrp="1"/>
          </p:cNvSpPr>
          <p:nvPr>
            <p:ph type="body"/>
          </p:nvPr>
        </p:nvSpPr>
        <p:spPr>
          <a:xfrm>
            <a:off x="407880" y="1406520"/>
            <a:ext cx="7524360" cy="2454120"/>
          </a:xfrm>
          <a:prstGeom prst="rect">
            <a:avLst/>
          </a:prstGeom>
          <a:noFill/>
          <a:ln w="0">
            <a:noFill/>
          </a:ln>
        </p:spPr>
        <p:txBody>
          <a:bodyPr lIns="0" rIns="0" tIns="0" bIns="0" anchor="t">
            <a:noAutofit/>
          </a:bodyPr>
          <a:p>
            <a:pPr marL="361800" indent="-361800" defTabSz="914400">
              <a:lnSpc>
                <a:spcPct val="110000"/>
              </a:lnSpc>
              <a:spcAft>
                <a:spcPts val="1199"/>
              </a:spcAft>
              <a:buClr>
                <a:srgbClr val="000000"/>
              </a:buClr>
              <a:buFont typeface="Arial"/>
              <a:buChar char="•"/>
              <a:tabLst>
                <a:tab algn="l" pos="361800"/>
              </a:tabLst>
            </a:pPr>
            <a:r>
              <a:rPr b="0" lang="de-DE" sz="1800" spc="-1" strike="noStrike">
                <a:solidFill>
                  <a:schemeClr val="dk1"/>
                </a:solidFill>
                <a:latin typeface="Arial"/>
                <a:ea typeface="Arial"/>
              </a:rPr>
              <a:t>Mastertextformat bearbeiten</a:t>
            </a:r>
            <a:endParaRPr b="0" lang="en-US" sz="1800" spc="-1" strike="noStrike">
              <a:solidFill>
                <a:schemeClr val="dk1"/>
              </a:solidFill>
              <a:latin typeface="Arial"/>
            </a:endParaRPr>
          </a:p>
          <a:p>
            <a:pPr lvl="1" marL="628560" indent="-266760" defTabSz="914400">
              <a:lnSpc>
                <a:spcPct val="110000"/>
              </a:lnSpc>
              <a:spcAft>
                <a:spcPts val="1199"/>
              </a:spcAft>
              <a:buClr>
                <a:srgbClr val="000000"/>
              </a:buClr>
              <a:buFont typeface="Arial"/>
              <a:buChar char="•"/>
              <a:tabLst>
                <a:tab algn="l" pos="361800"/>
              </a:tabLst>
            </a:pPr>
            <a:r>
              <a:rPr b="0" lang="de-DE" sz="1800" spc="-1" strike="noStrike">
                <a:solidFill>
                  <a:schemeClr val="dk1"/>
                </a:solidFill>
                <a:latin typeface="Arial"/>
                <a:ea typeface="Arial"/>
              </a:rPr>
              <a:t>Zweite Ebene</a:t>
            </a:r>
            <a:endParaRPr b="0" lang="en-US" sz="1800" spc="-1" strike="noStrike">
              <a:solidFill>
                <a:schemeClr val="dk1"/>
              </a:solidFill>
              <a:latin typeface="Arial"/>
            </a:endParaRPr>
          </a:p>
          <a:p>
            <a:pPr lvl="2" marL="895320" indent="-266760" defTabSz="914400">
              <a:lnSpc>
                <a:spcPct val="110000"/>
              </a:lnSpc>
              <a:spcAft>
                <a:spcPts val="1199"/>
              </a:spcAft>
              <a:buClr>
                <a:srgbClr val="000000"/>
              </a:buClr>
              <a:buFont typeface="Arial"/>
              <a:buChar char="•"/>
              <a:tabLst>
                <a:tab algn="l" pos="361800"/>
              </a:tabLst>
            </a:pPr>
            <a:r>
              <a:rPr b="0" lang="de-DE" sz="1800" spc="-1" strike="noStrike">
                <a:solidFill>
                  <a:schemeClr val="dk1"/>
                </a:solidFill>
                <a:latin typeface="Arial"/>
                <a:ea typeface="Arial"/>
              </a:rPr>
              <a:t>Dritte Ebene</a:t>
            </a:r>
            <a:endParaRPr b="0" lang="en-US" sz="1800" spc="-1" strike="noStrike">
              <a:solidFill>
                <a:schemeClr val="dk1"/>
              </a:solidFill>
              <a:latin typeface="Arial"/>
            </a:endParaRPr>
          </a:p>
          <a:p>
            <a:pPr lvl="3" marL="1162080" indent="-266760" defTabSz="914400">
              <a:lnSpc>
                <a:spcPct val="110000"/>
              </a:lnSpc>
              <a:spcAft>
                <a:spcPts val="1199"/>
              </a:spcAft>
              <a:buClr>
                <a:srgbClr val="000000"/>
              </a:buClr>
              <a:buFont typeface="Arial"/>
              <a:buChar char="•"/>
              <a:tabLst>
                <a:tab algn="l" pos="361800"/>
              </a:tabLst>
            </a:pPr>
            <a:r>
              <a:rPr b="0" lang="de-DE" sz="1800" spc="-1" strike="noStrike">
                <a:solidFill>
                  <a:schemeClr val="dk1"/>
                </a:solidFill>
                <a:latin typeface="Arial"/>
                <a:ea typeface="Arial"/>
              </a:rPr>
              <a:t>Vierte Ebene</a:t>
            </a:r>
            <a:endParaRPr b="0" lang="en-US" sz="1800" spc="-1" strike="noStrike">
              <a:solidFill>
                <a:schemeClr val="dk1"/>
              </a:solidFill>
              <a:latin typeface="Arial"/>
            </a:endParaRPr>
          </a:p>
          <a:p>
            <a:pPr lvl="4" marL="1438200" indent="-276120" defTabSz="914400">
              <a:lnSpc>
                <a:spcPct val="110000"/>
              </a:lnSpc>
              <a:spcAft>
                <a:spcPts val="1199"/>
              </a:spcAft>
              <a:buClr>
                <a:srgbClr val="000000"/>
              </a:buClr>
              <a:buFont typeface="Arial"/>
              <a:buChar char="•"/>
              <a:tabLst>
                <a:tab algn="l" pos="361800"/>
              </a:tabLst>
            </a:pPr>
            <a:r>
              <a:rPr b="0" lang="de-DE" sz="1800" spc="-1" strike="noStrike">
                <a:solidFill>
                  <a:schemeClr val="dk1"/>
                </a:solidFill>
                <a:latin typeface="Arial"/>
                <a:ea typeface="Arial"/>
              </a:rPr>
              <a:t>Fünfte Ebene</a:t>
            </a:r>
            <a:endParaRPr b="0" lang="en-US" sz="1800" spc="-1" strike="noStrike">
              <a:solidFill>
                <a:schemeClr val="dk1"/>
              </a:solidFill>
              <a:latin typeface="Arial"/>
            </a:endParaRPr>
          </a:p>
        </p:txBody>
      </p:sp>
      <p:sp>
        <p:nvSpPr>
          <p:cNvPr id="147" name="PlaceHolder 5"/>
          <p:cNvSpPr>
            <a:spLocks noGrp="1"/>
          </p:cNvSpPr>
          <p:nvPr>
            <p:ph type="body"/>
          </p:nvPr>
        </p:nvSpPr>
        <p:spPr>
          <a:xfrm>
            <a:off x="407880" y="3963600"/>
            <a:ext cx="7524360" cy="2454120"/>
          </a:xfrm>
          <a:prstGeom prst="rect">
            <a:avLst/>
          </a:prstGeom>
          <a:noFill/>
          <a:ln w="0">
            <a:noFill/>
          </a:ln>
        </p:spPr>
        <p:txBody>
          <a:bodyPr lIns="0" rIns="0" tIns="0" bIns="0" anchor="t">
            <a:noAutofit/>
          </a:bodyPr>
          <a:p>
            <a:pPr marL="361800" indent="-361800" defTabSz="914400">
              <a:lnSpc>
                <a:spcPct val="110000"/>
              </a:lnSpc>
              <a:spcAft>
                <a:spcPts val="1199"/>
              </a:spcAft>
              <a:buClr>
                <a:srgbClr val="000000"/>
              </a:buClr>
              <a:buFont typeface="Arial"/>
              <a:buChar char="•"/>
              <a:tabLst>
                <a:tab algn="l" pos="361800"/>
              </a:tabLst>
            </a:pPr>
            <a:r>
              <a:rPr b="0" lang="de-DE" sz="1800" spc="-1" strike="noStrike">
                <a:solidFill>
                  <a:schemeClr val="dk1"/>
                </a:solidFill>
                <a:latin typeface="Arial"/>
                <a:ea typeface="Arial"/>
              </a:rPr>
              <a:t>Mastertextformat bearbeiten</a:t>
            </a:r>
            <a:endParaRPr b="0" lang="en-US" sz="1800" spc="-1" strike="noStrike">
              <a:solidFill>
                <a:schemeClr val="dk1"/>
              </a:solidFill>
              <a:latin typeface="Arial"/>
            </a:endParaRPr>
          </a:p>
          <a:p>
            <a:pPr lvl="1" marL="628560" indent="-266760" defTabSz="914400">
              <a:lnSpc>
                <a:spcPct val="110000"/>
              </a:lnSpc>
              <a:spcAft>
                <a:spcPts val="1199"/>
              </a:spcAft>
              <a:buClr>
                <a:srgbClr val="000000"/>
              </a:buClr>
              <a:buFont typeface="Arial"/>
              <a:buChar char="•"/>
              <a:tabLst>
                <a:tab algn="l" pos="361800"/>
              </a:tabLst>
            </a:pPr>
            <a:r>
              <a:rPr b="0" lang="de-DE" sz="1800" spc="-1" strike="noStrike">
                <a:solidFill>
                  <a:schemeClr val="dk1"/>
                </a:solidFill>
                <a:latin typeface="Arial"/>
                <a:ea typeface="Arial"/>
              </a:rPr>
              <a:t>Zweite Ebene</a:t>
            </a:r>
            <a:endParaRPr b="0" lang="en-US" sz="1800" spc="-1" strike="noStrike">
              <a:solidFill>
                <a:schemeClr val="dk1"/>
              </a:solidFill>
              <a:latin typeface="Arial"/>
            </a:endParaRPr>
          </a:p>
          <a:p>
            <a:pPr lvl="2" marL="895320" indent="-266760" defTabSz="914400">
              <a:lnSpc>
                <a:spcPct val="110000"/>
              </a:lnSpc>
              <a:spcAft>
                <a:spcPts val="1199"/>
              </a:spcAft>
              <a:buClr>
                <a:srgbClr val="000000"/>
              </a:buClr>
              <a:buFont typeface="Arial"/>
              <a:buChar char="•"/>
              <a:tabLst>
                <a:tab algn="l" pos="361800"/>
              </a:tabLst>
            </a:pPr>
            <a:r>
              <a:rPr b="0" lang="de-DE" sz="1800" spc="-1" strike="noStrike">
                <a:solidFill>
                  <a:schemeClr val="dk1"/>
                </a:solidFill>
                <a:latin typeface="Arial"/>
                <a:ea typeface="Arial"/>
              </a:rPr>
              <a:t>Dritte Ebene</a:t>
            </a:r>
            <a:endParaRPr b="0" lang="en-US" sz="1800" spc="-1" strike="noStrike">
              <a:solidFill>
                <a:schemeClr val="dk1"/>
              </a:solidFill>
              <a:latin typeface="Arial"/>
            </a:endParaRPr>
          </a:p>
          <a:p>
            <a:pPr lvl="3" marL="1162080" indent="-266760" defTabSz="914400">
              <a:lnSpc>
                <a:spcPct val="110000"/>
              </a:lnSpc>
              <a:spcAft>
                <a:spcPts val="1199"/>
              </a:spcAft>
              <a:buClr>
                <a:srgbClr val="000000"/>
              </a:buClr>
              <a:buFont typeface="Arial"/>
              <a:buChar char="•"/>
              <a:tabLst>
                <a:tab algn="l" pos="361800"/>
              </a:tabLst>
            </a:pPr>
            <a:r>
              <a:rPr b="0" lang="de-DE" sz="1800" spc="-1" strike="noStrike">
                <a:solidFill>
                  <a:schemeClr val="dk1"/>
                </a:solidFill>
                <a:latin typeface="Arial"/>
                <a:ea typeface="Arial"/>
              </a:rPr>
              <a:t>Vierte Ebene</a:t>
            </a:r>
            <a:endParaRPr b="0" lang="en-US" sz="1800" spc="-1" strike="noStrike">
              <a:solidFill>
                <a:schemeClr val="dk1"/>
              </a:solidFill>
              <a:latin typeface="Arial"/>
            </a:endParaRPr>
          </a:p>
          <a:p>
            <a:pPr lvl="4" marL="1438200" indent="-276120" defTabSz="914400">
              <a:lnSpc>
                <a:spcPct val="110000"/>
              </a:lnSpc>
              <a:spcAft>
                <a:spcPts val="1199"/>
              </a:spcAft>
              <a:buClr>
                <a:srgbClr val="000000"/>
              </a:buClr>
              <a:buFont typeface="Arial"/>
              <a:buChar char="•"/>
              <a:tabLst>
                <a:tab algn="l" pos="361800"/>
              </a:tabLst>
            </a:pPr>
            <a:r>
              <a:rPr b="0" lang="de-DE" sz="1800" spc="-1" strike="noStrike">
                <a:solidFill>
                  <a:schemeClr val="dk1"/>
                </a:solidFill>
                <a:latin typeface="Arial"/>
                <a:ea typeface="Arial"/>
              </a:rPr>
              <a:t>Fünfte Ebene</a:t>
            </a:r>
            <a:endParaRPr b="0" lang="en-US" sz="1800" spc="-1" strike="noStrike">
              <a:solidFill>
                <a:schemeClr val="dk1"/>
              </a:solidFill>
              <a:latin typeface="Arial"/>
            </a:endParaRPr>
          </a:p>
        </p:txBody>
      </p:sp>
      <p:sp>
        <p:nvSpPr>
          <p:cNvPr id="148" name="PlaceHolder 6"/>
          <p:cNvSpPr>
            <a:spLocks noGrp="1"/>
          </p:cNvSpPr>
          <p:nvPr>
            <p:ph type="body"/>
          </p:nvPr>
        </p:nvSpPr>
        <p:spPr>
          <a:xfrm>
            <a:off x="8075520" y="1449360"/>
            <a:ext cx="3708000" cy="2410920"/>
          </a:xfrm>
          <a:prstGeom prst="rect">
            <a:avLst/>
          </a:prstGeom>
          <a:solidFill>
            <a:schemeClr val="lt1">
              <a:lumMod val="95000"/>
            </a:schemeClr>
          </a:solidFill>
          <a:ln w="0">
            <a:noFill/>
          </a:ln>
        </p:spPr>
        <p:txBody>
          <a:bodyPr lIns="90000" rIns="90000" tIns="45000" bIns="45000" anchor="ctr">
            <a:noAutofit/>
          </a:bodyPr>
          <a:p>
            <a:pPr indent="0" algn="ctr" defTabSz="457200">
              <a:lnSpc>
                <a:spcPct val="100000"/>
              </a:lnSpc>
              <a:buNone/>
              <a:tabLst>
                <a:tab algn="l" pos="0"/>
              </a:tabLst>
            </a:pPr>
            <a:r>
              <a:rPr b="0" lang="de-DE" sz="1900" spc="-1" strike="noStrike">
                <a:solidFill>
                  <a:schemeClr val="dk1"/>
                </a:solidFill>
                <a:latin typeface="Arial"/>
                <a:ea typeface="Arial"/>
              </a:rPr>
              <a:t>Bild auf Platzhalter ziehen oder durch Klicken auf Symbol hinzufügen</a:t>
            </a:r>
            <a:endParaRPr b="0" lang="en-US" sz="1900" spc="-1" strike="noStrike">
              <a:solidFill>
                <a:schemeClr val="dk1"/>
              </a:solidFill>
              <a:latin typeface="Arial"/>
            </a:endParaRPr>
          </a:p>
        </p:txBody>
      </p:sp>
      <p:sp>
        <p:nvSpPr>
          <p:cNvPr id="149" name="PlaceHolder 7"/>
          <p:cNvSpPr>
            <a:spLocks noGrp="1"/>
          </p:cNvSpPr>
          <p:nvPr>
            <p:ph type="body"/>
          </p:nvPr>
        </p:nvSpPr>
        <p:spPr>
          <a:xfrm>
            <a:off x="8075520" y="4005360"/>
            <a:ext cx="3708000" cy="2412360"/>
          </a:xfrm>
          <a:prstGeom prst="rect">
            <a:avLst/>
          </a:prstGeom>
          <a:solidFill>
            <a:schemeClr val="lt1">
              <a:lumMod val="95000"/>
            </a:schemeClr>
          </a:solidFill>
          <a:ln w="0">
            <a:noFill/>
          </a:ln>
        </p:spPr>
        <p:txBody>
          <a:bodyPr lIns="90000" rIns="90000" tIns="45000" bIns="45000" anchor="ctr">
            <a:noAutofit/>
          </a:bodyPr>
          <a:p>
            <a:pPr indent="0" algn="ctr" defTabSz="457200">
              <a:lnSpc>
                <a:spcPct val="100000"/>
              </a:lnSpc>
              <a:buNone/>
              <a:tabLst>
                <a:tab algn="l" pos="0"/>
              </a:tabLst>
            </a:pPr>
            <a:r>
              <a:rPr b="0" lang="de-DE" sz="1900" spc="-1" strike="noStrike">
                <a:solidFill>
                  <a:schemeClr val="dk1"/>
                </a:solidFill>
                <a:latin typeface="Arial"/>
                <a:ea typeface="Arial"/>
              </a:rPr>
              <a:t>Bild auf Platzhalter ziehen oder durch Klicken auf Symbol hinzufügen</a:t>
            </a:r>
            <a:endParaRPr b="0" lang="en-US" sz="1900" spc="-1" strike="noStrike">
              <a:solidFill>
                <a:schemeClr val="dk1"/>
              </a:solidFill>
              <a:latin typeface="Arial"/>
            </a:endParaRPr>
          </a:p>
        </p:txBody>
      </p:sp>
    </p:spTree>
  </p:cSld>
  <p:clrMap bg1="lt1" tx1="dk1" bg2="lt2" tx2="dk2" accent1="accent1" accent2="accent2" accent3="accent3" accent4="accent4" accent5="accent5" accent6="accent6" hlink="hlink" folHlink="folHlink"/>
  <p:sldLayoutIdLst>
    <p:sldLayoutId id="2147483691" r:id="rId3"/>
  </p:sldLayoutIdLst>
</p:sldMaster>
</file>

<file path=ppt/slideMasters/slideMaster23.xml><?xml version="1.0" encoding="utf-8"?>
<p:sldMaster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p:cSld>
    <p:bg>
      <p:bgPr>
        <a:solidFill>
          <a:srgbClr val="ffffff"/>
        </a:solidFill>
      </p:bgPr>
    </p:bg>
    <p:spTree>
      <p:nvGrpSpPr>
        <p:cNvPr id="1" name=""/>
        <p:cNvGrpSpPr/>
        <p:nvPr/>
      </p:nvGrpSpPr>
      <p:grpSpPr>
        <a:xfrm>
          <a:off x="0" y="0"/>
          <a:ext cx="0" cy="0"/>
          <a:chOff x="0" y="0"/>
          <a:chExt cx="0" cy="0"/>
        </a:xfrm>
      </p:grpSpPr>
      <p:sp>
        <p:nvSpPr>
          <p:cNvPr id="150" name="Textfeld 13"/>
          <p:cNvSpPr/>
          <p:nvPr/>
        </p:nvSpPr>
        <p:spPr>
          <a:xfrm>
            <a:off x="10848600" y="6580800"/>
            <a:ext cx="935280" cy="186480"/>
          </a:xfrm>
          <a:prstGeom prst="rect">
            <a:avLst/>
          </a:prstGeom>
          <a:noFill/>
          <a:ln w="0">
            <a:noFill/>
          </a:ln>
        </p:spPr>
        <p:style>
          <a:lnRef idx="0"/>
          <a:fillRef idx="0"/>
          <a:effectRef idx="0"/>
          <a:fontRef idx="minor"/>
        </p:style>
        <p:txBody>
          <a:bodyPr lIns="0" rIns="0" tIns="0" bIns="0" anchor="t">
            <a:noAutofit/>
          </a:bodyPr>
          <a:p>
            <a:pPr algn="r" defTabSz="457200">
              <a:lnSpc>
                <a:spcPct val="100000"/>
              </a:lnSpc>
            </a:pPr>
            <a:r>
              <a:rPr b="1" lang="de-DE" sz="1100" spc="-1" strike="noStrike">
                <a:solidFill>
                  <a:schemeClr val="dk1"/>
                </a:solidFill>
                <a:latin typeface="Arial"/>
                <a:ea typeface="Arial"/>
              </a:rPr>
              <a:t>Seite </a:t>
            </a:r>
            <a:fld id="{C08D659E-0F7D-44BB-BAAD-936F05493BEB}" type="slidenum">
              <a:rPr b="1" lang="de-DE" sz="1100" spc="-1" strike="noStrike">
                <a:solidFill>
                  <a:schemeClr val="dk1"/>
                </a:solidFill>
                <a:latin typeface="Arial"/>
                <a:ea typeface="Arial"/>
              </a:rPr>
              <a:t>&lt;number&gt;</a:t>
            </a:fld>
            <a:endParaRPr b="0" lang="en-US" sz="1100" spc="-1" strike="noStrike">
              <a:solidFill>
                <a:srgbClr val="000000"/>
              </a:solidFill>
              <a:latin typeface="Calibri"/>
            </a:endParaRPr>
          </a:p>
        </p:txBody>
      </p:sp>
      <p:pic>
        <p:nvPicPr>
          <p:cNvPr id="151" name="Grafik 6" descr=""/>
          <p:cNvPicPr/>
          <p:nvPr/>
        </p:nvPicPr>
        <p:blipFill>
          <a:blip r:embed="rId2"/>
          <a:stretch/>
        </p:blipFill>
        <p:spPr>
          <a:xfrm>
            <a:off x="403200" y="6613920"/>
            <a:ext cx="325080" cy="100440"/>
          </a:xfrm>
          <a:prstGeom prst="rect">
            <a:avLst/>
          </a:prstGeom>
          <a:ln w="0">
            <a:noFill/>
          </a:ln>
        </p:spPr>
      </p:pic>
      <p:sp>
        <p:nvSpPr>
          <p:cNvPr id="152" name="PlaceHolder 1"/>
          <p:cNvSpPr>
            <a:spLocks noGrp="1"/>
          </p:cNvSpPr>
          <p:nvPr>
            <p:ph type="title"/>
          </p:nvPr>
        </p:nvSpPr>
        <p:spPr>
          <a:xfrm>
            <a:off x="407880" y="349560"/>
            <a:ext cx="11375640" cy="450720"/>
          </a:xfrm>
          <a:prstGeom prst="rect">
            <a:avLst/>
          </a:prstGeom>
          <a:noFill/>
          <a:ln w="0">
            <a:noFill/>
          </a:ln>
        </p:spPr>
        <p:txBody>
          <a:bodyPr lIns="0" rIns="0" tIns="0" bIns="0" anchor="t">
            <a:noAutofit/>
          </a:bodyPr>
          <a:p>
            <a:pPr indent="0" defTabSz="914400">
              <a:lnSpc>
                <a:spcPct val="90000"/>
              </a:lnSpc>
              <a:buNone/>
            </a:pPr>
            <a:r>
              <a:rPr b="1" lang="de-DE" sz="3000" spc="-1" strike="noStrike">
                <a:solidFill>
                  <a:schemeClr val="accent1"/>
                </a:solidFill>
                <a:latin typeface="Arial"/>
                <a:ea typeface="Arial"/>
              </a:rPr>
              <a:t>Mastertitelformat bearbeiten</a:t>
            </a:r>
            <a:endParaRPr b="0" lang="en-US" sz="3000" spc="-1" strike="noStrike">
              <a:solidFill>
                <a:schemeClr val="dk1"/>
              </a:solidFill>
              <a:latin typeface="Arial"/>
            </a:endParaRPr>
          </a:p>
        </p:txBody>
      </p:sp>
      <p:sp>
        <p:nvSpPr>
          <p:cNvPr id="153" name="PlaceHolder 2"/>
          <p:cNvSpPr>
            <a:spLocks noGrp="1"/>
          </p:cNvSpPr>
          <p:nvPr>
            <p:ph type="ftr" idx="18"/>
          </p:nvPr>
        </p:nvSpPr>
        <p:spPr>
          <a:xfrm>
            <a:off x="791640" y="6580800"/>
            <a:ext cx="9948600" cy="186480"/>
          </a:xfrm>
          <a:prstGeom prst="rect">
            <a:avLst/>
          </a:prstGeom>
          <a:noFill/>
          <a:ln w="0">
            <a:noFill/>
          </a:ln>
        </p:spPr>
        <p:txBody>
          <a:bodyPr lIns="0" rIns="0" tIns="0" bIns="0" anchor="t">
            <a:noAutofit/>
          </a:bodyPr>
          <a:lstStyle>
            <a:lvl1pPr indent="0" defTabSz="457200">
              <a:lnSpc>
                <a:spcPct val="100000"/>
              </a:lnSpc>
              <a:buNone/>
              <a:defRPr b="0" lang="pt-BR" sz="1100" spc="-1" strike="noStrike">
                <a:solidFill>
                  <a:schemeClr val="dk1"/>
                </a:solidFill>
                <a:latin typeface="Arial"/>
                <a:ea typeface="Arial"/>
              </a:defRPr>
            </a:lvl1pPr>
          </a:lstStyle>
          <a:p>
            <a:pPr indent="0" defTabSz="457200">
              <a:lnSpc>
                <a:spcPct val="100000"/>
              </a:lnSpc>
              <a:buNone/>
            </a:pPr>
            <a:r>
              <a:rPr b="0" lang="pt-BR" sz="1100" spc="-1" strike="noStrike">
                <a:solidFill>
                  <a:schemeClr val="dk1"/>
                </a:solidFill>
                <a:latin typeface="Arial"/>
                <a:ea typeface="Arial"/>
              </a:rPr>
              <a:t>&lt;footer&gt;</a:t>
            </a:r>
            <a:endParaRPr b="0" lang="en-US" sz="1100" spc="-1" strike="noStrike">
              <a:solidFill>
                <a:srgbClr val="000000"/>
              </a:solidFill>
              <a:latin typeface="Calibri"/>
            </a:endParaRPr>
          </a:p>
        </p:txBody>
      </p:sp>
      <p:sp>
        <p:nvSpPr>
          <p:cNvPr id="154" name="PlaceHolder 3"/>
          <p:cNvSpPr>
            <a:spLocks noGrp="1"/>
          </p:cNvSpPr>
          <p:nvPr>
            <p:ph type="body"/>
          </p:nvPr>
        </p:nvSpPr>
        <p:spPr>
          <a:xfrm>
            <a:off x="407880" y="817560"/>
            <a:ext cx="11375640" cy="378720"/>
          </a:xfrm>
          <a:prstGeom prst="rect">
            <a:avLst/>
          </a:prstGeom>
          <a:noFill/>
          <a:ln w="0">
            <a:noFill/>
          </a:ln>
        </p:spPr>
        <p:txBody>
          <a:bodyPr lIns="0" rIns="0" tIns="0" bIns="0" anchor="t">
            <a:noAutofit/>
          </a:bodyPr>
          <a:p>
            <a:pPr indent="0" defTabSz="914400">
              <a:lnSpc>
                <a:spcPct val="110000"/>
              </a:lnSpc>
              <a:buNone/>
              <a:tabLst>
                <a:tab algn="l" pos="0"/>
              </a:tabLst>
            </a:pPr>
            <a:r>
              <a:rPr b="1" lang="de-DE" sz="1800" spc="-1" strike="noStrike">
                <a:solidFill>
                  <a:schemeClr val="accent2"/>
                </a:solidFill>
                <a:latin typeface="Arial"/>
                <a:ea typeface="Arial"/>
              </a:rPr>
              <a:t>Unterüberschrift</a:t>
            </a:r>
            <a:endParaRPr b="0" lang="en-US" sz="1800" spc="-1" strike="noStrike">
              <a:solidFill>
                <a:schemeClr val="dk1"/>
              </a:solidFill>
              <a:latin typeface="Arial"/>
            </a:endParaRPr>
          </a:p>
        </p:txBody>
      </p:sp>
      <p:sp>
        <p:nvSpPr>
          <p:cNvPr id="155" name="PlaceHolder 4"/>
          <p:cNvSpPr>
            <a:spLocks noGrp="1"/>
          </p:cNvSpPr>
          <p:nvPr>
            <p:ph type="body"/>
          </p:nvPr>
        </p:nvSpPr>
        <p:spPr>
          <a:xfrm>
            <a:off x="407880" y="1406520"/>
            <a:ext cx="7524360" cy="2454120"/>
          </a:xfrm>
          <a:prstGeom prst="rect">
            <a:avLst/>
          </a:prstGeom>
          <a:noFill/>
          <a:ln w="0">
            <a:noFill/>
          </a:ln>
        </p:spPr>
        <p:txBody>
          <a:bodyPr lIns="0" rIns="0" tIns="0" bIns="0" anchor="t">
            <a:noAutofit/>
          </a:bodyPr>
          <a:p>
            <a:pPr marL="361800" indent="-361800" defTabSz="914400">
              <a:lnSpc>
                <a:spcPct val="110000"/>
              </a:lnSpc>
              <a:spcAft>
                <a:spcPts val="1199"/>
              </a:spcAft>
              <a:buClr>
                <a:srgbClr val="000000"/>
              </a:buClr>
              <a:buFont typeface="Arial"/>
              <a:buChar char="•"/>
              <a:tabLst>
                <a:tab algn="l" pos="361800"/>
              </a:tabLst>
            </a:pPr>
            <a:r>
              <a:rPr b="0" lang="de-DE" sz="1800" spc="-1" strike="noStrike">
                <a:solidFill>
                  <a:schemeClr val="dk1"/>
                </a:solidFill>
                <a:latin typeface="Arial"/>
                <a:ea typeface="Arial"/>
              </a:rPr>
              <a:t>Mastertextformat bearbeiten</a:t>
            </a:r>
            <a:endParaRPr b="0" lang="en-US" sz="1800" spc="-1" strike="noStrike">
              <a:solidFill>
                <a:schemeClr val="dk1"/>
              </a:solidFill>
              <a:latin typeface="Arial"/>
            </a:endParaRPr>
          </a:p>
          <a:p>
            <a:pPr lvl="1" marL="628560" indent="-266760" defTabSz="914400">
              <a:lnSpc>
                <a:spcPct val="110000"/>
              </a:lnSpc>
              <a:spcAft>
                <a:spcPts val="1199"/>
              </a:spcAft>
              <a:buClr>
                <a:srgbClr val="000000"/>
              </a:buClr>
              <a:buFont typeface="Arial"/>
              <a:buChar char="•"/>
              <a:tabLst>
                <a:tab algn="l" pos="361800"/>
              </a:tabLst>
            </a:pPr>
            <a:r>
              <a:rPr b="0" lang="de-DE" sz="1800" spc="-1" strike="noStrike">
                <a:solidFill>
                  <a:schemeClr val="dk1"/>
                </a:solidFill>
                <a:latin typeface="Arial"/>
                <a:ea typeface="Arial"/>
              </a:rPr>
              <a:t>Zweite Ebene</a:t>
            </a:r>
            <a:endParaRPr b="0" lang="en-US" sz="1800" spc="-1" strike="noStrike">
              <a:solidFill>
                <a:schemeClr val="dk1"/>
              </a:solidFill>
              <a:latin typeface="Arial"/>
            </a:endParaRPr>
          </a:p>
          <a:p>
            <a:pPr lvl="2" marL="895320" indent="-266760" defTabSz="914400">
              <a:lnSpc>
                <a:spcPct val="110000"/>
              </a:lnSpc>
              <a:spcAft>
                <a:spcPts val="1199"/>
              </a:spcAft>
              <a:buClr>
                <a:srgbClr val="000000"/>
              </a:buClr>
              <a:buFont typeface="Arial"/>
              <a:buChar char="•"/>
              <a:tabLst>
                <a:tab algn="l" pos="361800"/>
              </a:tabLst>
            </a:pPr>
            <a:r>
              <a:rPr b="0" lang="de-DE" sz="1800" spc="-1" strike="noStrike">
                <a:solidFill>
                  <a:schemeClr val="dk1"/>
                </a:solidFill>
                <a:latin typeface="Arial"/>
                <a:ea typeface="Arial"/>
              </a:rPr>
              <a:t>Dritte Ebene</a:t>
            </a:r>
            <a:endParaRPr b="0" lang="en-US" sz="1800" spc="-1" strike="noStrike">
              <a:solidFill>
                <a:schemeClr val="dk1"/>
              </a:solidFill>
              <a:latin typeface="Arial"/>
            </a:endParaRPr>
          </a:p>
          <a:p>
            <a:pPr lvl="3" marL="1162080" indent="-266760" defTabSz="914400">
              <a:lnSpc>
                <a:spcPct val="110000"/>
              </a:lnSpc>
              <a:spcAft>
                <a:spcPts val="1199"/>
              </a:spcAft>
              <a:buClr>
                <a:srgbClr val="000000"/>
              </a:buClr>
              <a:buFont typeface="Arial"/>
              <a:buChar char="•"/>
              <a:tabLst>
                <a:tab algn="l" pos="361800"/>
              </a:tabLst>
            </a:pPr>
            <a:r>
              <a:rPr b="0" lang="de-DE" sz="1800" spc="-1" strike="noStrike">
                <a:solidFill>
                  <a:schemeClr val="dk1"/>
                </a:solidFill>
                <a:latin typeface="Arial"/>
                <a:ea typeface="Arial"/>
              </a:rPr>
              <a:t>Vierte Ebene</a:t>
            </a:r>
            <a:endParaRPr b="0" lang="en-US" sz="1800" spc="-1" strike="noStrike">
              <a:solidFill>
                <a:schemeClr val="dk1"/>
              </a:solidFill>
              <a:latin typeface="Arial"/>
            </a:endParaRPr>
          </a:p>
          <a:p>
            <a:pPr lvl="4" marL="1438200" indent="-276120" defTabSz="914400">
              <a:lnSpc>
                <a:spcPct val="110000"/>
              </a:lnSpc>
              <a:spcAft>
                <a:spcPts val="1199"/>
              </a:spcAft>
              <a:buClr>
                <a:srgbClr val="000000"/>
              </a:buClr>
              <a:buFont typeface="Arial"/>
              <a:buChar char="•"/>
              <a:tabLst>
                <a:tab algn="l" pos="361800"/>
              </a:tabLst>
            </a:pPr>
            <a:r>
              <a:rPr b="0" lang="de-DE" sz="1800" spc="-1" strike="noStrike">
                <a:solidFill>
                  <a:schemeClr val="dk1"/>
                </a:solidFill>
                <a:latin typeface="Arial"/>
                <a:ea typeface="Arial"/>
              </a:rPr>
              <a:t>Fünfte Ebene</a:t>
            </a:r>
            <a:endParaRPr b="0" lang="en-US" sz="1800" spc="-1" strike="noStrike">
              <a:solidFill>
                <a:schemeClr val="dk1"/>
              </a:solidFill>
              <a:latin typeface="Arial"/>
            </a:endParaRPr>
          </a:p>
        </p:txBody>
      </p:sp>
      <p:sp>
        <p:nvSpPr>
          <p:cNvPr id="156" name="PlaceHolder 5"/>
          <p:cNvSpPr>
            <a:spLocks noGrp="1"/>
          </p:cNvSpPr>
          <p:nvPr>
            <p:ph type="body"/>
          </p:nvPr>
        </p:nvSpPr>
        <p:spPr>
          <a:xfrm>
            <a:off x="407880" y="3963600"/>
            <a:ext cx="7524360" cy="2454120"/>
          </a:xfrm>
          <a:prstGeom prst="rect">
            <a:avLst/>
          </a:prstGeom>
          <a:noFill/>
          <a:ln w="0">
            <a:noFill/>
          </a:ln>
        </p:spPr>
        <p:txBody>
          <a:bodyPr lIns="0" rIns="0" tIns="0" bIns="0" anchor="t">
            <a:noAutofit/>
          </a:bodyPr>
          <a:p>
            <a:pPr marL="361800" indent="-361800" defTabSz="914400">
              <a:lnSpc>
                <a:spcPct val="110000"/>
              </a:lnSpc>
              <a:spcAft>
                <a:spcPts val="1199"/>
              </a:spcAft>
              <a:buClr>
                <a:srgbClr val="000000"/>
              </a:buClr>
              <a:buFont typeface="Arial"/>
              <a:buChar char="•"/>
              <a:tabLst>
                <a:tab algn="l" pos="361800"/>
              </a:tabLst>
            </a:pPr>
            <a:r>
              <a:rPr b="0" lang="de-DE" sz="1800" spc="-1" strike="noStrike">
                <a:solidFill>
                  <a:schemeClr val="dk1"/>
                </a:solidFill>
                <a:latin typeface="Arial"/>
                <a:ea typeface="Arial"/>
              </a:rPr>
              <a:t>Mastertextformat bearbeiten</a:t>
            </a:r>
            <a:endParaRPr b="0" lang="en-US" sz="1800" spc="-1" strike="noStrike">
              <a:solidFill>
                <a:schemeClr val="dk1"/>
              </a:solidFill>
              <a:latin typeface="Arial"/>
            </a:endParaRPr>
          </a:p>
          <a:p>
            <a:pPr lvl="1" marL="628560" indent="-266760" defTabSz="914400">
              <a:lnSpc>
                <a:spcPct val="110000"/>
              </a:lnSpc>
              <a:spcAft>
                <a:spcPts val="1199"/>
              </a:spcAft>
              <a:buClr>
                <a:srgbClr val="000000"/>
              </a:buClr>
              <a:buFont typeface="Arial"/>
              <a:buChar char="•"/>
              <a:tabLst>
                <a:tab algn="l" pos="361800"/>
              </a:tabLst>
            </a:pPr>
            <a:r>
              <a:rPr b="0" lang="de-DE" sz="1800" spc="-1" strike="noStrike">
                <a:solidFill>
                  <a:schemeClr val="dk1"/>
                </a:solidFill>
                <a:latin typeface="Arial"/>
                <a:ea typeface="Arial"/>
              </a:rPr>
              <a:t>Zweite Ebene</a:t>
            </a:r>
            <a:endParaRPr b="0" lang="en-US" sz="1800" spc="-1" strike="noStrike">
              <a:solidFill>
                <a:schemeClr val="dk1"/>
              </a:solidFill>
              <a:latin typeface="Arial"/>
            </a:endParaRPr>
          </a:p>
          <a:p>
            <a:pPr lvl="2" marL="895320" indent="-266760" defTabSz="914400">
              <a:lnSpc>
                <a:spcPct val="110000"/>
              </a:lnSpc>
              <a:spcAft>
                <a:spcPts val="1199"/>
              </a:spcAft>
              <a:buClr>
                <a:srgbClr val="000000"/>
              </a:buClr>
              <a:buFont typeface="Arial"/>
              <a:buChar char="•"/>
              <a:tabLst>
                <a:tab algn="l" pos="361800"/>
              </a:tabLst>
            </a:pPr>
            <a:r>
              <a:rPr b="0" lang="de-DE" sz="1800" spc="-1" strike="noStrike">
                <a:solidFill>
                  <a:schemeClr val="dk1"/>
                </a:solidFill>
                <a:latin typeface="Arial"/>
                <a:ea typeface="Arial"/>
              </a:rPr>
              <a:t>Dritte Ebene</a:t>
            </a:r>
            <a:endParaRPr b="0" lang="en-US" sz="1800" spc="-1" strike="noStrike">
              <a:solidFill>
                <a:schemeClr val="dk1"/>
              </a:solidFill>
              <a:latin typeface="Arial"/>
            </a:endParaRPr>
          </a:p>
          <a:p>
            <a:pPr lvl="3" marL="1162080" indent="-266760" defTabSz="914400">
              <a:lnSpc>
                <a:spcPct val="110000"/>
              </a:lnSpc>
              <a:spcAft>
                <a:spcPts val="1199"/>
              </a:spcAft>
              <a:buClr>
                <a:srgbClr val="000000"/>
              </a:buClr>
              <a:buFont typeface="Arial"/>
              <a:buChar char="•"/>
              <a:tabLst>
                <a:tab algn="l" pos="361800"/>
              </a:tabLst>
            </a:pPr>
            <a:r>
              <a:rPr b="0" lang="de-DE" sz="1800" spc="-1" strike="noStrike">
                <a:solidFill>
                  <a:schemeClr val="dk1"/>
                </a:solidFill>
                <a:latin typeface="Arial"/>
                <a:ea typeface="Arial"/>
              </a:rPr>
              <a:t>Vierte Ebene</a:t>
            </a:r>
            <a:endParaRPr b="0" lang="en-US" sz="1800" spc="-1" strike="noStrike">
              <a:solidFill>
                <a:schemeClr val="dk1"/>
              </a:solidFill>
              <a:latin typeface="Arial"/>
            </a:endParaRPr>
          </a:p>
          <a:p>
            <a:pPr lvl="4" marL="1438200" indent="-276120" defTabSz="914400">
              <a:lnSpc>
                <a:spcPct val="110000"/>
              </a:lnSpc>
              <a:spcAft>
                <a:spcPts val="1199"/>
              </a:spcAft>
              <a:buClr>
                <a:srgbClr val="000000"/>
              </a:buClr>
              <a:buFont typeface="Arial"/>
              <a:buChar char="•"/>
              <a:tabLst>
                <a:tab algn="l" pos="361800"/>
              </a:tabLst>
            </a:pPr>
            <a:r>
              <a:rPr b="0" lang="de-DE" sz="1800" spc="-1" strike="noStrike">
                <a:solidFill>
                  <a:schemeClr val="dk1"/>
                </a:solidFill>
                <a:latin typeface="Arial"/>
                <a:ea typeface="Arial"/>
              </a:rPr>
              <a:t>Fünfte Ebene</a:t>
            </a:r>
            <a:endParaRPr b="0" lang="en-US" sz="1800" spc="-1" strike="noStrike">
              <a:solidFill>
                <a:schemeClr val="dk1"/>
              </a:solidFill>
              <a:latin typeface="Arial"/>
            </a:endParaRPr>
          </a:p>
        </p:txBody>
      </p:sp>
      <p:sp>
        <p:nvSpPr>
          <p:cNvPr id="157" name="PlaceHolder 6"/>
          <p:cNvSpPr>
            <a:spLocks noGrp="1"/>
          </p:cNvSpPr>
          <p:nvPr>
            <p:ph type="body"/>
          </p:nvPr>
        </p:nvSpPr>
        <p:spPr>
          <a:xfrm>
            <a:off x="8075520" y="1449360"/>
            <a:ext cx="3708000" cy="2410920"/>
          </a:xfrm>
          <a:prstGeom prst="rect">
            <a:avLst/>
          </a:prstGeom>
          <a:solidFill>
            <a:schemeClr val="lt1">
              <a:lumMod val="95000"/>
            </a:schemeClr>
          </a:solidFill>
          <a:ln w="0">
            <a:noFill/>
          </a:ln>
        </p:spPr>
        <p:txBody>
          <a:bodyPr lIns="72000" rIns="72000" tIns="36000" bIns="36000" anchor="t">
            <a:noAutofit/>
          </a:bodyPr>
          <a:p>
            <a:pPr indent="0" defTabSz="914400">
              <a:lnSpc>
                <a:spcPct val="110000"/>
              </a:lnSpc>
              <a:spcAft>
                <a:spcPts val="1199"/>
              </a:spcAft>
              <a:buNone/>
              <a:tabLst>
                <a:tab algn="l" pos="0"/>
              </a:tabLst>
            </a:pPr>
            <a:r>
              <a:rPr b="0" lang="de-DE" sz="1800" spc="-1" strike="noStrike">
                <a:solidFill>
                  <a:schemeClr val="dk1"/>
                </a:solidFill>
                <a:latin typeface="Arial"/>
                <a:ea typeface="Arial"/>
              </a:rPr>
              <a:t>Mastertextformat bearbeiten</a:t>
            </a:r>
            <a:endParaRPr b="0" lang="en-US" sz="1800" spc="-1" strike="noStrike">
              <a:solidFill>
                <a:schemeClr val="dk1"/>
              </a:solidFill>
              <a:latin typeface="Arial"/>
            </a:endParaRPr>
          </a:p>
        </p:txBody>
      </p:sp>
      <p:sp>
        <p:nvSpPr>
          <p:cNvPr id="158" name="PlaceHolder 7"/>
          <p:cNvSpPr>
            <a:spLocks noGrp="1"/>
          </p:cNvSpPr>
          <p:nvPr>
            <p:ph type="body"/>
          </p:nvPr>
        </p:nvSpPr>
        <p:spPr>
          <a:xfrm>
            <a:off x="8075520" y="4005360"/>
            <a:ext cx="3708000" cy="2410920"/>
          </a:xfrm>
          <a:prstGeom prst="rect">
            <a:avLst/>
          </a:prstGeom>
          <a:solidFill>
            <a:schemeClr val="lt1">
              <a:lumMod val="95000"/>
            </a:schemeClr>
          </a:solidFill>
          <a:ln w="0">
            <a:noFill/>
          </a:ln>
        </p:spPr>
        <p:txBody>
          <a:bodyPr lIns="72000" rIns="72000" tIns="36000" bIns="36000" anchor="t">
            <a:noAutofit/>
          </a:bodyPr>
          <a:p>
            <a:pPr indent="0" defTabSz="914400">
              <a:lnSpc>
                <a:spcPct val="110000"/>
              </a:lnSpc>
              <a:spcAft>
                <a:spcPts val="1199"/>
              </a:spcAft>
              <a:buNone/>
              <a:tabLst>
                <a:tab algn="l" pos="0"/>
              </a:tabLst>
            </a:pPr>
            <a:r>
              <a:rPr b="0" lang="de-DE" sz="1800" spc="-1" strike="noStrike">
                <a:solidFill>
                  <a:schemeClr val="dk1"/>
                </a:solidFill>
                <a:latin typeface="Arial"/>
                <a:ea typeface="Arial"/>
              </a:rPr>
              <a:t>Mastertextformat bearbeiten</a:t>
            </a:r>
            <a:endParaRPr b="0" lang="en-US" sz="1800" spc="-1" strike="noStrike">
              <a:solidFill>
                <a:schemeClr val="dk1"/>
              </a:solidFill>
              <a:latin typeface="Arial"/>
            </a:endParaRPr>
          </a:p>
        </p:txBody>
      </p:sp>
    </p:spTree>
  </p:cSld>
  <p:clrMap bg1="lt1" tx1="dk1" bg2="lt2" tx2="dk2" accent1="accent1" accent2="accent2" accent3="accent3" accent4="accent4" accent5="accent5" accent6="accent6" hlink="hlink" folHlink="folHlink"/>
  <p:sldLayoutIdLst>
    <p:sldLayoutId id="2147483693" r:id="rId3"/>
  </p:sldLayoutIdLst>
</p:sldMaster>
</file>

<file path=ppt/slideMasters/slideMaster24.xml><?xml version="1.0" encoding="utf-8"?>
<p:sldMaster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p:cSld>
    <p:bg>
      <p:bgPr>
        <a:solidFill>
          <a:srgbClr val="ffffff"/>
        </a:solidFill>
      </p:bgPr>
    </p:bg>
    <p:spTree>
      <p:nvGrpSpPr>
        <p:cNvPr id="1" name=""/>
        <p:cNvGrpSpPr/>
        <p:nvPr/>
      </p:nvGrpSpPr>
      <p:grpSpPr>
        <a:xfrm>
          <a:off x="0" y="0"/>
          <a:ext cx="0" cy="0"/>
          <a:chOff x="0" y="0"/>
          <a:chExt cx="0" cy="0"/>
        </a:xfrm>
      </p:grpSpPr>
      <p:sp>
        <p:nvSpPr>
          <p:cNvPr id="159" name="Textfeld 13"/>
          <p:cNvSpPr/>
          <p:nvPr/>
        </p:nvSpPr>
        <p:spPr>
          <a:xfrm>
            <a:off x="10848600" y="6580800"/>
            <a:ext cx="935280" cy="186480"/>
          </a:xfrm>
          <a:prstGeom prst="rect">
            <a:avLst/>
          </a:prstGeom>
          <a:noFill/>
          <a:ln w="0">
            <a:noFill/>
          </a:ln>
        </p:spPr>
        <p:style>
          <a:lnRef idx="0"/>
          <a:fillRef idx="0"/>
          <a:effectRef idx="0"/>
          <a:fontRef idx="minor"/>
        </p:style>
        <p:txBody>
          <a:bodyPr lIns="0" rIns="0" tIns="0" bIns="0" anchor="t">
            <a:noAutofit/>
          </a:bodyPr>
          <a:p>
            <a:pPr algn="r" defTabSz="457200">
              <a:lnSpc>
                <a:spcPct val="100000"/>
              </a:lnSpc>
            </a:pPr>
            <a:r>
              <a:rPr b="1" lang="de-DE" sz="1100" spc="-1" strike="noStrike">
                <a:solidFill>
                  <a:schemeClr val="dk1"/>
                </a:solidFill>
                <a:latin typeface="Arial"/>
                <a:ea typeface="Arial"/>
              </a:rPr>
              <a:t>Seite </a:t>
            </a:r>
            <a:fld id="{E43A5DEC-1835-4472-AB37-16A95D654136}" type="slidenum">
              <a:rPr b="1" lang="de-DE" sz="1100" spc="-1" strike="noStrike">
                <a:solidFill>
                  <a:schemeClr val="dk1"/>
                </a:solidFill>
                <a:latin typeface="Arial"/>
                <a:ea typeface="Arial"/>
              </a:rPr>
              <a:t>&lt;number&gt;</a:t>
            </a:fld>
            <a:endParaRPr b="0" lang="en-US" sz="1100" spc="-1" strike="noStrike">
              <a:solidFill>
                <a:srgbClr val="000000"/>
              </a:solidFill>
              <a:latin typeface="Calibri"/>
            </a:endParaRPr>
          </a:p>
        </p:txBody>
      </p:sp>
      <p:pic>
        <p:nvPicPr>
          <p:cNvPr id="160" name="Grafik 6" descr=""/>
          <p:cNvPicPr/>
          <p:nvPr/>
        </p:nvPicPr>
        <p:blipFill>
          <a:blip r:embed="rId2"/>
          <a:stretch/>
        </p:blipFill>
        <p:spPr>
          <a:xfrm>
            <a:off x="403200" y="6613920"/>
            <a:ext cx="325080" cy="100440"/>
          </a:xfrm>
          <a:prstGeom prst="rect">
            <a:avLst/>
          </a:prstGeom>
          <a:ln w="0">
            <a:noFill/>
          </a:ln>
        </p:spPr>
      </p:pic>
      <p:sp>
        <p:nvSpPr>
          <p:cNvPr id="161" name="PlaceHolder 1"/>
          <p:cNvSpPr>
            <a:spLocks noGrp="1"/>
          </p:cNvSpPr>
          <p:nvPr>
            <p:ph type="title"/>
          </p:nvPr>
        </p:nvSpPr>
        <p:spPr>
          <a:xfrm>
            <a:off x="407880" y="349560"/>
            <a:ext cx="11375640" cy="450720"/>
          </a:xfrm>
          <a:prstGeom prst="rect">
            <a:avLst/>
          </a:prstGeom>
          <a:noFill/>
          <a:ln w="0">
            <a:noFill/>
          </a:ln>
        </p:spPr>
        <p:txBody>
          <a:bodyPr lIns="0" rIns="0" tIns="0" bIns="0" anchor="t">
            <a:noAutofit/>
          </a:bodyPr>
          <a:p>
            <a:pPr indent="0" defTabSz="914400">
              <a:lnSpc>
                <a:spcPct val="90000"/>
              </a:lnSpc>
              <a:buNone/>
            </a:pPr>
            <a:r>
              <a:rPr b="1" lang="de-DE" sz="3000" spc="-1" strike="noStrike">
                <a:solidFill>
                  <a:schemeClr val="accent1"/>
                </a:solidFill>
                <a:latin typeface="Arial"/>
                <a:ea typeface="Arial"/>
              </a:rPr>
              <a:t>Mastertitelformat bearbeiten</a:t>
            </a:r>
            <a:endParaRPr b="0" lang="en-US" sz="3000" spc="-1" strike="noStrike">
              <a:solidFill>
                <a:schemeClr val="dk1"/>
              </a:solidFill>
              <a:latin typeface="Arial"/>
            </a:endParaRPr>
          </a:p>
        </p:txBody>
      </p:sp>
      <p:sp>
        <p:nvSpPr>
          <p:cNvPr id="162" name="PlaceHolder 2"/>
          <p:cNvSpPr>
            <a:spLocks noGrp="1"/>
          </p:cNvSpPr>
          <p:nvPr>
            <p:ph type="ftr" idx="19"/>
          </p:nvPr>
        </p:nvSpPr>
        <p:spPr>
          <a:xfrm>
            <a:off x="791640" y="6580800"/>
            <a:ext cx="9948600" cy="186480"/>
          </a:xfrm>
          <a:prstGeom prst="rect">
            <a:avLst/>
          </a:prstGeom>
          <a:noFill/>
          <a:ln w="0">
            <a:noFill/>
          </a:ln>
        </p:spPr>
        <p:txBody>
          <a:bodyPr lIns="0" rIns="0" tIns="0" bIns="0" anchor="t">
            <a:noAutofit/>
          </a:bodyPr>
          <a:lstStyle>
            <a:lvl1pPr indent="0" defTabSz="457200">
              <a:lnSpc>
                <a:spcPct val="100000"/>
              </a:lnSpc>
              <a:buNone/>
              <a:defRPr b="0" lang="pt-BR" sz="1100" spc="-1" strike="noStrike">
                <a:solidFill>
                  <a:schemeClr val="dk1"/>
                </a:solidFill>
                <a:latin typeface="Arial"/>
                <a:ea typeface="Arial"/>
              </a:defRPr>
            </a:lvl1pPr>
          </a:lstStyle>
          <a:p>
            <a:pPr indent="0" defTabSz="457200">
              <a:lnSpc>
                <a:spcPct val="100000"/>
              </a:lnSpc>
              <a:buNone/>
            </a:pPr>
            <a:r>
              <a:rPr b="0" lang="pt-BR" sz="1100" spc="-1" strike="noStrike">
                <a:solidFill>
                  <a:schemeClr val="dk1"/>
                </a:solidFill>
                <a:latin typeface="Arial"/>
                <a:ea typeface="Arial"/>
              </a:rPr>
              <a:t>&lt;footer&gt;</a:t>
            </a:r>
            <a:endParaRPr b="0" lang="en-US" sz="1100" spc="-1" strike="noStrike">
              <a:solidFill>
                <a:srgbClr val="000000"/>
              </a:solidFill>
              <a:latin typeface="Calibri"/>
            </a:endParaRPr>
          </a:p>
        </p:txBody>
      </p:sp>
      <p:sp>
        <p:nvSpPr>
          <p:cNvPr id="163" name="PlaceHolder 3"/>
          <p:cNvSpPr>
            <a:spLocks noGrp="1"/>
          </p:cNvSpPr>
          <p:nvPr>
            <p:ph type="body"/>
          </p:nvPr>
        </p:nvSpPr>
        <p:spPr>
          <a:xfrm>
            <a:off x="407880" y="817560"/>
            <a:ext cx="11375640" cy="378720"/>
          </a:xfrm>
          <a:prstGeom prst="rect">
            <a:avLst/>
          </a:prstGeom>
          <a:noFill/>
          <a:ln w="0">
            <a:noFill/>
          </a:ln>
        </p:spPr>
        <p:txBody>
          <a:bodyPr lIns="0" rIns="0" tIns="0" bIns="0" anchor="t">
            <a:noAutofit/>
          </a:bodyPr>
          <a:p>
            <a:pPr indent="0" defTabSz="914400">
              <a:lnSpc>
                <a:spcPct val="110000"/>
              </a:lnSpc>
              <a:buNone/>
              <a:tabLst>
                <a:tab algn="l" pos="0"/>
              </a:tabLst>
            </a:pPr>
            <a:r>
              <a:rPr b="1" lang="de-DE" sz="1800" spc="-1" strike="noStrike">
                <a:solidFill>
                  <a:schemeClr val="accent2"/>
                </a:solidFill>
                <a:latin typeface="Arial"/>
                <a:ea typeface="Arial"/>
              </a:rPr>
              <a:t>Unterüberschrift</a:t>
            </a:r>
            <a:endParaRPr b="0" lang="en-US" sz="1800" spc="-1" strike="noStrike">
              <a:solidFill>
                <a:schemeClr val="dk1"/>
              </a:solidFill>
              <a:latin typeface="Arial"/>
            </a:endParaRPr>
          </a:p>
        </p:txBody>
      </p:sp>
      <p:sp>
        <p:nvSpPr>
          <p:cNvPr id="164" name="PlaceHolder 4"/>
          <p:cNvSpPr>
            <a:spLocks noGrp="1"/>
          </p:cNvSpPr>
          <p:nvPr>
            <p:ph type="body"/>
          </p:nvPr>
        </p:nvSpPr>
        <p:spPr>
          <a:xfrm>
            <a:off x="407880" y="1406520"/>
            <a:ext cx="3708000" cy="2454120"/>
          </a:xfrm>
          <a:prstGeom prst="rect">
            <a:avLst/>
          </a:prstGeom>
          <a:noFill/>
          <a:ln w="0">
            <a:noFill/>
          </a:ln>
        </p:spPr>
        <p:txBody>
          <a:bodyPr lIns="0" rIns="0" tIns="0" bIns="0" anchor="t">
            <a:noAutofit/>
          </a:bodyPr>
          <a:p>
            <a:pPr marL="361800" indent="-361800" defTabSz="914400">
              <a:lnSpc>
                <a:spcPct val="110000"/>
              </a:lnSpc>
              <a:spcAft>
                <a:spcPts val="1199"/>
              </a:spcAft>
              <a:buClr>
                <a:srgbClr val="000000"/>
              </a:buClr>
              <a:buFont typeface="Arial"/>
              <a:buChar char="•"/>
              <a:tabLst>
                <a:tab algn="l" pos="361800"/>
              </a:tabLst>
            </a:pPr>
            <a:r>
              <a:rPr b="0" lang="de-DE" sz="1800" spc="-1" strike="noStrike">
                <a:solidFill>
                  <a:schemeClr val="dk1"/>
                </a:solidFill>
                <a:latin typeface="Arial"/>
                <a:ea typeface="Arial"/>
              </a:rPr>
              <a:t>Mastertextformat bearbeiten</a:t>
            </a:r>
            <a:endParaRPr b="0" lang="en-US" sz="1800" spc="-1" strike="noStrike">
              <a:solidFill>
                <a:schemeClr val="dk1"/>
              </a:solidFill>
              <a:latin typeface="Arial"/>
            </a:endParaRPr>
          </a:p>
          <a:p>
            <a:pPr lvl="1" marL="628560" indent="-266760" defTabSz="914400">
              <a:lnSpc>
                <a:spcPct val="110000"/>
              </a:lnSpc>
              <a:spcAft>
                <a:spcPts val="1199"/>
              </a:spcAft>
              <a:buClr>
                <a:srgbClr val="000000"/>
              </a:buClr>
              <a:buFont typeface="Arial"/>
              <a:buChar char="•"/>
              <a:tabLst>
                <a:tab algn="l" pos="361800"/>
              </a:tabLst>
            </a:pPr>
            <a:r>
              <a:rPr b="0" lang="de-DE" sz="1800" spc="-1" strike="noStrike">
                <a:solidFill>
                  <a:schemeClr val="dk1"/>
                </a:solidFill>
                <a:latin typeface="Arial"/>
                <a:ea typeface="Arial"/>
              </a:rPr>
              <a:t>Zweite Ebene</a:t>
            </a:r>
            <a:endParaRPr b="0" lang="en-US" sz="1800" spc="-1" strike="noStrike">
              <a:solidFill>
                <a:schemeClr val="dk1"/>
              </a:solidFill>
              <a:latin typeface="Arial"/>
            </a:endParaRPr>
          </a:p>
          <a:p>
            <a:pPr lvl="2" marL="895320" indent="-266760" defTabSz="914400">
              <a:lnSpc>
                <a:spcPct val="110000"/>
              </a:lnSpc>
              <a:spcAft>
                <a:spcPts val="1199"/>
              </a:spcAft>
              <a:buClr>
                <a:srgbClr val="000000"/>
              </a:buClr>
              <a:buFont typeface="Arial"/>
              <a:buChar char="•"/>
              <a:tabLst>
                <a:tab algn="l" pos="361800"/>
              </a:tabLst>
            </a:pPr>
            <a:r>
              <a:rPr b="0" lang="de-DE" sz="1800" spc="-1" strike="noStrike">
                <a:solidFill>
                  <a:schemeClr val="dk1"/>
                </a:solidFill>
                <a:latin typeface="Arial"/>
                <a:ea typeface="Arial"/>
              </a:rPr>
              <a:t>Dritte Ebene</a:t>
            </a:r>
            <a:endParaRPr b="0" lang="en-US" sz="1800" spc="-1" strike="noStrike">
              <a:solidFill>
                <a:schemeClr val="dk1"/>
              </a:solidFill>
              <a:latin typeface="Arial"/>
            </a:endParaRPr>
          </a:p>
          <a:p>
            <a:pPr lvl="3" marL="1162080" indent="-266760" defTabSz="914400">
              <a:lnSpc>
                <a:spcPct val="110000"/>
              </a:lnSpc>
              <a:spcAft>
                <a:spcPts val="1199"/>
              </a:spcAft>
              <a:buClr>
                <a:srgbClr val="000000"/>
              </a:buClr>
              <a:buFont typeface="Arial"/>
              <a:buChar char="•"/>
              <a:tabLst>
                <a:tab algn="l" pos="361800"/>
              </a:tabLst>
            </a:pPr>
            <a:r>
              <a:rPr b="0" lang="de-DE" sz="1800" spc="-1" strike="noStrike">
                <a:solidFill>
                  <a:schemeClr val="dk1"/>
                </a:solidFill>
                <a:latin typeface="Arial"/>
                <a:ea typeface="Arial"/>
              </a:rPr>
              <a:t>Vierte Ebene</a:t>
            </a:r>
            <a:endParaRPr b="0" lang="en-US" sz="1800" spc="-1" strike="noStrike">
              <a:solidFill>
                <a:schemeClr val="dk1"/>
              </a:solidFill>
              <a:latin typeface="Arial"/>
            </a:endParaRPr>
          </a:p>
          <a:p>
            <a:pPr lvl="4" marL="1438200" indent="-276120" defTabSz="914400">
              <a:lnSpc>
                <a:spcPct val="110000"/>
              </a:lnSpc>
              <a:spcAft>
                <a:spcPts val="1199"/>
              </a:spcAft>
              <a:buClr>
                <a:srgbClr val="000000"/>
              </a:buClr>
              <a:buFont typeface="Arial"/>
              <a:buChar char="•"/>
              <a:tabLst>
                <a:tab algn="l" pos="361800"/>
              </a:tabLst>
            </a:pPr>
            <a:r>
              <a:rPr b="0" lang="de-DE" sz="1800" spc="-1" strike="noStrike">
                <a:solidFill>
                  <a:schemeClr val="dk1"/>
                </a:solidFill>
                <a:latin typeface="Arial"/>
                <a:ea typeface="Arial"/>
              </a:rPr>
              <a:t>Fünfte Ebene</a:t>
            </a:r>
            <a:endParaRPr b="0" lang="en-US" sz="1800" spc="-1" strike="noStrike">
              <a:solidFill>
                <a:schemeClr val="dk1"/>
              </a:solidFill>
              <a:latin typeface="Arial"/>
            </a:endParaRPr>
          </a:p>
        </p:txBody>
      </p:sp>
      <p:sp>
        <p:nvSpPr>
          <p:cNvPr id="165" name="PlaceHolder 5"/>
          <p:cNvSpPr>
            <a:spLocks noGrp="1"/>
          </p:cNvSpPr>
          <p:nvPr>
            <p:ph type="body"/>
          </p:nvPr>
        </p:nvSpPr>
        <p:spPr>
          <a:xfrm>
            <a:off x="407880" y="3963600"/>
            <a:ext cx="3708000" cy="2454120"/>
          </a:xfrm>
          <a:prstGeom prst="rect">
            <a:avLst/>
          </a:prstGeom>
          <a:noFill/>
          <a:ln w="0">
            <a:noFill/>
          </a:ln>
        </p:spPr>
        <p:txBody>
          <a:bodyPr lIns="0" rIns="0" tIns="0" bIns="0" anchor="t">
            <a:noAutofit/>
          </a:bodyPr>
          <a:p>
            <a:pPr marL="361800" indent="-361800" defTabSz="914400">
              <a:lnSpc>
                <a:spcPct val="110000"/>
              </a:lnSpc>
              <a:spcAft>
                <a:spcPts val="1199"/>
              </a:spcAft>
              <a:buClr>
                <a:srgbClr val="000000"/>
              </a:buClr>
              <a:buFont typeface="Arial"/>
              <a:buChar char="•"/>
              <a:tabLst>
                <a:tab algn="l" pos="361800"/>
              </a:tabLst>
            </a:pPr>
            <a:r>
              <a:rPr b="0" lang="de-DE" sz="1800" spc="-1" strike="noStrike">
                <a:solidFill>
                  <a:schemeClr val="dk1"/>
                </a:solidFill>
                <a:latin typeface="Arial"/>
                <a:ea typeface="Arial"/>
              </a:rPr>
              <a:t>Mastertextformat bearbeiten</a:t>
            </a:r>
            <a:endParaRPr b="0" lang="en-US" sz="1800" spc="-1" strike="noStrike">
              <a:solidFill>
                <a:schemeClr val="dk1"/>
              </a:solidFill>
              <a:latin typeface="Arial"/>
            </a:endParaRPr>
          </a:p>
          <a:p>
            <a:pPr lvl="1" marL="628560" indent="-266760" defTabSz="914400">
              <a:lnSpc>
                <a:spcPct val="110000"/>
              </a:lnSpc>
              <a:spcAft>
                <a:spcPts val="1199"/>
              </a:spcAft>
              <a:buClr>
                <a:srgbClr val="000000"/>
              </a:buClr>
              <a:buFont typeface="Arial"/>
              <a:buChar char="•"/>
              <a:tabLst>
                <a:tab algn="l" pos="361800"/>
              </a:tabLst>
            </a:pPr>
            <a:r>
              <a:rPr b="0" lang="de-DE" sz="1800" spc="-1" strike="noStrike">
                <a:solidFill>
                  <a:schemeClr val="dk1"/>
                </a:solidFill>
                <a:latin typeface="Arial"/>
                <a:ea typeface="Arial"/>
              </a:rPr>
              <a:t>Zweite Ebene</a:t>
            </a:r>
            <a:endParaRPr b="0" lang="en-US" sz="1800" spc="-1" strike="noStrike">
              <a:solidFill>
                <a:schemeClr val="dk1"/>
              </a:solidFill>
              <a:latin typeface="Arial"/>
            </a:endParaRPr>
          </a:p>
          <a:p>
            <a:pPr lvl="2" marL="895320" indent="-266760" defTabSz="914400">
              <a:lnSpc>
                <a:spcPct val="110000"/>
              </a:lnSpc>
              <a:spcAft>
                <a:spcPts val="1199"/>
              </a:spcAft>
              <a:buClr>
                <a:srgbClr val="000000"/>
              </a:buClr>
              <a:buFont typeface="Arial"/>
              <a:buChar char="•"/>
              <a:tabLst>
                <a:tab algn="l" pos="361800"/>
              </a:tabLst>
            </a:pPr>
            <a:r>
              <a:rPr b="0" lang="de-DE" sz="1800" spc="-1" strike="noStrike">
                <a:solidFill>
                  <a:schemeClr val="dk1"/>
                </a:solidFill>
                <a:latin typeface="Arial"/>
                <a:ea typeface="Arial"/>
              </a:rPr>
              <a:t>Dritte Ebene</a:t>
            </a:r>
            <a:endParaRPr b="0" lang="en-US" sz="1800" spc="-1" strike="noStrike">
              <a:solidFill>
                <a:schemeClr val="dk1"/>
              </a:solidFill>
              <a:latin typeface="Arial"/>
            </a:endParaRPr>
          </a:p>
          <a:p>
            <a:pPr lvl="3" marL="1162080" indent="-266760" defTabSz="914400">
              <a:lnSpc>
                <a:spcPct val="110000"/>
              </a:lnSpc>
              <a:spcAft>
                <a:spcPts val="1199"/>
              </a:spcAft>
              <a:buClr>
                <a:srgbClr val="000000"/>
              </a:buClr>
              <a:buFont typeface="Arial"/>
              <a:buChar char="•"/>
              <a:tabLst>
                <a:tab algn="l" pos="361800"/>
              </a:tabLst>
            </a:pPr>
            <a:r>
              <a:rPr b="0" lang="de-DE" sz="1800" spc="-1" strike="noStrike">
                <a:solidFill>
                  <a:schemeClr val="dk1"/>
                </a:solidFill>
                <a:latin typeface="Arial"/>
                <a:ea typeface="Arial"/>
              </a:rPr>
              <a:t>Vierte Ebene</a:t>
            </a:r>
            <a:endParaRPr b="0" lang="en-US" sz="1800" spc="-1" strike="noStrike">
              <a:solidFill>
                <a:schemeClr val="dk1"/>
              </a:solidFill>
              <a:latin typeface="Arial"/>
            </a:endParaRPr>
          </a:p>
          <a:p>
            <a:pPr lvl="4" marL="1438200" indent="-276120" defTabSz="914400">
              <a:lnSpc>
                <a:spcPct val="110000"/>
              </a:lnSpc>
              <a:spcAft>
                <a:spcPts val="1199"/>
              </a:spcAft>
              <a:buClr>
                <a:srgbClr val="000000"/>
              </a:buClr>
              <a:buFont typeface="Arial"/>
              <a:buChar char="•"/>
              <a:tabLst>
                <a:tab algn="l" pos="361800"/>
              </a:tabLst>
            </a:pPr>
            <a:r>
              <a:rPr b="0" lang="de-DE" sz="1800" spc="-1" strike="noStrike">
                <a:solidFill>
                  <a:schemeClr val="dk1"/>
                </a:solidFill>
                <a:latin typeface="Arial"/>
                <a:ea typeface="Arial"/>
              </a:rPr>
              <a:t>Fünfte Ebene</a:t>
            </a:r>
            <a:endParaRPr b="0" lang="en-US" sz="1800" spc="-1" strike="noStrike">
              <a:solidFill>
                <a:schemeClr val="dk1"/>
              </a:solidFill>
              <a:latin typeface="Arial"/>
            </a:endParaRPr>
          </a:p>
        </p:txBody>
      </p:sp>
      <p:sp>
        <p:nvSpPr>
          <p:cNvPr id="166" name="PlaceHolder 6"/>
          <p:cNvSpPr>
            <a:spLocks noGrp="1"/>
          </p:cNvSpPr>
          <p:nvPr>
            <p:ph type="body"/>
          </p:nvPr>
        </p:nvSpPr>
        <p:spPr>
          <a:xfrm>
            <a:off x="4259160" y="1449360"/>
            <a:ext cx="3673080" cy="2410920"/>
          </a:xfrm>
          <a:prstGeom prst="rect">
            <a:avLst/>
          </a:prstGeom>
          <a:solidFill>
            <a:schemeClr val="lt1">
              <a:lumMod val="95000"/>
            </a:schemeClr>
          </a:solidFill>
          <a:ln w="0">
            <a:noFill/>
          </a:ln>
        </p:spPr>
        <p:txBody>
          <a:bodyPr lIns="90000" rIns="90000" tIns="45000" bIns="45000" anchor="ctr">
            <a:noAutofit/>
          </a:bodyPr>
          <a:p>
            <a:pPr indent="0" algn="ctr" defTabSz="457200">
              <a:lnSpc>
                <a:spcPct val="100000"/>
              </a:lnSpc>
              <a:buNone/>
              <a:tabLst>
                <a:tab algn="l" pos="0"/>
              </a:tabLst>
            </a:pPr>
            <a:r>
              <a:rPr b="0" lang="de-DE" sz="1900" spc="-1" strike="noStrike">
                <a:solidFill>
                  <a:schemeClr val="dk1"/>
                </a:solidFill>
                <a:latin typeface="Arial"/>
                <a:ea typeface="Arial"/>
              </a:rPr>
              <a:t>Bild auf Platzhalter ziehen oder durch Klicken auf Symbol hinzufügen</a:t>
            </a:r>
            <a:endParaRPr b="0" lang="en-US" sz="1900" spc="-1" strike="noStrike">
              <a:solidFill>
                <a:schemeClr val="dk1"/>
              </a:solidFill>
              <a:latin typeface="Arial"/>
            </a:endParaRPr>
          </a:p>
        </p:txBody>
      </p:sp>
      <p:sp>
        <p:nvSpPr>
          <p:cNvPr id="167" name="PlaceHolder 7"/>
          <p:cNvSpPr>
            <a:spLocks noGrp="1"/>
          </p:cNvSpPr>
          <p:nvPr>
            <p:ph type="body"/>
          </p:nvPr>
        </p:nvSpPr>
        <p:spPr>
          <a:xfrm>
            <a:off x="4259160" y="4005360"/>
            <a:ext cx="3673080" cy="2412360"/>
          </a:xfrm>
          <a:prstGeom prst="rect">
            <a:avLst/>
          </a:prstGeom>
          <a:solidFill>
            <a:schemeClr val="lt1">
              <a:lumMod val="95000"/>
            </a:schemeClr>
          </a:solidFill>
          <a:ln w="0">
            <a:noFill/>
          </a:ln>
        </p:spPr>
        <p:txBody>
          <a:bodyPr lIns="90000" rIns="90000" tIns="45000" bIns="45000" anchor="ctr">
            <a:noAutofit/>
          </a:bodyPr>
          <a:p>
            <a:pPr indent="0" algn="ctr" defTabSz="457200">
              <a:lnSpc>
                <a:spcPct val="100000"/>
              </a:lnSpc>
              <a:buNone/>
              <a:tabLst>
                <a:tab algn="l" pos="0"/>
              </a:tabLst>
            </a:pPr>
            <a:r>
              <a:rPr b="0" lang="de-DE" sz="1900" spc="-1" strike="noStrike">
                <a:solidFill>
                  <a:schemeClr val="dk1"/>
                </a:solidFill>
                <a:latin typeface="Arial"/>
                <a:ea typeface="Arial"/>
              </a:rPr>
              <a:t>Bild auf Platzhalter ziehen oder durch Klicken auf Symbol hinzufügen</a:t>
            </a:r>
            <a:endParaRPr b="0" lang="en-US" sz="1900" spc="-1" strike="noStrike">
              <a:solidFill>
                <a:schemeClr val="dk1"/>
              </a:solidFill>
              <a:latin typeface="Arial"/>
            </a:endParaRPr>
          </a:p>
        </p:txBody>
      </p:sp>
      <p:sp>
        <p:nvSpPr>
          <p:cNvPr id="168" name="PlaceHolder 8"/>
          <p:cNvSpPr>
            <a:spLocks noGrp="1"/>
          </p:cNvSpPr>
          <p:nvPr>
            <p:ph type="body"/>
          </p:nvPr>
        </p:nvSpPr>
        <p:spPr>
          <a:xfrm>
            <a:off x="8075520" y="1449360"/>
            <a:ext cx="3708000" cy="2410920"/>
          </a:xfrm>
          <a:prstGeom prst="rect">
            <a:avLst/>
          </a:prstGeom>
          <a:solidFill>
            <a:schemeClr val="lt1">
              <a:lumMod val="95000"/>
            </a:schemeClr>
          </a:solidFill>
          <a:ln w="0">
            <a:noFill/>
          </a:ln>
        </p:spPr>
        <p:txBody>
          <a:bodyPr lIns="90000" rIns="90000" tIns="45000" bIns="45000" anchor="ctr">
            <a:noAutofit/>
          </a:bodyPr>
          <a:p>
            <a:pPr indent="0" algn="ctr" defTabSz="457200">
              <a:lnSpc>
                <a:spcPct val="100000"/>
              </a:lnSpc>
              <a:buNone/>
              <a:tabLst>
                <a:tab algn="l" pos="0"/>
              </a:tabLst>
            </a:pPr>
            <a:r>
              <a:rPr b="0" lang="de-DE" sz="1900" spc="-1" strike="noStrike">
                <a:solidFill>
                  <a:schemeClr val="dk1"/>
                </a:solidFill>
                <a:latin typeface="Arial"/>
                <a:ea typeface="Arial"/>
              </a:rPr>
              <a:t>Bild auf Platzhalter ziehen oder durch Klicken auf Symbol hinzufügen</a:t>
            </a:r>
            <a:endParaRPr b="0" lang="en-US" sz="1900" spc="-1" strike="noStrike">
              <a:solidFill>
                <a:schemeClr val="dk1"/>
              </a:solidFill>
              <a:latin typeface="Arial"/>
            </a:endParaRPr>
          </a:p>
        </p:txBody>
      </p:sp>
      <p:sp>
        <p:nvSpPr>
          <p:cNvPr id="169" name="PlaceHolder 9"/>
          <p:cNvSpPr>
            <a:spLocks noGrp="1"/>
          </p:cNvSpPr>
          <p:nvPr>
            <p:ph type="body"/>
          </p:nvPr>
        </p:nvSpPr>
        <p:spPr>
          <a:xfrm>
            <a:off x="8075520" y="4005360"/>
            <a:ext cx="3708000" cy="2412360"/>
          </a:xfrm>
          <a:prstGeom prst="rect">
            <a:avLst/>
          </a:prstGeom>
          <a:solidFill>
            <a:schemeClr val="lt1">
              <a:lumMod val="95000"/>
            </a:schemeClr>
          </a:solidFill>
          <a:ln w="0">
            <a:noFill/>
          </a:ln>
        </p:spPr>
        <p:txBody>
          <a:bodyPr lIns="90000" rIns="90000" tIns="45000" bIns="45000" anchor="ctr">
            <a:noAutofit/>
          </a:bodyPr>
          <a:p>
            <a:pPr indent="0" algn="ctr" defTabSz="457200">
              <a:lnSpc>
                <a:spcPct val="100000"/>
              </a:lnSpc>
              <a:buNone/>
              <a:tabLst>
                <a:tab algn="l" pos="0"/>
              </a:tabLst>
            </a:pPr>
            <a:r>
              <a:rPr b="0" lang="de-DE" sz="1900" spc="-1" strike="noStrike">
                <a:solidFill>
                  <a:schemeClr val="dk1"/>
                </a:solidFill>
                <a:latin typeface="Arial"/>
                <a:ea typeface="Arial"/>
              </a:rPr>
              <a:t>Bild auf Platzhalter ziehen oder durch Klicken auf Symbol hinzufügen</a:t>
            </a:r>
            <a:endParaRPr b="0" lang="en-US" sz="1900" spc="-1" strike="noStrike">
              <a:solidFill>
                <a:schemeClr val="dk1"/>
              </a:solidFill>
              <a:latin typeface="Arial"/>
            </a:endParaRPr>
          </a:p>
        </p:txBody>
      </p:sp>
    </p:spTree>
  </p:cSld>
  <p:clrMap bg1="lt1" tx1="dk1" bg2="lt2" tx2="dk2" accent1="accent1" accent2="accent2" accent3="accent3" accent4="accent4" accent5="accent5" accent6="accent6" hlink="hlink" folHlink="folHlink"/>
  <p:sldLayoutIdLst>
    <p:sldLayoutId id="2147483695" r:id="rId3"/>
  </p:sldLayoutIdLst>
</p:sldMaster>
</file>

<file path=ppt/slideMasters/slideMaster25.xml><?xml version="1.0" encoding="utf-8"?>
<p:sldMaster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p:cSld>
    <p:bg>
      <p:bgPr>
        <a:solidFill>
          <a:srgbClr val="ffffff"/>
        </a:solidFill>
      </p:bgPr>
    </p:bg>
    <p:spTree>
      <p:nvGrpSpPr>
        <p:cNvPr id="1" name=""/>
        <p:cNvGrpSpPr/>
        <p:nvPr/>
      </p:nvGrpSpPr>
      <p:grpSpPr>
        <a:xfrm>
          <a:off x="0" y="0"/>
          <a:ext cx="0" cy="0"/>
          <a:chOff x="0" y="0"/>
          <a:chExt cx="0" cy="0"/>
        </a:xfrm>
      </p:grpSpPr>
      <p:sp>
        <p:nvSpPr>
          <p:cNvPr id="170" name="Textfeld 13"/>
          <p:cNvSpPr/>
          <p:nvPr/>
        </p:nvSpPr>
        <p:spPr>
          <a:xfrm>
            <a:off x="10848600" y="6580800"/>
            <a:ext cx="935280" cy="186480"/>
          </a:xfrm>
          <a:prstGeom prst="rect">
            <a:avLst/>
          </a:prstGeom>
          <a:noFill/>
          <a:ln w="0">
            <a:noFill/>
          </a:ln>
        </p:spPr>
        <p:style>
          <a:lnRef idx="0"/>
          <a:fillRef idx="0"/>
          <a:effectRef idx="0"/>
          <a:fontRef idx="minor"/>
        </p:style>
        <p:txBody>
          <a:bodyPr lIns="0" rIns="0" tIns="0" bIns="0" anchor="t">
            <a:noAutofit/>
          </a:bodyPr>
          <a:p>
            <a:pPr algn="r" defTabSz="457200">
              <a:lnSpc>
                <a:spcPct val="100000"/>
              </a:lnSpc>
            </a:pPr>
            <a:r>
              <a:rPr b="1" lang="de-DE" sz="1100" spc="-1" strike="noStrike">
                <a:solidFill>
                  <a:schemeClr val="dk1"/>
                </a:solidFill>
                <a:latin typeface="Arial"/>
                <a:ea typeface="Arial"/>
              </a:rPr>
              <a:t>Seite </a:t>
            </a:r>
            <a:fld id="{DB2D41FC-5413-4123-AF0D-D65D16845E96}" type="slidenum">
              <a:rPr b="1" lang="de-DE" sz="1100" spc="-1" strike="noStrike">
                <a:solidFill>
                  <a:schemeClr val="dk1"/>
                </a:solidFill>
                <a:latin typeface="Arial"/>
                <a:ea typeface="Arial"/>
              </a:rPr>
              <a:t>&lt;number&gt;</a:t>
            </a:fld>
            <a:endParaRPr b="0" lang="en-US" sz="1100" spc="-1" strike="noStrike">
              <a:solidFill>
                <a:srgbClr val="000000"/>
              </a:solidFill>
              <a:latin typeface="Calibri"/>
            </a:endParaRPr>
          </a:p>
        </p:txBody>
      </p:sp>
      <p:pic>
        <p:nvPicPr>
          <p:cNvPr id="171" name="Grafik 6" descr=""/>
          <p:cNvPicPr/>
          <p:nvPr/>
        </p:nvPicPr>
        <p:blipFill>
          <a:blip r:embed="rId2"/>
          <a:stretch/>
        </p:blipFill>
        <p:spPr>
          <a:xfrm>
            <a:off x="403200" y="6613920"/>
            <a:ext cx="325080" cy="100440"/>
          </a:xfrm>
          <a:prstGeom prst="rect">
            <a:avLst/>
          </a:prstGeom>
          <a:ln w="0">
            <a:noFill/>
          </a:ln>
        </p:spPr>
      </p:pic>
      <p:sp>
        <p:nvSpPr>
          <p:cNvPr id="172" name="PlaceHolder 1"/>
          <p:cNvSpPr>
            <a:spLocks noGrp="1"/>
          </p:cNvSpPr>
          <p:nvPr>
            <p:ph type="title"/>
          </p:nvPr>
        </p:nvSpPr>
        <p:spPr>
          <a:xfrm>
            <a:off x="407880" y="349560"/>
            <a:ext cx="11375640" cy="450720"/>
          </a:xfrm>
          <a:prstGeom prst="rect">
            <a:avLst/>
          </a:prstGeom>
          <a:noFill/>
          <a:ln w="0">
            <a:noFill/>
          </a:ln>
        </p:spPr>
        <p:txBody>
          <a:bodyPr lIns="0" rIns="0" tIns="0" bIns="0" anchor="t">
            <a:noAutofit/>
          </a:bodyPr>
          <a:p>
            <a:pPr indent="0" defTabSz="914400">
              <a:lnSpc>
                <a:spcPct val="90000"/>
              </a:lnSpc>
              <a:buNone/>
            </a:pPr>
            <a:r>
              <a:rPr b="1" lang="de-DE" sz="3000" spc="-1" strike="noStrike">
                <a:solidFill>
                  <a:schemeClr val="accent1"/>
                </a:solidFill>
                <a:latin typeface="Arial"/>
                <a:ea typeface="Arial"/>
              </a:rPr>
              <a:t>Mastertitelformat bearbeiten</a:t>
            </a:r>
            <a:endParaRPr b="0" lang="en-US" sz="3000" spc="-1" strike="noStrike">
              <a:solidFill>
                <a:schemeClr val="dk1"/>
              </a:solidFill>
              <a:latin typeface="Arial"/>
            </a:endParaRPr>
          </a:p>
        </p:txBody>
      </p:sp>
      <p:sp>
        <p:nvSpPr>
          <p:cNvPr id="173" name="PlaceHolder 2"/>
          <p:cNvSpPr>
            <a:spLocks noGrp="1"/>
          </p:cNvSpPr>
          <p:nvPr>
            <p:ph type="ftr" idx="20"/>
          </p:nvPr>
        </p:nvSpPr>
        <p:spPr>
          <a:xfrm>
            <a:off x="791640" y="6580800"/>
            <a:ext cx="9948600" cy="186480"/>
          </a:xfrm>
          <a:prstGeom prst="rect">
            <a:avLst/>
          </a:prstGeom>
          <a:noFill/>
          <a:ln w="0">
            <a:noFill/>
          </a:ln>
        </p:spPr>
        <p:txBody>
          <a:bodyPr lIns="0" rIns="0" tIns="0" bIns="0" anchor="t">
            <a:noAutofit/>
          </a:bodyPr>
          <a:lstStyle>
            <a:lvl1pPr indent="0" defTabSz="457200">
              <a:lnSpc>
                <a:spcPct val="100000"/>
              </a:lnSpc>
              <a:buNone/>
              <a:defRPr b="0" lang="pt-BR" sz="1100" spc="-1" strike="noStrike">
                <a:solidFill>
                  <a:schemeClr val="dk1"/>
                </a:solidFill>
                <a:latin typeface="Arial"/>
                <a:ea typeface="Arial"/>
              </a:defRPr>
            </a:lvl1pPr>
          </a:lstStyle>
          <a:p>
            <a:pPr indent="0" defTabSz="457200">
              <a:lnSpc>
                <a:spcPct val="100000"/>
              </a:lnSpc>
              <a:buNone/>
            </a:pPr>
            <a:r>
              <a:rPr b="0" lang="pt-BR" sz="1100" spc="-1" strike="noStrike">
                <a:solidFill>
                  <a:schemeClr val="dk1"/>
                </a:solidFill>
                <a:latin typeface="Arial"/>
                <a:ea typeface="Arial"/>
              </a:rPr>
              <a:t>&lt;footer&gt;</a:t>
            </a:r>
            <a:endParaRPr b="0" lang="en-US" sz="1100" spc="-1" strike="noStrike">
              <a:solidFill>
                <a:srgbClr val="000000"/>
              </a:solidFill>
              <a:latin typeface="Calibri"/>
            </a:endParaRPr>
          </a:p>
        </p:txBody>
      </p:sp>
      <p:sp>
        <p:nvSpPr>
          <p:cNvPr id="174" name="PlaceHolder 3"/>
          <p:cNvSpPr>
            <a:spLocks noGrp="1"/>
          </p:cNvSpPr>
          <p:nvPr>
            <p:ph type="body"/>
          </p:nvPr>
        </p:nvSpPr>
        <p:spPr>
          <a:xfrm>
            <a:off x="407880" y="817560"/>
            <a:ext cx="11375640" cy="378720"/>
          </a:xfrm>
          <a:prstGeom prst="rect">
            <a:avLst/>
          </a:prstGeom>
          <a:noFill/>
          <a:ln w="0">
            <a:noFill/>
          </a:ln>
        </p:spPr>
        <p:txBody>
          <a:bodyPr lIns="0" rIns="0" tIns="0" bIns="0" anchor="t">
            <a:noAutofit/>
          </a:bodyPr>
          <a:p>
            <a:pPr indent="0" defTabSz="914400">
              <a:lnSpc>
                <a:spcPct val="110000"/>
              </a:lnSpc>
              <a:buNone/>
              <a:tabLst>
                <a:tab algn="l" pos="0"/>
              </a:tabLst>
            </a:pPr>
            <a:r>
              <a:rPr b="1" lang="de-DE" sz="1800" spc="-1" strike="noStrike">
                <a:solidFill>
                  <a:schemeClr val="accent2"/>
                </a:solidFill>
                <a:latin typeface="Arial"/>
                <a:ea typeface="Arial"/>
              </a:rPr>
              <a:t>Unterüberschrift</a:t>
            </a:r>
            <a:endParaRPr b="0" lang="en-US" sz="1800" spc="-1" strike="noStrike">
              <a:solidFill>
                <a:schemeClr val="dk1"/>
              </a:solidFill>
              <a:latin typeface="Arial"/>
            </a:endParaRPr>
          </a:p>
        </p:txBody>
      </p:sp>
      <p:sp>
        <p:nvSpPr>
          <p:cNvPr id="175" name="PlaceHolder 4"/>
          <p:cNvSpPr>
            <a:spLocks noGrp="1"/>
          </p:cNvSpPr>
          <p:nvPr>
            <p:ph type="body"/>
          </p:nvPr>
        </p:nvSpPr>
        <p:spPr>
          <a:xfrm>
            <a:off x="407880" y="1449360"/>
            <a:ext cx="11375640" cy="4966920"/>
          </a:xfrm>
          <a:prstGeom prst="rect">
            <a:avLst/>
          </a:prstGeom>
          <a:solidFill>
            <a:schemeClr val="lt1">
              <a:lumMod val="95000"/>
            </a:schemeClr>
          </a:solidFill>
          <a:ln w="0">
            <a:noFill/>
          </a:ln>
        </p:spPr>
        <p:txBody>
          <a:bodyPr lIns="90000" rIns="90000" tIns="45000" bIns="45000" anchor="ctr">
            <a:noAutofit/>
          </a:bodyPr>
          <a:p>
            <a:pPr indent="0" algn="ctr" defTabSz="457200">
              <a:lnSpc>
                <a:spcPct val="100000"/>
              </a:lnSpc>
              <a:buNone/>
              <a:tabLst>
                <a:tab algn="l" pos="0"/>
              </a:tabLst>
            </a:pPr>
            <a:r>
              <a:rPr b="0" lang="de-DE" sz="1900" spc="-1" strike="noStrike">
                <a:solidFill>
                  <a:schemeClr val="dk1"/>
                </a:solidFill>
                <a:latin typeface="Arial"/>
                <a:ea typeface="Arial"/>
              </a:rPr>
              <a:t>Bild auf Platzhalter ziehen oder durch Klicken auf Symbol hinzufügen</a:t>
            </a:r>
            <a:endParaRPr b="0" lang="en-US" sz="1900" spc="-1" strike="noStrike">
              <a:solidFill>
                <a:schemeClr val="dk1"/>
              </a:solidFill>
              <a:latin typeface="Arial"/>
            </a:endParaRPr>
          </a:p>
        </p:txBody>
      </p:sp>
    </p:spTree>
  </p:cSld>
  <p:clrMap bg1="lt1" tx1="dk1" bg2="lt2" tx2="dk2" accent1="accent1" accent2="accent2" accent3="accent3" accent4="accent4" accent5="accent5" accent6="accent6" hlink="hlink" folHlink="folHlink"/>
  <p:sldLayoutIdLst>
    <p:sldLayoutId id="2147483697" r:id="rId3"/>
  </p:sldLayoutIdLst>
</p:sldMaster>
</file>

<file path=ppt/slideMasters/slideMaster26.xml><?xml version="1.0" encoding="utf-8"?>
<p:sldMaster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p:cSld>
    <p:bg>
      <p:bgPr>
        <a:solidFill>
          <a:srgbClr val="ffffff"/>
        </a:solidFill>
      </p:bgPr>
    </p:bg>
    <p:spTree>
      <p:nvGrpSpPr>
        <p:cNvPr id="1" name=""/>
        <p:cNvGrpSpPr/>
        <p:nvPr/>
      </p:nvGrpSpPr>
      <p:grpSpPr>
        <a:xfrm>
          <a:off x="0" y="0"/>
          <a:ext cx="0" cy="0"/>
          <a:chOff x="0" y="0"/>
          <a:chExt cx="0" cy="0"/>
        </a:xfrm>
      </p:grpSpPr>
      <p:sp>
        <p:nvSpPr>
          <p:cNvPr id="176" name="Textfeld 13"/>
          <p:cNvSpPr/>
          <p:nvPr/>
        </p:nvSpPr>
        <p:spPr>
          <a:xfrm>
            <a:off x="10848600" y="6580800"/>
            <a:ext cx="935280" cy="186480"/>
          </a:xfrm>
          <a:prstGeom prst="rect">
            <a:avLst/>
          </a:prstGeom>
          <a:noFill/>
          <a:ln w="0">
            <a:noFill/>
          </a:ln>
        </p:spPr>
        <p:style>
          <a:lnRef idx="0"/>
          <a:fillRef idx="0"/>
          <a:effectRef idx="0"/>
          <a:fontRef idx="minor"/>
        </p:style>
        <p:txBody>
          <a:bodyPr lIns="0" rIns="0" tIns="0" bIns="0" anchor="t">
            <a:noAutofit/>
          </a:bodyPr>
          <a:p>
            <a:pPr algn="r" defTabSz="457200">
              <a:lnSpc>
                <a:spcPct val="100000"/>
              </a:lnSpc>
            </a:pPr>
            <a:r>
              <a:rPr b="1" lang="de-DE" sz="1100" spc="-1" strike="noStrike">
                <a:solidFill>
                  <a:schemeClr val="dk1"/>
                </a:solidFill>
                <a:latin typeface="Arial"/>
                <a:ea typeface="Arial"/>
              </a:rPr>
              <a:t>Seite </a:t>
            </a:r>
            <a:fld id="{EFDB9CFA-BA2D-4F1D-89B9-54D5ACF8F0F7}" type="slidenum">
              <a:rPr b="1" lang="de-DE" sz="1100" spc="-1" strike="noStrike">
                <a:solidFill>
                  <a:schemeClr val="dk1"/>
                </a:solidFill>
                <a:latin typeface="Arial"/>
                <a:ea typeface="Arial"/>
              </a:rPr>
              <a:t>&lt;number&gt;</a:t>
            </a:fld>
            <a:endParaRPr b="0" lang="en-US" sz="1100" spc="-1" strike="noStrike">
              <a:solidFill>
                <a:srgbClr val="000000"/>
              </a:solidFill>
              <a:latin typeface="Calibri"/>
            </a:endParaRPr>
          </a:p>
        </p:txBody>
      </p:sp>
      <p:pic>
        <p:nvPicPr>
          <p:cNvPr id="177" name="Grafik 6" descr=""/>
          <p:cNvPicPr/>
          <p:nvPr/>
        </p:nvPicPr>
        <p:blipFill>
          <a:blip r:embed="rId2"/>
          <a:stretch/>
        </p:blipFill>
        <p:spPr>
          <a:xfrm>
            <a:off x="403200" y="6613920"/>
            <a:ext cx="325080" cy="100440"/>
          </a:xfrm>
          <a:prstGeom prst="rect">
            <a:avLst/>
          </a:prstGeom>
          <a:ln w="0">
            <a:noFill/>
          </a:ln>
        </p:spPr>
      </p:pic>
      <p:sp>
        <p:nvSpPr>
          <p:cNvPr id="178" name="PlaceHolder 1"/>
          <p:cNvSpPr>
            <a:spLocks noGrp="1"/>
          </p:cNvSpPr>
          <p:nvPr>
            <p:ph type="title"/>
          </p:nvPr>
        </p:nvSpPr>
        <p:spPr>
          <a:xfrm>
            <a:off x="407880" y="349560"/>
            <a:ext cx="11375640" cy="450720"/>
          </a:xfrm>
          <a:prstGeom prst="rect">
            <a:avLst/>
          </a:prstGeom>
          <a:noFill/>
          <a:ln w="0">
            <a:noFill/>
          </a:ln>
        </p:spPr>
        <p:txBody>
          <a:bodyPr lIns="0" rIns="0" tIns="0" bIns="0" anchor="t">
            <a:noAutofit/>
          </a:bodyPr>
          <a:p>
            <a:pPr indent="0" defTabSz="914400">
              <a:lnSpc>
                <a:spcPct val="90000"/>
              </a:lnSpc>
              <a:buNone/>
            </a:pPr>
            <a:r>
              <a:rPr b="1" lang="de-DE" sz="3000" spc="-1" strike="noStrike">
                <a:solidFill>
                  <a:schemeClr val="accent1"/>
                </a:solidFill>
                <a:latin typeface="Arial"/>
                <a:ea typeface="Arial"/>
              </a:rPr>
              <a:t>Mastertitelformat bearbeiten</a:t>
            </a:r>
            <a:endParaRPr b="0" lang="en-US" sz="3000" spc="-1" strike="noStrike">
              <a:solidFill>
                <a:schemeClr val="dk1"/>
              </a:solidFill>
              <a:latin typeface="Arial"/>
            </a:endParaRPr>
          </a:p>
        </p:txBody>
      </p:sp>
      <p:sp>
        <p:nvSpPr>
          <p:cNvPr id="179" name="PlaceHolder 2"/>
          <p:cNvSpPr>
            <a:spLocks noGrp="1"/>
          </p:cNvSpPr>
          <p:nvPr>
            <p:ph type="ftr" idx="21"/>
          </p:nvPr>
        </p:nvSpPr>
        <p:spPr>
          <a:xfrm>
            <a:off x="791640" y="6580800"/>
            <a:ext cx="9948600" cy="186480"/>
          </a:xfrm>
          <a:prstGeom prst="rect">
            <a:avLst/>
          </a:prstGeom>
          <a:noFill/>
          <a:ln w="0">
            <a:noFill/>
          </a:ln>
        </p:spPr>
        <p:txBody>
          <a:bodyPr lIns="0" rIns="0" tIns="0" bIns="0" anchor="t">
            <a:noAutofit/>
          </a:bodyPr>
          <a:lstStyle>
            <a:lvl1pPr indent="0" defTabSz="457200">
              <a:lnSpc>
                <a:spcPct val="100000"/>
              </a:lnSpc>
              <a:buNone/>
              <a:defRPr b="0" lang="pt-BR" sz="1100" spc="-1" strike="noStrike">
                <a:solidFill>
                  <a:schemeClr val="dk1"/>
                </a:solidFill>
                <a:latin typeface="Arial"/>
                <a:ea typeface="Arial"/>
              </a:defRPr>
            </a:lvl1pPr>
          </a:lstStyle>
          <a:p>
            <a:pPr indent="0" defTabSz="457200">
              <a:lnSpc>
                <a:spcPct val="100000"/>
              </a:lnSpc>
              <a:buNone/>
            </a:pPr>
            <a:r>
              <a:rPr b="0" lang="pt-BR" sz="1100" spc="-1" strike="noStrike">
                <a:solidFill>
                  <a:schemeClr val="dk1"/>
                </a:solidFill>
                <a:latin typeface="Arial"/>
                <a:ea typeface="Arial"/>
              </a:rPr>
              <a:t>&lt;footer&gt;</a:t>
            </a:r>
            <a:endParaRPr b="0" lang="en-US" sz="1100" spc="-1" strike="noStrike">
              <a:solidFill>
                <a:srgbClr val="000000"/>
              </a:solidFill>
              <a:latin typeface="Calibri"/>
            </a:endParaRPr>
          </a:p>
        </p:txBody>
      </p:sp>
      <p:sp>
        <p:nvSpPr>
          <p:cNvPr id="180" name="PlaceHolder 3"/>
          <p:cNvSpPr>
            <a:spLocks noGrp="1"/>
          </p:cNvSpPr>
          <p:nvPr>
            <p:ph type="body"/>
          </p:nvPr>
        </p:nvSpPr>
        <p:spPr>
          <a:xfrm>
            <a:off x="407880" y="817560"/>
            <a:ext cx="11375640" cy="378720"/>
          </a:xfrm>
          <a:prstGeom prst="rect">
            <a:avLst/>
          </a:prstGeom>
          <a:noFill/>
          <a:ln w="0">
            <a:noFill/>
          </a:ln>
        </p:spPr>
        <p:txBody>
          <a:bodyPr lIns="0" rIns="0" tIns="0" bIns="0" anchor="t">
            <a:noAutofit/>
          </a:bodyPr>
          <a:p>
            <a:pPr indent="0" defTabSz="914400">
              <a:lnSpc>
                <a:spcPct val="110000"/>
              </a:lnSpc>
              <a:buNone/>
              <a:tabLst>
                <a:tab algn="l" pos="0"/>
              </a:tabLst>
            </a:pPr>
            <a:r>
              <a:rPr b="1" lang="de-DE" sz="1800" spc="-1" strike="noStrike">
                <a:solidFill>
                  <a:schemeClr val="accent2"/>
                </a:solidFill>
                <a:latin typeface="Arial"/>
                <a:ea typeface="Arial"/>
              </a:rPr>
              <a:t>Unterüberschrift</a:t>
            </a:r>
            <a:endParaRPr b="0" lang="en-US" sz="1800" spc="-1" strike="noStrike">
              <a:solidFill>
                <a:schemeClr val="dk1"/>
              </a:solidFill>
              <a:latin typeface="Arial"/>
            </a:endParaRPr>
          </a:p>
        </p:txBody>
      </p:sp>
      <p:sp>
        <p:nvSpPr>
          <p:cNvPr id="181" name="PlaceHolder 4"/>
          <p:cNvSpPr>
            <a:spLocks noGrp="1"/>
          </p:cNvSpPr>
          <p:nvPr>
            <p:ph type="body"/>
          </p:nvPr>
        </p:nvSpPr>
        <p:spPr>
          <a:xfrm>
            <a:off x="407880" y="1449360"/>
            <a:ext cx="5616360" cy="4966920"/>
          </a:xfrm>
          <a:prstGeom prst="rect">
            <a:avLst/>
          </a:prstGeom>
          <a:solidFill>
            <a:schemeClr val="lt1">
              <a:lumMod val="95000"/>
            </a:schemeClr>
          </a:solidFill>
          <a:ln w="0">
            <a:noFill/>
          </a:ln>
        </p:spPr>
        <p:txBody>
          <a:bodyPr lIns="90000" rIns="90000" tIns="45000" bIns="45000" anchor="ctr">
            <a:noAutofit/>
          </a:bodyPr>
          <a:p>
            <a:pPr indent="0" algn="ctr" defTabSz="457200">
              <a:lnSpc>
                <a:spcPct val="100000"/>
              </a:lnSpc>
              <a:buNone/>
              <a:tabLst>
                <a:tab algn="l" pos="0"/>
              </a:tabLst>
            </a:pPr>
            <a:r>
              <a:rPr b="0" lang="de-DE" sz="1900" spc="-1" strike="noStrike">
                <a:solidFill>
                  <a:schemeClr val="dk1"/>
                </a:solidFill>
                <a:latin typeface="Arial"/>
                <a:ea typeface="Arial"/>
              </a:rPr>
              <a:t>Bild auf Platzhalter ziehen oder durch Klicken auf Symbol hinzufügen</a:t>
            </a:r>
            <a:endParaRPr b="0" lang="en-US" sz="1900" spc="-1" strike="noStrike">
              <a:solidFill>
                <a:schemeClr val="dk1"/>
              </a:solidFill>
              <a:latin typeface="Arial"/>
            </a:endParaRPr>
          </a:p>
        </p:txBody>
      </p:sp>
      <p:sp>
        <p:nvSpPr>
          <p:cNvPr id="182" name="PlaceHolder 5"/>
          <p:cNvSpPr>
            <a:spLocks noGrp="1"/>
          </p:cNvSpPr>
          <p:nvPr>
            <p:ph type="body"/>
          </p:nvPr>
        </p:nvSpPr>
        <p:spPr>
          <a:xfrm>
            <a:off x="6167520" y="1449360"/>
            <a:ext cx="5616360" cy="4966920"/>
          </a:xfrm>
          <a:prstGeom prst="rect">
            <a:avLst/>
          </a:prstGeom>
          <a:solidFill>
            <a:schemeClr val="lt1">
              <a:lumMod val="95000"/>
            </a:schemeClr>
          </a:solidFill>
          <a:ln w="0">
            <a:noFill/>
          </a:ln>
        </p:spPr>
        <p:txBody>
          <a:bodyPr lIns="90000" rIns="90000" tIns="45000" bIns="45000" anchor="ctr">
            <a:noAutofit/>
          </a:bodyPr>
          <a:p>
            <a:pPr indent="0" algn="ctr" defTabSz="457200">
              <a:lnSpc>
                <a:spcPct val="100000"/>
              </a:lnSpc>
              <a:buNone/>
              <a:tabLst>
                <a:tab algn="l" pos="0"/>
              </a:tabLst>
            </a:pPr>
            <a:r>
              <a:rPr b="0" lang="de-DE" sz="1900" spc="-1" strike="noStrike">
                <a:solidFill>
                  <a:schemeClr val="dk1"/>
                </a:solidFill>
                <a:latin typeface="Arial"/>
                <a:ea typeface="Arial"/>
              </a:rPr>
              <a:t>Bild auf Platzhalter ziehen oder durch Klicken auf Symbol hinzufügen</a:t>
            </a:r>
            <a:endParaRPr b="0" lang="en-US" sz="1900" spc="-1" strike="noStrike">
              <a:solidFill>
                <a:schemeClr val="dk1"/>
              </a:solidFill>
              <a:latin typeface="Arial"/>
            </a:endParaRPr>
          </a:p>
        </p:txBody>
      </p:sp>
    </p:spTree>
  </p:cSld>
  <p:clrMap bg1="lt1" tx1="dk1" bg2="lt2" tx2="dk2" accent1="accent1" accent2="accent2" accent3="accent3" accent4="accent4" accent5="accent5" accent6="accent6" hlink="hlink" folHlink="folHlink"/>
  <p:sldLayoutIdLst>
    <p:sldLayoutId id="2147483699" r:id="rId3"/>
  </p:sldLayoutIdLst>
</p:sldMaster>
</file>

<file path=ppt/slideMasters/slideMaster27.xml><?xml version="1.0" encoding="utf-8"?>
<p:sldMaster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p:cSld>
    <p:bg>
      <p:bgPr>
        <a:solidFill>
          <a:srgbClr val="ffffff"/>
        </a:solidFill>
      </p:bgPr>
    </p:bg>
    <p:spTree>
      <p:nvGrpSpPr>
        <p:cNvPr id="1" name=""/>
        <p:cNvGrpSpPr/>
        <p:nvPr/>
      </p:nvGrpSpPr>
      <p:grpSpPr>
        <a:xfrm>
          <a:off x="0" y="0"/>
          <a:ext cx="0" cy="0"/>
          <a:chOff x="0" y="0"/>
          <a:chExt cx="0" cy="0"/>
        </a:xfrm>
      </p:grpSpPr>
      <p:sp>
        <p:nvSpPr>
          <p:cNvPr id="183" name="Textfeld 13"/>
          <p:cNvSpPr/>
          <p:nvPr/>
        </p:nvSpPr>
        <p:spPr>
          <a:xfrm>
            <a:off x="10848600" y="6580800"/>
            <a:ext cx="935280" cy="186480"/>
          </a:xfrm>
          <a:prstGeom prst="rect">
            <a:avLst/>
          </a:prstGeom>
          <a:noFill/>
          <a:ln w="0">
            <a:noFill/>
          </a:ln>
        </p:spPr>
        <p:style>
          <a:lnRef idx="0"/>
          <a:fillRef idx="0"/>
          <a:effectRef idx="0"/>
          <a:fontRef idx="minor"/>
        </p:style>
        <p:txBody>
          <a:bodyPr lIns="0" rIns="0" tIns="0" bIns="0" anchor="t">
            <a:noAutofit/>
          </a:bodyPr>
          <a:p>
            <a:pPr algn="r" defTabSz="457200">
              <a:lnSpc>
                <a:spcPct val="100000"/>
              </a:lnSpc>
            </a:pPr>
            <a:r>
              <a:rPr b="1" lang="de-DE" sz="1100" spc="-1" strike="noStrike">
                <a:solidFill>
                  <a:schemeClr val="dk1"/>
                </a:solidFill>
                <a:latin typeface="Arial"/>
                <a:ea typeface="Arial"/>
              </a:rPr>
              <a:t>Seite </a:t>
            </a:r>
            <a:fld id="{E7ACE944-303C-4251-8B81-4C680556C20A}" type="slidenum">
              <a:rPr b="1" lang="de-DE" sz="1100" spc="-1" strike="noStrike">
                <a:solidFill>
                  <a:schemeClr val="dk1"/>
                </a:solidFill>
                <a:latin typeface="Arial"/>
                <a:ea typeface="Arial"/>
              </a:rPr>
              <a:t>&lt;number&gt;</a:t>
            </a:fld>
            <a:endParaRPr b="0" lang="en-US" sz="1100" spc="-1" strike="noStrike">
              <a:solidFill>
                <a:srgbClr val="000000"/>
              </a:solidFill>
              <a:latin typeface="Calibri"/>
            </a:endParaRPr>
          </a:p>
        </p:txBody>
      </p:sp>
      <p:pic>
        <p:nvPicPr>
          <p:cNvPr id="184" name="Grafik 6" descr=""/>
          <p:cNvPicPr/>
          <p:nvPr/>
        </p:nvPicPr>
        <p:blipFill>
          <a:blip r:embed="rId2"/>
          <a:stretch/>
        </p:blipFill>
        <p:spPr>
          <a:xfrm>
            <a:off x="403200" y="6613920"/>
            <a:ext cx="325080" cy="100440"/>
          </a:xfrm>
          <a:prstGeom prst="rect">
            <a:avLst/>
          </a:prstGeom>
          <a:ln w="0">
            <a:noFill/>
          </a:ln>
        </p:spPr>
      </p:pic>
      <p:sp>
        <p:nvSpPr>
          <p:cNvPr id="185" name="PlaceHolder 1"/>
          <p:cNvSpPr>
            <a:spLocks noGrp="1"/>
          </p:cNvSpPr>
          <p:nvPr>
            <p:ph type="title"/>
          </p:nvPr>
        </p:nvSpPr>
        <p:spPr>
          <a:xfrm>
            <a:off x="407880" y="349560"/>
            <a:ext cx="11375640" cy="450720"/>
          </a:xfrm>
          <a:prstGeom prst="rect">
            <a:avLst/>
          </a:prstGeom>
          <a:noFill/>
          <a:ln w="0">
            <a:noFill/>
          </a:ln>
        </p:spPr>
        <p:txBody>
          <a:bodyPr lIns="0" rIns="0" tIns="0" bIns="0" anchor="t">
            <a:noAutofit/>
          </a:bodyPr>
          <a:p>
            <a:pPr indent="0" defTabSz="914400">
              <a:lnSpc>
                <a:spcPct val="90000"/>
              </a:lnSpc>
              <a:buNone/>
            </a:pPr>
            <a:r>
              <a:rPr b="1" lang="de-DE" sz="3000" spc="-1" strike="noStrike">
                <a:solidFill>
                  <a:schemeClr val="accent1"/>
                </a:solidFill>
                <a:latin typeface="Arial"/>
                <a:ea typeface="Arial"/>
              </a:rPr>
              <a:t>Mastertitelformat bearbeiten</a:t>
            </a:r>
            <a:endParaRPr b="0" lang="en-US" sz="3000" spc="-1" strike="noStrike">
              <a:solidFill>
                <a:schemeClr val="dk1"/>
              </a:solidFill>
              <a:latin typeface="Arial"/>
            </a:endParaRPr>
          </a:p>
        </p:txBody>
      </p:sp>
      <p:sp>
        <p:nvSpPr>
          <p:cNvPr id="186" name="PlaceHolder 2"/>
          <p:cNvSpPr>
            <a:spLocks noGrp="1"/>
          </p:cNvSpPr>
          <p:nvPr>
            <p:ph type="ftr" idx="22"/>
          </p:nvPr>
        </p:nvSpPr>
        <p:spPr>
          <a:xfrm>
            <a:off x="791640" y="6580800"/>
            <a:ext cx="9948600" cy="186480"/>
          </a:xfrm>
          <a:prstGeom prst="rect">
            <a:avLst/>
          </a:prstGeom>
          <a:noFill/>
          <a:ln w="0">
            <a:noFill/>
          </a:ln>
        </p:spPr>
        <p:txBody>
          <a:bodyPr lIns="0" rIns="0" tIns="0" bIns="0" anchor="t">
            <a:noAutofit/>
          </a:bodyPr>
          <a:lstStyle>
            <a:lvl1pPr indent="0" defTabSz="457200">
              <a:lnSpc>
                <a:spcPct val="100000"/>
              </a:lnSpc>
              <a:buNone/>
              <a:defRPr b="0" lang="pt-BR" sz="1100" spc="-1" strike="noStrike">
                <a:solidFill>
                  <a:schemeClr val="dk1"/>
                </a:solidFill>
                <a:latin typeface="Arial"/>
                <a:ea typeface="Arial"/>
              </a:defRPr>
            </a:lvl1pPr>
          </a:lstStyle>
          <a:p>
            <a:pPr indent="0" defTabSz="457200">
              <a:lnSpc>
                <a:spcPct val="100000"/>
              </a:lnSpc>
              <a:buNone/>
            </a:pPr>
            <a:r>
              <a:rPr b="0" lang="pt-BR" sz="1100" spc="-1" strike="noStrike">
                <a:solidFill>
                  <a:schemeClr val="dk1"/>
                </a:solidFill>
                <a:latin typeface="Arial"/>
                <a:ea typeface="Arial"/>
              </a:rPr>
              <a:t>&lt;footer&gt;</a:t>
            </a:r>
            <a:endParaRPr b="0" lang="en-US" sz="1100" spc="-1" strike="noStrike">
              <a:solidFill>
                <a:srgbClr val="000000"/>
              </a:solidFill>
              <a:latin typeface="Calibri"/>
            </a:endParaRPr>
          </a:p>
        </p:txBody>
      </p:sp>
      <p:sp>
        <p:nvSpPr>
          <p:cNvPr id="187" name="PlaceHolder 3"/>
          <p:cNvSpPr>
            <a:spLocks noGrp="1"/>
          </p:cNvSpPr>
          <p:nvPr>
            <p:ph type="body"/>
          </p:nvPr>
        </p:nvSpPr>
        <p:spPr>
          <a:xfrm>
            <a:off x="407880" y="817560"/>
            <a:ext cx="11375640" cy="378720"/>
          </a:xfrm>
          <a:prstGeom prst="rect">
            <a:avLst/>
          </a:prstGeom>
          <a:noFill/>
          <a:ln w="0">
            <a:noFill/>
          </a:ln>
        </p:spPr>
        <p:txBody>
          <a:bodyPr lIns="0" rIns="0" tIns="0" bIns="0" anchor="t">
            <a:noAutofit/>
          </a:bodyPr>
          <a:p>
            <a:pPr indent="0" defTabSz="914400">
              <a:lnSpc>
                <a:spcPct val="110000"/>
              </a:lnSpc>
              <a:buNone/>
              <a:tabLst>
                <a:tab algn="l" pos="0"/>
              </a:tabLst>
            </a:pPr>
            <a:r>
              <a:rPr b="1" lang="de-DE" sz="1800" spc="-1" strike="noStrike">
                <a:solidFill>
                  <a:schemeClr val="accent2"/>
                </a:solidFill>
                <a:latin typeface="Arial"/>
                <a:ea typeface="Arial"/>
              </a:rPr>
              <a:t>Unterüberschrift</a:t>
            </a:r>
            <a:endParaRPr b="0" lang="en-US" sz="1800" spc="-1" strike="noStrike">
              <a:solidFill>
                <a:schemeClr val="dk1"/>
              </a:solidFill>
              <a:latin typeface="Arial"/>
            </a:endParaRPr>
          </a:p>
        </p:txBody>
      </p:sp>
      <p:sp>
        <p:nvSpPr>
          <p:cNvPr id="188" name="PlaceHolder 4"/>
          <p:cNvSpPr>
            <a:spLocks noGrp="1"/>
          </p:cNvSpPr>
          <p:nvPr>
            <p:ph type="body"/>
          </p:nvPr>
        </p:nvSpPr>
        <p:spPr>
          <a:xfrm>
            <a:off x="407880" y="1449360"/>
            <a:ext cx="3708000" cy="4966920"/>
          </a:xfrm>
          <a:prstGeom prst="rect">
            <a:avLst/>
          </a:prstGeom>
          <a:solidFill>
            <a:schemeClr val="lt1">
              <a:lumMod val="95000"/>
            </a:schemeClr>
          </a:solidFill>
          <a:ln w="0">
            <a:noFill/>
          </a:ln>
        </p:spPr>
        <p:txBody>
          <a:bodyPr lIns="90000" rIns="90000" tIns="45000" bIns="45000" anchor="ctr">
            <a:noAutofit/>
          </a:bodyPr>
          <a:p>
            <a:pPr indent="0" algn="ctr" defTabSz="457200">
              <a:lnSpc>
                <a:spcPct val="100000"/>
              </a:lnSpc>
              <a:buNone/>
              <a:tabLst>
                <a:tab algn="l" pos="0"/>
              </a:tabLst>
            </a:pPr>
            <a:r>
              <a:rPr b="0" lang="de-DE" sz="1900" spc="-1" strike="noStrike">
                <a:solidFill>
                  <a:schemeClr val="dk1"/>
                </a:solidFill>
                <a:latin typeface="Arial"/>
                <a:ea typeface="Arial"/>
              </a:rPr>
              <a:t>Bild auf Platzhalter ziehen oder durch Klicken auf Symbol hinzufügen</a:t>
            </a:r>
            <a:endParaRPr b="0" lang="en-US" sz="1900" spc="-1" strike="noStrike">
              <a:solidFill>
                <a:schemeClr val="dk1"/>
              </a:solidFill>
              <a:latin typeface="Arial"/>
            </a:endParaRPr>
          </a:p>
        </p:txBody>
      </p:sp>
      <p:sp>
        <p:nvSpPr>
          <p:cNvPr id="189" name="PlaceHolder 5"/>
          <p:cNvSpPr>
            <a:spLocks noGrp="1"/>
          </p:cNvSpPr>
          <p:nvPr>
            <p:ph type="body"/>
          </p:nvPr>
        </p:nvSpPr>
        <p:spPr>
          <a:xfrm>
            <a:off x="4259160" y="1449360"/>
            <a:ext cx="7524360" cy="4966920"/>
          </a:xfrm>
          <a:prstGeom prst="rect">
            <a:avLst/>
          </a:prstGeom>
          <a:solidFill>
            <a:schemeClr val="lt1">
              <a:lumMod val="95000"/>
            </a:schemeClr>
          </a:solidFill>
          <a:ln w="0">
            <a:noFill/>
          </a:ln>
        </p:spPr>
        <p:txBody>
          <a:bodyPr lIns="90000" rIns="90000" tIns="45000" bIns="45000" anchor="ctr">
            <a:noAutofit/>
          </a:bodyPr>
          <a:p>
            <a:pPr indent="0" algn="ctr" defTabSz="457200">
              <a:lnSpc>
                <a:spcPct val="100000"/>
              </a:lnSpc>
              <a:buNone/>
              <a:tabLst>
                <a:tab algn="l" pos="0"/>
              </a:tabLst>
            </a:pPr>
            <a:r>
              <a:rPr b="0" lang="de-DE" sz="1900" spc="-1" strike="noStrike">
                <a:solidFill>
                  <a:schemeClr val="dk1"/>
                </a:solidFill>
                <a:latin typeface="Arial"/>
                <a:ea typeface="Arial"/>
              </a:rPr>
              <a:t>Bild auf Platzhalter ziehen oder durch Klicken auf Symbol hinzufügen</a:t>
            </a:r>
            <a:endParaRPr b="0" lang="en-US" sz="1900" spc="-1" strike="noStrike">
              <a:solidFill>
                <a:schemeClr val="dk1"/>
              </a:solidFill>
              <a:latin typeface="Arial"/>
            </a:endParaRPr>
          </a:p>
        </p:txBody>
      </p:sp>
    </p:spTree>
  </p:cSld>
  <p:clrMap bg1="lt1" tx1="dk1" bg2="lt2" tx2="dk2" accent1="accent1" accent2="accent2" accent3="accent3" accent4="accent4" accent5="accent5" accent6="accent6" hlink="hlink" folHlink="folHlink"/>
  <p:sldLayoutIdLst>
    <p:sldLayoutId id="2147483701" r:id="rId3"/>
  </p:sldLayoutIdLst>
</p:sldMaster>
</file>

<file path=ppt/slideMasters/slideMaster28.xml><?xml version="1.0" encoding="utf-8"?>
<p:sldMaster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p:cSld>
    <p:bg>
      <p:bgPr>
        <a:solidFill>
          <a:srgbClr val="ffffff"/>
        </a:solidFill>
      </p:bgPr>
    </p:bg>
    <p:spTree>
      <p:nvGrpSpPr>
        <p:cNvPr id="1" name=""/>
        <p:cNvGrpSpPr/>
        <p:nvPr/>
      </p:nvGrpSpPr>
      <p:grpSpPr>
        <a:xfrm>
          <a:off x="0" y="0"/>
          <a:ext cx="0" cy="0"/>
          <a:chOff x="0" y="0"/>
          <a:chExt cx="0" cy="0"/>
        </a:xfrm>
      </p:grpSpPr>
      <p:sp>
        <p:nvSpPr>
          <p:cNvPr id="190" name="Textfeld 13"/>
          <p:cNvSpPr/>
          <p:nvPr/>
        </p:nvSpPr>
        <p:spPr>
          <a:xfrm>
            <a:off x="10848600" y="6580800"/>
            <a:ext cx="935280" cy="186480"/>
          </a:xfrm>
          <a:prstGeom prst="rect">
            <a:avLst/>
          </a:prstGeom>
          <a:noFill/>
          <a:ln w="0">
            <a:noFill/>
          </a:ln>
        </p:spPr>
        <p:style>
          <a:lnRef idx="0"/>
          <a:fillRef idx="0"/>
          <a:effectRef idx="0"/>
          <a:fontRef idx="minor"/>
        </p:style>
        <p:txBody>
          <a:bodyPr lIns="0" rIns="0" tIns="0" bIns="0" anchor="t">
            <a:noAutofit/>
          </a:bodyPr>
          <a:p>
            <a:pPr algn="r" defTabSz="457200">
              <a:lnSpc>
                <a:spcPct val="100000"/>
              </a:lnSpc>
            </a:pPr>
            <a:r>
              <a:rPr b="1" lang="de-DE" sz="1100" spc="-1" strike="noStrike">
                <a:solidFill>
                  <a:schemeClr val="dk1"/>
                </a:solidFill>
                <a:latin typeface="Arial"/>
                <a:ea typeface="Arial"/>
              </a:rPr>
              <a:t>Seite </a:t>
            </a:r>
            <a:fld id="{D980FA6B-8958-4A50-951F-D6E061435C25}" type="slidenum">
              <a:rPr b="1" lang="de-DE" sz="1100" spc="-1" strike="noStrike">
                <a:solidFill>
                  <a:schemeClr val="dk1"/>
                </a:solidFill>
                <a:latin typeface="Arial"/>
                <a:ea typeface="Arial"/>
              </a:rPr>
              <a:t>&lt;number&gt;</a:t>
            </a:fld>
            <a:endParaRPr b="0" lang="en-US" sz="1100" spc="-1" strike="noStrike">
              <a:solidFill>
                <a:srgbClr val="000000"/>
              </a:solidFill>
              <a:latin typeface="Calibri"/>
            </a:endParaRPr>
          </a:p>
        </p:txBody>
      </p:sp>
      <p:pic>
        <p:nvPicPr>
          <p:cNvPr id="191" name="Grafik 6" descr=""/>
          <p:cNvPicPr/>
          <p:nvPr/>
        </p:nvPicPr>
        <p:blipFill>
          <a:blip r:embed="rId2"/>
          <a:stretch/>
        </p:blipFill>
        <p:spPr>
          <a:xfrm>
            <a:off x="403200" y="6613920"/>
            <a:ext cx="325080" cy="100440"/>
          </a:xfrm>
          <a:prstGeom prst="rect">
            <a:avLst/>
          </a:prstGeom>
          <a:ln w="0">
            <a:noFill/>
          </a:ln>
        </p:spPr>
      </p:pic>
      <p:sp>
        <p:nvSpPr>
          <p:cNvPr id="192" name="PlaceHolder 1"/>
          <p:cNvSpPr>
            <a:spLocks noGrp="1"/>
          </p:cNvSpPr>
          <p:nvPr>
            <p:ph type="title"/>
          </p:nvPr>
        </p:nvSpPr>
        <p:spPr>
          <a:xfrm>
            <a:off x="407880" y="349560"/>
            <a:ext cx="11375640" cy="450720"/>
          </a:xfrm>
          <a:prstGeom prst="rect">
            <a:avLst/>
          </a:prstGeom>
          <a:noFill/>
          <a:ln w="0">
            <a:noFill/>
          </a:ln>
        </p:spPr>
        <p:txBody>
          <a:bodyPr lIns="0" rIns="0" tIns="0" bIns="0" anchor="t">
            <a:noAutofit/>
          </a:bodyPr>
          <a:p>
            <a:pPr indent="0" defTabSz="914400">
              <a:lnSpc>
                <a:spcPct val="90000"/>
              </a:lnSpc>
              <a:buNone/>
            </a:pPr>
            <a:r>
              <a:rPr b="1" lang="de-DE" sz="3000" spc="-1" strike="noStrike">
                <a:solidFill>
                  <a:schemeClr val="accent1"/>
                </a:solidFill>
                <a:latin typeface="Arial"/>
                <a:ea typeface="Arial"/>
              </a:rPr>
              <a:t>Mastertitelformat bearbeiten</a:t>
            </a:r>
            <a:endParaRPr b="0" lang="en-US" sz="3000" spc="-1" strike="noStrike">
              <a:solidFill>
                <a:schemeClr val="dk1"/>
              </a:solidFill>
              <a:latin typeface="Arial"/>
            </a:endParaRPr>
          </a:p>
        </p:txBody>
      </p:sp>
      <p:sp>
        <p:nvSpPr>
          <p:cNvPr id="193" name="PlaceHolder 2"/>
          <p:cNvSpPr>
            <a:spLocks noGrp="1"/>
          </p:cNvSpPr>
          <p:nvPr>
            <p:ph type="ftr" idx="23"/>
          </p:nvPr>
        </p:nvSpPr>
        <p:spPr>
          <a:xfrm>
            <a:off x="791640" y="6580800"/>
            <a:ext cx="9948600" cy="186480"/>
          </a:xfrm>
          <a:prstGeom prst="rect">
            <a:avLst/>
          </a:prstGeom>
          <a:noFill/>
          <a:ln w="0">
            <a:noFill/>
          </a:ln>
        </p:spPr>
        <p:txBody>
          <a:bodyPr lIns="0" rIns="0" tIns="0" bIns="0" anchor="t">
            <a:noAutofit/>
          </a:bodyPr>
          <a:lstStyle>
            <a:lvl1pPr indent="0" defTabSz="457200">
              <a:lnSpc>
                <a:spcPct val="100000"/>
              </a:lnSpc>
              <a:buNone/>
              <a:defRPr b="0" lang="pt-BR" sz="1100" spc="-1" strike="noStrike">
                <a:solidFill>
                  <a:schemeClr val="dk1"/>
                </a:solidFill>
                <a:latin typeface="Arial"/>
                <a:ea typeface="Arial"/>
              </a:defRPr>
            </a:lvl1pPr>
          </a:lstStyle>
          <a:p>
            <a:pPr indent="0" defTabSz="457200">
              <a:lnSpc>
                <a:spcPct val="100000"/>
              </a:lnSpc>
              <a:buNone/>
            </a:pPr>
            <a:r>
              <a:rPr b="0" lang="pt-BR" sz="1100" spc="-1" strike="noStrike">
                <a:solidFill>
                  <a:schemeClr val="dk1"/>
                </a:solidFill>
                <a:latin typeface="Arial"/>
                <a:ea typeface="Arial"/>
              </a:rPr>
              <a:t>&lt;footer&gt;</a:t>
            </a:r>
            <a:endParaRPr b="0" lang="en-US" sz="1100" spc="-1" strike="noStrike">
              <a:solidFill>
                <a:srgbClr val="000000"/>
              </a:solidFill>
              <a:latin typeface="Calibri"/>
            </a:endParaRPr>
          </a:p>
        </p:txBody>
      </p:sp>
      <p:sp>
        <p:nvSpPr>
          <p:cNvPr id="194" name="PlaceHolder 3"/>
          <p:cNvSpPr>
            <a:spLocks noGrp="1"/>
          </p:cNvSpPr>
          <p:nvPr>
            <p:ph type="body"/>
          </p:nvPr>
        </p:nvSpPr>
        <p:spPr>
          <a:xfrm>
            <a:off x="407880" y="817560"/>
            <a:ext cx="11375640" cy="378720"/>
          </a:xfrm>
          <a:prstGeom prst="rect">
            <a:avLst/>
          </a:prstGeom>
          <a:noFill/>
          <a:ln w="0">
            <a:noFill/>
          </a:ln>
        </p:spPr>
        <p:txBody>
          <a:bodyPr lIns="0" rIns="0" tIns="0" bIns="0" anchor="t">
            <a:noAutofit/>
          </a:bodyPr>
          <a:p>
            <a:pPr indent="0" defTabSz="914400">
              <a:lnSpc>
                <a:spcPct val="110000"/>
              </a:lnSpc>
              <a:buNone/>
              <a:tabLst>
                <a:tab algn="l" pos="0"/>
              </a:tabLst>
            </a:pPr>
            <a:r>
              <a:rPr b="1" lang="de-DE" sz="1800" spc="-1" strike="noStrike">
                <a:solidFill>
                  <a:schemeClr val="accent2"/>
                </a:solidFill>
                <a:latin typeface="Arial"/>
                <a:ea typeface="Arial"/>
              </a:rPr>
              <a:t>Unterüberschrift</a:t>
            </a:r>
            <a:endParaRPr b="0" lang="en-US" sz="1800" spc="-1" strike="noStrike">
              <a:solidFill>
                <a:schemeClr val="dk1"/>
              </a:solidFill>
              <a:latin typeface="Arial"/>
            </a:endParaRPr>
          </a:p>
        </p:txBody>
      </p:sp>
    </p:spTree>
  </p:cSld>
  <p:clrMap bg1="lt1" tx1="dk1" bg2="lt2" tx2="dk2" accent1="accent1" accent2="accent2" accent3="accent3" accent4="accent4" accent5="accent5" accent6="accent6" hlink="hlink" folHlink="folHlink"/>
  <p:sldLayoutIdLst>
    <p:sldLayoutId id="2147483703" r:id="rId3"/>
  </p:sldLayoutIdLst>
</p:sldMaster>
</file>

<file path=ppt/slideMasters/slideMaster29.xml><?xml version="1.0" encoding="utf-8"?>
<p:sldMaster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p:cSld>
    <p:bg>
      <p:bgPr>
        <a:solidFill>
          <a:srgbClr val="ffffff"/>
        </a:solidFill>
      </p:bgPr>
    </p:bg>
    <p:spTree>
      <p:nvGrpSpPr>
        <p:cNvPr id="1" name=""/>
        <p:cNvGrpSpPr/>
        <p:nvPr/>
      </p:nvGrpSpPr>
      <p:grpSpPr>
        <a:xfrm>
          <a:off x="0" y="0"/>
          <a:ext cx="0" cy="0"/>
          <a:chOff x="0" y="0"/>
          <a:chExt cx="0" cy="0"/>
        </a:xfrm>
      </p:grpSpPr>
      <p:sp>
        <p:nvSpPr>
          <p:cNvPr id="195" name="Textfeld 13"/>
          <p:cNvSpPr/>
          <p:nvPr/>
        </p:nvSpPr>
        <p:spPr>
          <a:xfrm>
            <a:off x="10848600" y="6580800"/>
            <a:ext cx="935280" cy="186480"/>
          </a:xfrm>
          <a:prstGeom prst="rect">
            <a:avLst/>
          </a:prstGeom>
          <a:noFill/>
          <a:ln w="0">
            <a:noFill/>
          </a:ln>
        </p:spPr>
        <p:style>
          <a:lnRef idx="0"/>
          <a:fillRef idx="0"/>
          <a:effectRef idx="0"/>
          <a:fontRef idx="minor"/>
        </p:style>
        <p:txBody>
          <a:bodyPr lIns="0" rIns="0" tIns="0" bIns="0" anchor="t">
            <a:noAutofit/>
          </a:bodyPr>
          <a:p>
            <a:pPr algn="r" defTabSz="457200">
              <a:lnSpc>
                <a:spcPct val="100000"/>
              </a:lnSpc>
            </a:pPr>
            <a:r>
              <a:rPr b="1" lang="de-DE" sz="1100" spc="-1" strike="noStrike">
                <a:solidFill>
                  <a:schemeClr val="dk1"/>
                </a:solidFill>
                <a:latin typeface="Arial"/>
                <a:ea typeface="Arial"/>
              </a:rPr>
              <a:t>Seite </a:t>
            </a:r>
            <a:fld id="{53EB84FD-4B03-4EF9-ABE1-061257AAD36B}" type="slidenum">
              <a:rPr b="1" lang="de-DE" sz="1100" spc="-1" strike="noStrike">
                <a:solidFill>
                  <a:schemeClr val="dk1"/>
                </a:solidFill>
                <a:latin typeface="Arial"/>
                <a:ea typeface="Arial"/>
              </a:rPr>
              <a:t>&lt;number&gt;</a:t>
            </a:fld>
            <a:endParaRPr b="0" lang="en-US" sz="1100" spc="-1" strike="noStrike">
              <a:solidFill>
                <a:srgbClr val="000000"/>
              </a:solidFill>
              <a:latin typeface="Calibri"/>
            </a:endParaRPr>
          </a:p>
        </p:txBody>
      </p:sp>
      <p:pic>
        <p:nvPicPr>
          <p:cNvPr id="196" name="Grafik 6" descr=""/>
          <p:cNvPicPr/>
          <p:nvPr/>
        </p:nvPicPr>
        <p:blipFill>
          <a:blip r:embed="rId2"/>
          <a:stretch/>
        </p:blipFill>
        <p:spPr>
          <a:xfrm>
            <a:off x="403200" y="6613920"/>
            <a:ext cx="325080" cy="100440"/>
          </a:xfrm>
          <a:prstGeom prst="rect">
            <a:avLst/>
          </a:prstGeom>
          <a:ln w="0">
            <a:noFill/>
          </a:ln>
        </p:spPr>
      </p:pic>
      <p:sp>
        <p:nvSpPr>
          <p:cNvPr id="197" name="PlaceHolder 1"/>
          <p:cNvSpPr>
            <a:spLocks noGrp="1"/>
          </p:cNvSpPr>
          <p:nvPr>
            <p:ph type="ftr" idx="24"/>
          </p:nvPr>
        </p:nvSpPr>
        <p:spPr>
          <a:xfrm>
            <a:off x="791640" y="6580800"/>
            <a:ext cx="9948600" cy="186480"/>
          </a:xfrm>
          <a:prstGeom prst="rect">
            <a:avLst/>
          </a:prstGeom>
          <a:noFill/>
          <a:ln w="0">
            <a:noFill/>
          </a:ln>
        </p:spPr>
        <p:txBody>
          <a:bodyPr lIns="0" rIns="0" tIns="0" bIns="0" anchor="t">
            <a:noAutofit/>
          </a:bodyPr>
          <a:lstStyle>
            <a:lvl1pPr indent="0" defTabSz="457200">
              <a:lnSpc>
                <a:spcPct val="100000"/>
              </a:lnSpc>
              <a:buNone/>
              <a:defRPr b="0" lang="pt-BR" sz="1100" spc="-1" strike="noStrike">
                <a:solidFill>
                  <a:schemeClr val="dk1"/>
                </a:solidFill>
                <a:latin typeface="Arial"/>
                <a:ea typeface="Arial"/>
              </a:defRPr>
            </a:lvl1pPr>
          </a:lstStyle>
          <a:p>
            <a:pPr indent="0" defTabSz="457200">
              <a:lnSpc>
                <a:spcPct val="100000"/>
              </a:lnSpc>
              <a:buNone/>
            </a:pPr>
            <a:r>
              <a:rPr b="0" lang="pt-BR" sz="1100" spc="-1" strike="noStrike">
                <a:solidFill>
                  <a:schemeClr val="dk1"/>
                </a:solidFill>
                <a:latin typeface="Arial"/>
                <a:ea typeface="Arial"/>
              </a:rPr>
              <a:t>&lt;footer&gt;</a:t>
            </a:r>
            <a:endParaRPr b="0" lang="en-US" sz="1100" spc="-1" strike="noStrike">
              <a:solidFill>
                <a:srgbClr val="000000"/>
              </a:solidFill>
              <a:latin typeface="Calibri"/>
            </a:endParaRPr>
          </a:p>
        </p:txBody>
      </p:sp>
    </p:spTree>
  </p:cSld>
  <p:clrMap bg1="lt1" tx1="dk1" bg2="lt2" tx2="dk2" accent1="accent1" accent2="accent2" accent3="accent3" accent4="accent4" accent5="accent5" accent6="accent6" hlink="hlink" folHlink="folHlink"/>
  <p:sldLayoutIdLst>
    <p:sldLayoutId id="2147483705" r:id="rId3"/>
  </p:sldLayoutIdLst>
</p:sldMaster>
</file>

<file path=ppt/slideMasters/slideMaster3.xml><?xml version="1.0" encoding="utf-8"?>
<p:sldMaster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p:cSld>
    <p:bg>
      <p:bgPr>
        <a:solidFill>
          <a:srgbClr val="002060"/>
        </a:solidFill>
      </p:bgPr>
    </p:bg>
    <p:spTree>
      <p:nvGrpSpPr>
        <p:cNvPr id="1" name=""/>
        <p:cNvGrpSpPr/>
        <p:nvPr/>
      </p:nvGrpSpPr>
      <p:grpSpPr>
        <a:xfrm>
          <a:off x="0" y="0"/>
          <a:ext cx="0" cy="0"/>
          <a:chOff x="0" y="0"/>
          <a:chExt cx="0" cy="0"/>
        </a:xfrm>
      </p:grpSpPr>
      <p:sp>
        <p:nvSpPr>
          <p:cNvPr id="15" name="Textfeld 13"/>
          <p:cNvSpPr/>
          <p:nvPr/>
        </p:nvSpPr>
        <p:spPr>
          <a:xfrm>
            <a:off x="10848600" y="6580800"/>
            <a:ext cx="935280" cy="186480"/>
          </a:xfrm>
          <a:prstGeom prst="rect">
            <a:avLst/>
          </a:prstGeom>
          <a:noFill/>
          <a:ln w="0">
            <a:noFill/>
          </a:ln>
        </p:spPr>
        <p:style>
          <a:lnRef idx="0"/>
          <a:fillRef idx="0"/>
          <a:effectRef idx="0"/>
          <a:fontRef idx="minor"/>
        </p:style>
        <p:txBody>
          <a:bodyPr lIns="0" rIns="0" tIns="0" bIns="0" anchor="t">
            <a:noAutofit/>
          </a:bodyPr>
          <a:p>
            <a:pPr algn="r" defTabSz="457200">
              <a:lnSpc>
                <a:spcPct val="100000"/>
              </a:lnSpc>
            </a:pPr>
            <a:r>
              <a:rPr b="1" lang="de-DE" sz="1100" spc="-1" strike="noStrike">
                <a:solidFill>
                  <a:schemeClr val="dk1"/>
                </a:solidFill>
                <a:latin typeface="Arial"/>
                <a:ea typeface="Arial"/>
              </a:rPr>
              <a:t>Seite </a:t>
            </a:r>
            <a:fld id="{75595AA2-FA73-4B1C-A154-CBDBCFC4E8FC}" type="slidenum">
              <a:rPr b="1" lang="de-DE" sz="1100" spc="-1" strike="noStrike">
                <a:solidFill>
                  <a:schemeClr val="dk1"/>
                </a:solidFill>
                <a:latin typeface="Arial"/>
                <a:ea typeface="Arial"/>
              </a:rPr>
              <a:t>&lt;number&gt;</a:t>
            </a:fld>
            <a:endParaRPr b="0" lang="en-US" sz="1100" spc="-1" strike="noStrike">
              <a:solidFill>
                <a:srgbClr val="ffffff"/>
              </a:solidFill>
              <a:latin typeface="Calibri"/>
            </a:endParaRPr>
          </a:p>
        </p:txBody>
      </p:sp>
      <p:pic>
        <p:nvPicPr>
          <p:cNvPr id="16" name="Grafik 6" descr=""/>
          <p:cNvPicPr/>
          <p:nvPr/>
        </p:nvPicPr>
        <p:blipFill>
          <a:blip r:embed="rId2"/>
          <a:stretch/>
        </p:blipFill>
        <p:spPr>
          <a:xfrm>
            <a:off x="403200" y="6613920"/>
            <a:ext cx="325080" cy="100440"/>
          </a:xfrm>
          <a:prstGeom prst="rect">
            <a:avLst/>
          </a:prstGeom>
          <a:ln w="0">
            <a:noFill/>
          </a:ln>
        </p:spPr>
      </p:pic>
      <p:sp>
        <p:nvSpPr>
          <p:cNvPr id="17" name="PlaceHolder 1"/>
          <p:cNvSpPr>
            <a:spLocks noGrp="1"/>
          </p:cNvSpPr>
          <p:nvPr>
            <p:ph type="title"/>
          </p:nvPr>
        </p:nvSpPr>
        <p:spPr>
          <a:xfrm>
            <a:off x="407880" y="349560"/>
            <a:ext cx="11375640" cy="450720"/>
          </a:xfrm>
          <a:prstGeom prst="rect">
            <a:avLst/>
          </a:prstGeom>
          <a:noFill/>
          <a:ln w="0">
            <a:noFill/>
          </a:ln>
        </p:spPr>
        <p:txBody>
          <a:bodyPr lIns="0" rIns="0" tIns="0" bIns="0" anchor="t">
            <a:noAutofit/>
          </a:bodyPr>
          <a:p>
            <a:pPr indent="0" defTabSz="914400">
              <a:lnSpc>
                <a:spcPct val="90000"/>
              </a:lnSpc>
              <a:buNone/>
            </a:pPr>
            <a:r>
              <a:rPr b="1" lang="de-DE" sz="3000" spc="-1" strike="noStrike">
                <a:solidFill>
                  <a:schemeClr val="accent1"/>
                </a:solidFill>
                <a:latin typeface="Arial"/>
                <a:ea typeface="Arial"/>
              </a:rPr>
              <a:t>Mastertitelformat bearbeiten</a:t>
            </a:r>
            <a:endParaRPr b="0" lang="en-US" sz="3000" spc="-1" strike="noStrike">
              <a:solidFill>
                <a:schemeClr val="dk1"/>
              </a:solidFill>
              <a:latin typeface="Arial"/>
            </a:endParaRPr>
          </a:p>
        </p:txBody>
      </p:sp>
      <p:sp>
        <p:nvSpPr>
          <p:cNvPr id="18" name="PlaceHolder 2"/>
          <p:cNvSpPr>
            <a:spLocks noGrp="1"/>
          </p:cNvSpPr>
          <p:nvPr>
            <p:ph type="ftr" idx="2"/>
          </p:nvPr>
        </p:nvSpPr>
        <p:spPr>
          <a:xfrm>
            <a:off x="791640" y="6580800"/>
            <a:ext cx="9948600" cy="186480"/>
          </a:xfrm>
          <a:prstGeom prst="rect">
            <a:avLst/>
          </a:prstGeom>
          <a:noFill/>
          <a:ln w="0">
            <a:noFill/>
          </a:ln>
        </p:spPr>
        <p:txBody>
          <a:bodyPr lIns="0" rIns="0" tIns="0" bIns="0" anchor="t">
            <a:noAutofit/>
          </a:bodyPr>
          <a:lstStyle>
            <a:lvl1pPr indent="0" defTabSz="457200">
              <a:lnSpc>
                <a:spcPct val="100000"/>
              </a:lnSpc>
              <a:buNone/>
              <a:defRPr b="0" lang="pt-BR" sz="1100" spc="-1" strike="noStrike">
                <a:solidFill>
                  <a:schemeClr val="lt1"/>
                </a:solidFill>
                <a:latin typeface="Arial"/>
                <a:ea typeface="Arial"/>
              </a:defRPr>
            </a:lvl1pPr>
          </a:lstStyle>
          <a:p>
            <a:pPr indent="0" defTabSz="457200">
              <a:lnSpc>
                <a:spcPct val="100000"/>
              </a:lnSpc>
              <a:buNone/>
            </a:pPr>
            <a:r>
              <a:rPr b="0" lang="pt-BR" sz="1100" spc="-1" strike="noStrike">
                <a:solidFill>
                  <a:schemeClr val="lt1"/>
                </a:solidFill>
                <a:latin typeface="Arial"/>
                <a:ea typeface="Arial"/>
              </a:rPr>
              <a:t>&lt;footer&gt;</a:t>
            </a:r>
            <a:endParaRPr b="0" lang="en-US" sz="1100" spc="-1" strike="noStrike">
              <a:solidFill>
                <a:srgbClr val="ffffff"/>
              </a:solidFill>
              <a:latin typeface="Calibri"/>
            </a:endParaRPr>
          </a:p>
        </p:txBody>
      </p:sp>
      <p:sp>
        <p:nvSpPr>
          <p:cNvPr id="19" name="PlaceHolder 3"/>
          <p:cNvSpPr>
            <a:spLocks noGrp="1"/>
          </p:cNvSpPr>
          <p:nvPr>
            <p:ph type="body"/>
          </p:nvPr>
        </p:nvSpPr>
        <p:spPr>
          <a:xfrm>
            <a:off x="407880" y="817560"/>
            <a:ext cx="11375640" cy="378720"/>
          </a:xfrm>
          <a:prstGeom prst="rect">
            <a:avLst/>
          </a:prstGeom>
          <a:noFill/>
          <a:ln w="0">
            <a:noFill/>
          </a:ln>
        </p:spPr>
        <p:txBody>
          <a:bodyPr lIns="0" rIns="0" tIns="0" bIns="0" anchor="t">
            <a:noAutofit/>
          </a:bodyPr>
          <a:p>
            <a:pPr indent="0" defTabSz="914400">
              <a:lnSpc>
                <a:spcPct val="110000"/>
              </a:lnSpc>
              <a:buNone/>
              <a:tabLst>
                <a:tab algn="l" pos="0"/>
              </a:tabLst>
            </a:pPr>
            <a:r>
              <a:rPr b="1" lang="de-DE" sz="1800" spc="-1" strike="noStrike">
                <a:solidFill>
                  <a:schemeClr val="accent2"/>
                </a:solidFill>
                <a:latin typeface="Arial"/>
                <a:ea typeface="Arial"/>
              </a:rPr>
              <a:t>Unterüberschrift</a:t>
            </a:r>
            <a:endParaRPr b="0" lang="en-US" sz="1800" spc="-1" strike="noStrike">
              <a:solidFill>
                <a:schemeClr val="lt1"/>
              </a:solidFill>
              <a:latin typeface="Arial"/>
            </a:endParaRPr>
          </a:p>
        </p:txBody>
      </p:sp>
      <p:sp>
        <p:nvSpPr>
          <p:cNvPr id="20" name="PlaceHolder 4"/>
          <p:cNvSpPr>
            <a:spLocks noGrp="1"/>
          </p:cNvSpPr>
          <p:nvPr>
            <p:ph type="body"/>
          </p:nvPr>
        </p:nvSpPr>
        <p:spPr>
          <a:xfrm>
            <a:off x="407880" y="1406520"/>
            <a:ext cx="7524360" cy="2454120"/>
          </a:xfrm>
          <a:prstGeom prst="rect">
            <a:avLst/>
          </a:prstGeom>
          <a:noFill/>
          <a:ln w="0">
            <a:noFill/>
          </a:ln>
        </p:spPr>
        <p:txBody>
          <a:bodyPr lIns="0" rIns="0" tIns="0" bIns="0" anchor="t">
            <a:noAutofit/>
          </a:bodyPr>
          <a:p>
            <a:pPr marL="361800" indent="-361800" defTabSz="914400">
              <a:lnSpc>
                <a:spcPct val="110000"/>
              </a:lnSpc>
              <a:spcAft>
                <a:spcPts val="1199"/>
              </a:spcAft>
              <a:buClr>
                <a:srgbClr val="ffffff"/>
              </a:buClr>
              <a:buFont typeface="Arial"/>
              <a:buChar char="•"/>
              <a:tabLst>
                <a:tab algn="l" pos="361800"/>
              </a:tabLst>
            </a:pPr>
            <a:r>
              <a:rPr b="0" lang="de-DE" sz="1800" spc="-1" strike="noStrike">
                <a:solidFill>
                  <a:schemeClr val="lt1"/>
                </a:solidFill>
                <a:latin typeface="Arial"/>
                <a:ea typeface="Arial"/>
              </a:rPr>
              <a:t>Mastertextformat bearbeiten</a:t>
            </a:r>
            <a:endParaRPr b="0" lang="en-US" sz="1800" spc="-1" strike="noStrike">
              <a:solidFill>
                <a:schemeClr val="lt1"/>
              </a:solidFill>
              <a:latin typeface="Arial"/>
            </a:endParaRPr>
          </a:p>
          <a:p>
            <a:pPr lvl="1" marL="628560" indent="-266760" defTabSz="914400">
              <a:lnSpc>
                <a:spcPct val="110000"/>
              </a:lnSpc>
              <a:spcAft>
                <a:spcPts val="1199"/>
              </a:spcAft>
              <a:buClr>
                <a:srgbClr val="ffffff"/>
              </a:buClr>
              <a:buFont typeface="Arial"/>
              <a:buChar char="•"/>
              <a:tabLst>
                <a:tab algn="l" pos="361800"/>
              </a:tabLst>
            </a:pPr>
            <a:r>
              <a:rPr b="0" lang="de-DE" sz="1800" spc="-1" strike="noStrike">
                <a:solidFill>
                  <a:schemeClr val="lt1"/>
                </a:solidFill>
                <a:latin typeface="Arial"/>
                <a:ea typeface="Arial"/>
              </a:rPr>
              <a:t>Zweite Ebene</a:t>
            </a:r>
            <a:endParaRPr b="0" lang="en-US" sz="1800" spc="-1" strike="noStrike">
              <a:solidFill>
                <a:schemeClr val="lt1"/>
              </a:solidFill>
              <a:latin typeface="Arial"/>
            </a:endParaRPr>
          </a:p>
          <a:p>
            <a:pPr lvl="2" marL="895320" indent="-266760" defTabSz="914400">
              <a:lnSpc>
                <a:spcPct val="110000"/>
              </a:lnSpc>
              <a:spcAft>
                <a:spcPts val="1199"/>
              </a:spcAft>
              <a:buClr>
                <a:srgbClr val="ffffff"/>
              </a:buClr>
              <a:buFont typeface="Arial"/>
              <a:buChar char="•"/>
              <a:tabLst>
                <a:tab algn="l" pos="361800"/>
              </a:tabLst>
            </a:pPr>
            <a:r>
              <a:rPr b="0" lang="de-DE" sz="1800" spc="-1" strike="noStrike">
                <a:solidFill>
                  <a:schemeClr val="lt1"/>
                </a:solidFill>
                <a:latin typeface="Arial"/>
                <a:ea typeface="Arial"/>
              </a:rPr>
              <a:t>Dritte Ebene</a:t>
            </a:r>
            <a:endParaRPr b="0" lang="en-US" sz="1800" spc="-1" strike="noStrike">
              <a:solidFill>
                <a:schemeClr val="lt1"/>
              </a:solidFill>
              <a:latin typeface="Arial"/>
            </a:endParaRPr>
          </a:p>
          <a:p>
            <a:pPr lvl="3" marL="1162080" indent="-266760" defTabSz="914400">
              <a:lnSpc>
                <a:spcPct val="110000"/>
              </a:lnSpc>
              <a:spcAft>
                <a:spcPts val="1199"/>
              </a:spcAft>
              <a:buClr>
                <a:srgbClr val="ffffff"/>
              </a:buClr>
              <a:buFont typeface="Arial"/>
              <a:buChar char="•"/>
              <a:tabLst>
                <a:tab algn="l" pos="361800"/>
              </a:tabLst>
            </a:pPr>
            <a:r>
              <a:rPr b="0" lang="de-DE" sz="1800" spc="-1" strike="noStrike">
                <a:solidFill>
                  <a:schemeClr val="lt1"/>
                </a:solidFill>
                <a:latin typeface="Arial"/>
                <a:ea typeface="Arial"/>
              </a:rPr>
              <a:t>Vierte Ebene</a:t>
            </a:r>
            <a:endParaRPr b="0" lang="en-US" sz="1800" spc="-1" strike="noStrike">
              <a:solidFill>
                <a:schemeClr val="lt1"/>
              </a:solidFill>
              <a:latin typeface="Arial"/>
            </a:endParaRPr>
          </a:p>
          <a:p>
            <a:pPr lvl="4" marL="1438200" indent="-276120" defTabSz="914400">
              <a:lnSpc>
                <a:spcPct val="110000"/>
              </a:lnSpc>
              <a:spcAft>
                <a:spcPts val="1199"/>
              </a:spcAft>
              <a:buClr>
                <a:srgbClr val="ffffff"/>
              </a:buClr>
              <a:buFont typeface="Arial"/>
              <a:buChar char="•"/>
              <a:tabLst>
                <a:tab algn="l" pos="361800"/>
              </a:tabLst>
            </a:pPr>
            <a:r>
              <a:rPr b="0" lang="de-DE" sz="1800" spc="-1" strike="noStrike">
                <a:solidFill>
                  <a:schemeClr val="lt1"/>
                </a:solidFill>
                <a:latin typeface="Arial"/>
                <a:ea typeface="Arial"/>
              </a:rPr>
              <a:t>Fünfte Ebene</a:t>
            </a:r>
            <a:endParaRPr b="0" lang="en-US" sz="1800" spc="-1" strike="noStrike">
              <a:solidFill>
                <a:schemeClr val="lt1"/>
              </a:solidFill>
              <a:latin typeface="Arial"/>
            </a:endParaRPr>
          </a:p>
        </p:txBody>
      </p:sp>
      <p:sp>
        <p:nvSpPr>
          <p:cNvPr id="21" name="PlaceHolder 5"/>
          <p:cNvSpPr>
            <a:spLocks noGrp="1"/>
          </p:cNvSpPr>
          <p:nvPr>
            <p:ph type="body"/>
          </p:nvPr>
        </p:nvSpPr>
        <p:spPr>
          <a:xfrm>
            <a:off x="407880" y="3963600"/>
            <a:ext cx="7524360" cy="2454120"/>
          </a:xfrm>
          <a:prstGeom prst="rect">
            <a:avLst/>
          </a:prstGeom>
          <a:noFill/>
          <a:ln w="0">
            <a:noFill/>
          </a:ln>
        </p:spPr>
        <p:txBody>
          <a:bodyPr lIns="0" rIns="0" tIns="0" bIns="0" anchor="t">
            <a:noAutofit/>
          </a:bodyPr>
          <a:p>
            <a:pPr marL="361800" indent="-361800" defTabSz="914400">
              <a:lnSpc>
                <a:spcPct val="110000"/>
              </a:lnSpc>
              <a:spcAft>
                <a:spcPts val="1199"/>
              </a:spcAft>
              <a:buClr>
                <a:srgbClr val="ffffff"/>
              </a:buClr>
              <a:buFont typeface="Arial"/>
              <a:buChar char="•"/>
              <a:tabLst>
                <a:tab algn="l" pos="361800"/>
              </a:tabLst>
            </a:pPr>
            <a:r>
              <a:rPr b="0" lang="de-DE" sz="1800" spc="-1" strike="noStrike">
                <a:solidFill>
                  <a:schemeClr val="lt1"/>
                </a:solidFill>
                <a:latin typeface="Arial"/>
                <a:ea typeface="Arial"/>
              </a:rPr>
              <a:t>Mastertextformat bearbeiten</a:t>
            </a:r>
            <a:endParaRPr b="0" lang="en-US" sz="1800" spc="-1" strike="noStrike">
              <a:solidFill>
                <a:schemeClr val="lt1"/>
              </a:solidFill>
              <a:latin typeface="Arial"/>
            </a:endParaRPr>
          </a:p>
          <a:p>
            <a:pPr lvl="1" marL="628560" indent="-266760" defTabSz="914400">
              <a:lnSpc>
                <a:spcPct val="110000"/>
              </a:lnSpc>
              <a:spcAft>
                <a:spcPts val="1199"/>
              </a:spcAft>
              <a:buClr>
                <a:srgbClr val="ffffff"/>
              </a:buClr>
              <a:buFont typeface="Arial"/>
              <a:buChar char="•"/>
              <a:tabLst>
                <a:tab algn="l" pos="361800"/>
              </a:tabLst>
            </a:pPr>
            <a:r>
              <a:rPr b="0" lang="de-DE" sz="1800" spc="-1" strike="noStrike">
                <a:solidFill>
                  <a:schemeClr val="lt1"/>
                </a:solidFill>
                <a:latin typeface="Arial"/>
                <a:ea typeface="Arial"/>
              </a:rPr>
              <a:t>Zweite Ebene</a:t>
            </a:r>
            <a:endParaRPr b="0" lang="en-US" sz="1800" spc="-1" strike="noStrike">
              <a:solidFill>
                <a:schemeClr val="lt1"/>
              </a:solidFill>
              <a:latin typeface="Arial"/>
            </a:endParaRPr>
          </a:p>
          <a:p>
            <a:pPr lvl="2" marL="895320" indent="-266760" defTabSz="914400">
              <a:lnSpc>
                <a:spcPct val="110000"/>
              </a:lnSpc>
              <a:spcAft>
                <a:spcPts val="1199"/>
              </a:spcAft>
              <a:buClr>
                <a:srgbClr val="ffffff"/>
              </a:buClr>
              <a:buFont typeface="Arial"/>
              <a:buChar char="•"/>
              <a:tabLst>
                <a:tab algn="l" pos="361800"/>
              </a:tabLst>
            </a:pPr>
            <a:r>
              <a:rPr b="0" lang="de-DE" sz="1800" spc="-1" strike="noStrike">
                <a:solidFill>
                  <a:schemeClr val="lt1"/>
                </a:solidFill>
                <a:latin typeface="Arial"/>
                <a:ea typeface="Arial"/>
              </a:rPr>
              <a:t>Dritte Ebene</a:t>
            </a:r>
            <a:endParaRPr b="0" lang="en-US" sz="1800" spc="-1" strike="noStrike">
              <a:solidFill>
                <a:schemeClr val="lt1"/>
              </a:solidFill>
              <a:latin typeface="Arial"/>
            </a:endParaRPr>
          </a:p>
          <a:p>
            <a:pPr lvl="3" marL="1162080" indent="-266760" defTabSz="914400">
              <a:lnSpc>
                <a:spcPct val="110000"/>
              </a:lnSpc>
              <a:spcAft>
                <a:spcPts val="1199"/>
              </a:spcAft>
              <a:buClr>
                <a:srgbClr val="ffffff"/>
              </a:buClr>
              <a:buFont typeface="Arial"/>
              <a:buChar char="•"/>
              <a:tabLst>
                <a:tab algn="l" pos="361800"/>
              </a:tabLst>
            </a:pPr>
            <a:r>
              <a:rPr b="0" lang="de-DE" sz="1800" spc="-1" strike="noStrike">
                <a:solidFill>
                  <a:schemeClr val="lt1"/>
                </a:solidFill>
                <a:latin typeface="Arial"/>
                <a:ea typeface="Arial"/>
              </a:rPr>
              <a:t>Vierte Ebene</a:t>
            </a:r>
            <a:endParaRPr b="0" lang="en-US" sz="1800" spc="-1" strike="noStrike">
              <a:solidFill>
                <a:schemeClr val="lt1"/>
              </a:solidFill>
              <a:latin typeface="Arial"/>
            </a:endParaRPr>
          </a:p>
          <a:p>
            <a:pPr lvl="4" marL="1438200" indent="-276120" defTabSz="914400">
              <a:lnSpc>
                <a:spcPct val="110000"/>
              </a:lnSpc>
              <a:spcAft>
                <a:spcPts val="1199"/>
              </a:spcAft>
              <a:buClr>
                <a:srgbClr val="ffffff"/>
              </a:buClr>
              <a:buFont typeface="Arial"/>
              <a:buChar char="•"/>
              <a:tabLst>
                <a:tab algn="l" pos="361800"/>
              </a:tabLst>
            </a:pPr>
            <a:r>
              <a:rPr b="0" lang="de-DE" sz="1800" spc="-1" strike="noStrike">
                <a:solidFill>
                  <a:schemeClr val="lt1"/>
                </a:solidFill>
                <a:latin typeface="Arial"/>
                <a:ea typeface="Arial"/>
              </a:rPr>
              <a:t>Fünfte Ebene</a:t>
            </a:r>
            <a:endParaRPr b="0" lang="en-US" sz="1800" spc="-1" strike="noStrike">
              <a:solidFill>
                <a:schemeClr val="lt1"/>
              </a:solidFill>
              <a:latin typeface="Arial"/>
            </a:endParaRPr>
          </a:p>
        </p:txBody>
      </p:sp>
      <p:sp>
        <p:nvSpPr>
          <p:cNvPr id="22" name="PlaceHolder 6"/>
          <p:cNvSpPr>
            <a:spLocks noGrp="1"/>
          </p:cNvSpPr>
          <p:nvPr>
            <p:ph type="body"/>
          </p:nvPr>
        </p:nvSpPr>
        <p:spPr>
          <a:xfrm>
            <a:off x="8075520" y="1449360"/>
            <a:ext cx="3708000" cy="2410920"/>
          </a:xfrm>
          <a:prstGeom prst="rect">
            <a:avLst/>
          </a:prstGeom>
          <a:solidFill>
            <a:schemeClr val="lt1">
              <a:lumMod val="95000"/>
            </a:schemeClr>
          </a:solidFill>
          <a:ln w="0">
            <a:noFill/>
          </a:ln>
        </p:spPr>
        <p:txBody>
          <a:bodyPr lIns="72000" rIns="72000" tIns="36000" bIns="36000" anchor="t">
            <a:noAutofit/>
          </a:bodyPr>
          <a:p>
            <a:pPr indent="0" defTabSz="914400">
              <a:lnSpc>
                <a:spcPct val="110000"/>
              </a:lnSpc>
              <a:spcAft>
                <a:spcPts val="1199"/>
              </a:spcAft>
              <a:buNone/>
              <a:tabLst>
                <a:tab algn="l" pos="0"/>
              </a:tabLst>
            </a:pPr>
            <a:r>
              <a:rPr b="0" lang="de-DE" sz="1800" spc="-1" strike="noStrike">
                <a:solidFill>
                  <a:schemeClr val="lt1"/>
                </a:solidFill>
                <a:latin typeface="Arial"/>
                <a:ea typeface="Arial"/>
              </a:rPr>
              <a:t>Mastertextformat bearbeiten</a:t>
            </a:r>
            <a:endParaRPr b="0" lang="en-US" sz="1800" spc="-1" strike="noStrike">
              <a:solidFill>
                <a:schemeClr val="lt1"/>
              </a:solidFill>
              <a:latin typeface="Arial"/>
            </a:endParaRPr>
          </a:p>
        </p:txBody>
      </p:sp>
      <p:sp>
        <p:nvSpPr>
          <p:cNvPr id="23" name="PlaceHolder 7"/>
          <p:cNvSpPr>
            <a:spLocks noGrp="1"/>
          </p:cNvSpPr>
          <p:nvPr>
            <p:ph type="body"/>
          </p:nvPr>
        </p:nvSpPr>
        <p:spPr>
          <a:xfrm>
            <a:off x="8075520" y="4005360"/>
            <a:ext cx="3708000" cy="2410920"/>
          </a:xfrm>
          <a:prstGeom prst="rect">
            <a:avLst/>
          </a:prstGeom>
          <a:solidFill>
            <a:schemeClr val="lt1">
              <a:lumMod val="95000"/>
            </a:schemeClr>
          </a:solidFill>
          <a:ln w="0">
            <a:noFill/>
          </a:ln>
        </p:spPr>
        <p:txBody>
          <a:bodyPr lIns="72000" rIns="72000" tIns="36000" bIns="36000" anchor="t">
            <a:noAutofit/>
          </a:bodyPr>
          <a:p>
            <a:pPr indent="0" defTabSz="914400">
              <a:lnSpc>
                <a:spcPct val="110000"/>
              </a:lnSpc>
              <a:spcAft>
                <a:spcPts val="1199"/>
              </a:spcAft>
              <a:buNone/>
              <a:tabLst>
                <a:tab algn="l" pos="0"/>
              </a:tabLst>
            </a:pPr>
            <a:r>
              <a:rPr b="0" lang="de-DE" sz="1800" spc="-1" strike="noStrike">
                <a:solidFill>
                  <a:schemeClr val="lt1"/>
                </a:solidFill>
                <a:latin typeface="Arial"/>
                <a:ea typeface="Arial"/>
              </a:rPr>
              <a:t>Mastertextformat bearbeiten</a:t>
            </a:r>
            <a:endParaRPr b="0" lang="en-US" sz="1800" spc="-1" strike="noStrike">
              <a:solidFill>
                <a:schemeClr val="lt1"/>
              </a:solidFill>
              <a:latin typeface="Arial"/>
            </a:endParaRPr>
          </a:p>
        </p:txBody>
      </p:sp>
    </p:spTree>
  </p:cSld>
  <p:clrMap bg1="lt1" tx1="dk1" bg2="lt2" tx2="dk2" accent1="accent1" accent2="accent2" accent3="accent3" accent4="accent4" accent5="accent5" accent6="accent6" hlink="hlink" folHlink="folHlink"/>
  <p:sldLayoutIdLst>
    <p:sldLayoutId id="2147483653" r:id="rId3"/>
  </p:sldLayoutIdLst>
</p:sldMaster>
</file>

<file path=ppt/slideMasters/slideMaster30.xml><?xml version="1.0" encoding="utf-8"?>
<p:sldMaster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p:cSld>
    <p:bg>
      <p:bgPr>
        <a:solidFill>
          <a:srgbClr val="ffffff"/>
        </a:solidFill>
      </p:bgPr>
    </p:bg>
    <p:spTree>
      <p:nvGrpSpPr>
        <p:cNvPr id="1" name=""/>
        <p:cNvGrpSpPr/>
        <p:nvPr/>
      </p:nvGrpSpPr>
      <p:grpSpPr>
        <a:xfrm>
          <a:off x="0" y="0"/>
          <a:ext cx="0" cy="0"/>
          <a:chOff x="0" y="0"/>
          <a:chExt cx="0" cy="0"/>
        </a:xfrm>
      </p:grpSpPr>
      <p:sp>
        <p:nvSpPr>
          <p:cNvPr id="198" name="Textfeld 13"/>
          <p:cNvSpPr/>
          <p:nvPr/>
        </p:nvSpPr>
        <p:spPr>
          <a:xfrm>
            <a:off x="10848600" y="6580800"/>
            <a:ext cx="935280" cy="186480"/>
          </a:xfrm>
          <a:prstGeom prst="rect">
            <a:avLst/>
          </a:prstGeom>
          <a:noFill/>
          <a:ln w="0">
            <a:noFill/>
          </a:ln>
        </p:spPr>
        <p:style>
          <a:lnRef idx="0"/>
          <a:fillRef idx="0"/>
          <a:effectRef idx="0"/>
          <a:fontRef idx="minor"/>
        </p:style>
        <p:txBody>
          <a:bodyPr lIns="0" rIns="0" tIns="0" bIns="0" anchor="t">
            <a:noAutofit/>
          </a:bodyPr>
          <a:p>
            <a:pPr algn="r" defTabSz="457200">
              <a:lnSpc>
                <a:spcPct val="100000"/>
              </a:lnSpc>
            </a:pPr>
            <a:r>
              <a:rPr b="1" lang="de-DE" sz="1100" spc="-1" strike="noStrike">
                <a:solidFill>
                  <a:schemeClr val="dk1"/>
                </a:solidFill>
                <a:latin typeface="Arial"/>
                <a:ea typeface="Arial"/>
              </a:rPr>
              <a:t>Seite </a:t>
            </a:r>
            <a:fld id="{B488C6ED-E11A-4B72-B59C-E4CEF4AE1167}" type="slidenum">
              <a:rPr b="1" lang="de-DE" sz="1100" spc="-1" strike="noStrike">
                <a:solidFill>
                  <a:schemeClr val="dk1"/>
                </a:solidFill>
                <a:latin typeface="Arial"/>
                <a:ea typeface="Arial"/>
              </a:rPr>
              <a:t>&lt;number&gt;</a:t>
            </a:fld>
            <a:endParaRPr b="0" lang="en-US" sz="1100" spc="-1" strike="noStrike">
              <a:solidFill>
                <a:srgbClr val="000000"/>
              </a:solidFill>
              <a:latin typeface="Calibri"/>
            </a:endParaRPr>
          </a:p>
        </p:txBody>
      </p:sp>
      <p:pic>
        <p:nvPicPr>
          <p:cNvPr id="199" name="Grafik 6" descr=""/>
          <p:cNvPicPr/>
          <p:nvPr/>
        </p:nvPicPr>
        <p:blipFill>
          <a:blip r:embed="rId2"/>
          <a:stretch/>
        </p:blipFill>
        <p:spPr>
          <a:xfrm>
            <a:off x="403200" y="6613920"/>
            <a:ext cx="325080" cy="100440"/>
          </a:xfrm>
          <a:prstGeom prst="rect">
            <a:avLst/>
          </a:prstGeom>
          <a:ln w="0">
            <a:noFill/>
          </a:ln>
        </p:spPr>
      </p:pic>
      <p:sp>
        <p:nvSpPr>
          <p:cNvPr id="200" name="PlaceHolder 1"/>
          <p:cNvSpPr>
            <a:spLocks noGrp="1"/>
          </p:cNvSpPr>
          <p:nvPr>
            <p:ph type="body"/>
          </p:nvPr>
        </p:nvSpPr>
        <p:spPr>
          <a:xfrm>
            <a:off x="6095880" y="0"/>
            <a:ext cx="6095520" cy="6857640"/>
          </a:xfrm>
          <a:prstGeom prst="rect">
            <a:avLst/>
          </a:prstGeom>
          <a:solidFill>
            <a:schemeClr val="lt2"/>
          </a:solidFill>
          <a:ln w="0">
            <a:noFill/>
          </a:ln>
        </p:spPr>
        <p:txBody>
          <a:bodyPr lIns="90000" rIns="90000" tIns="45000" bIns="45000" anchor="ctr">
            <a:noAutofit/>
          </a:bodyPr>
          <a:p>
            <a:pPr indent="0" algn="ctr" defTabSz="457200">
              <a:lnSpc>
                <a:spcPct val="100000"/>
              </a:lnSpc>
              <a:buNone/>
              <a:tabLst>
                <a:tab algn="l" pos="0"/>
              </a:tabLst>
            </a:pPr>
            <a:r>
              <a:rPr b="0" lang="de-DE" sz="1900" spc="-1" strike="noStrike">
                <a:solidFill>
                  <a:schemeClr val="dk1"/>
                </a:solidFill>
                <a:latin typeface="Arial"/>
                <a:ea typeface="Arial"/>
              </a:rPr>
              <a:t>Bild durch Klicken auf Symbol hinzufügen</a:t>
            </a:r>
            <a:endParaRPr b="0" lang="en-US" sz="1900" spc="-1" strike="noStrike">
              <a:solidFill>
                <a:schemeClr val="dk1"/>
              </a:solidFill>
              <a:latin typeface="Arial"/>
            </a:endParaRPr>
          </a:p>
        </p:txBody>
      </p:sp>
      <p:sp>
        <p:nvSpPr>
          <p:cNvPr id="201" name="PlaceHolder 2"/>
          <p:cNvSpPr>
            <a:spLocks noGrp="1"/>
          </p:cNvSpPr>
          <p:nvPr>
            <p:ph type="title"/>
          </p:nvPr>
        </p:nvSpPr>
        <p:spPr>
          <a:xfrm>
            <a:off x="442800" y="385560"/>
            <a:ext cx="5400360" cy="450720"/>
          </a:xfrm>
          <a:prstGeom prst="rect">
            <a:avLst/>
          </a:prstGeom>
          <a:noFill/>
          <a:ln w="0">
            <a:noFill/>
          </a:ln>
        </p:spPr>
        <p:txBody>
          <a:bodyPr lIns="0" rIns="0" tIns="0" bIns="0" anchor="t">
            <a:noAutofit/>
          </a:bodyPr>
          <a:p>
            <a:pPr indent="0" defTabSz="914400">
              <a:lnSpc>
                <a:spcPct val="90000"/>
              </a:lnSpc>
              <a:buNone/>
            </a:pPr>
            <a:r>
              <a:rPr b="1" lang="de-DE" sz="3000" spc="-1" strike="noStrike">
                <a:solidFill>
                  <a:schemeClr val="accent1"/>
                </a:solidFill>
                <a:latin typeface="Arial"/>
                <a:ea typeface="Arial"/>
              </a:rPr>
              <a:t>Titelmasterformat</a:t>
            </a:r>
            <a:endParaRPr b="0" lang="en-US" sz="3000" spc="-1" strike="noStrike">
              <a:solidFill>
                <a:schemeClr val="dk1"/>
              </a:solidFill>
              <a:latin typeface="Arial"/>
            </a:endParaRPr>
          </a:p>
        </p:txBody>
      </p:sp>
      <p:sp>
        <p:nvSpPr>
          <p:cNvPr id="202" name="PlaceHolder 3"/>
          <p:cNvSpPr>
            <a:spLocks noGrp="1"/>
          </p:cNvSpPr>
          <p:nvPr>
            <p:ph type="body"/>
          </p:nvPr>
        </p:nvSpPr>
        <p:spPr>
          <a:xfrm>
            <a:off x="442800" y="1989000"/>
            <a:ext cx="5400360" cy="4427280"/>
          </a:xfrm>
          <a:prstGeom prst="rect">
            <a:avLst/>
          </a:prstGeom>
          <a:noFill/>
          <a:ln w="0">
            <a:noFill/>
          </a:ln>
        </p:spPr>
        <p:txBody>
          <a:bodyPr lIns="0" rIns="0" tIns="0" bIns="0" anchor="t">
            <a:noAutofit/>
          </a:bodyPr>
          <a:p>
            <a:pPr marL="361800" indent="-361800" defTabSz="914400">
              <a:lnSpc>
                <a:spcPct val="110000"/>
              </a:lnSpc>
              <a:spcBef>
                <a:spcPts val="300"/>
              </a:spcBef>
              <a:spcAft>
                <a:spcPts val="1199"/>
              </a:spcAft>
              <a:buClr>
                <a:srgbClr val="000000"/>
              </a:buClr>
              <a:buFont typeface="Arial"/>
              <a:buChar char="•"/>
              <a:tabLst>
                <a:tab algn="l" pos="361800"/>
              </a:tabLst>
            </a:pPr>
            <a:r>
              <a:rPr b="0" lang="de-DE" sz="1800" spc="-1" strike="noStrike">
                <a:solidFill>
                  <a:schemeClr val="dk1"/>
                </a:solidFill>
                <a:latin typeface="Arial"/>
                <a:ea typeface="Arial"/>
              </a:rPr>
              <a:t>Mastertextformat bearbeiten</a:t>
            </a:r>
            <a:endParaRPr b="0" lang="en-US" sz="1800" spc="-1" strike="noStrike">
              <a:solidFill>
                <a:schemeClr val="dk1"/>
              </a:solidFill>
              <a:latin typeface="Arial"/>
            </a:endParaRPr>
          </a:p>
          <a:p>
            <a:pPr lvl="1" marL="628560" indent="-266760" defTabSz="914400">
              <a:lnSpc>
                <a:spcPct val="110000"/>
              </a:lnSpc>
              <a:spcAft>
                <a:spcPts val="1199"/>
              </a:spcAft>
              <a:buClr>
                <a:srgbClr val="000000"/>
              </a:buClr>
              <a:buFont typeface="Arial"/>
              <a:buChar char="•"/>
              <a:tabLst>
                <a:tab algn="l" pos="361800"/>
              </a:tabLst>
            </a:pPr>
            <a:r>
              <a:rPr b="0" lang="de-DE" sz="1800" spc="-1" strike="noStrike">
                <a:solidFill>
                  <a:schemeClr val="dk1"/>
                </a:solidFill>
                <a:latin typeface="Arial"/>
                <a:ea typeface="Arial"/>
              </a:rPr>
              <a:t>Zweite Ebene</a:t>
            </a:r>
            <a:endParaRPr b="0" lang="en-US" sz="1800" spc="-1" strike="noStrike">
              <a:solidFill>
                <a:schemeClr val="dk1"/>
              </a:solidFill>
              <a:latin typeface="Arial"/>
            </a:endParaRPr>
          </a:p>
          <a:p>
            <a:pPr lvl="2" marL="895320" indent="-266760" defTabSz="914400">
              <a:lnSpc>
                <a:spcPct val="110000"/>
              </a:lnSpc>
              <a:spcAft>
                <a:spcPts val="1199"/>
              </a:spcAft>
              <a:buClr>
                <a:srgbClr val="000000"/>
              </a:buClr>
              <a:buFont typeface="Arial"/>
              <a:buChar char="•"/>
              <a:tabLst>
                <a:tab algn="l" pos="361800"/>
              </a:tabLst>
            </a:pPr>
            <a:r>
              <a:rPr b="0" lang="de-DE" sz="1800" spc="-1" strike="noStrike">
                <a:solidFill>
                  <a:schemeClr val="dk1"/>
                </a:solidFill>
                <a:latin typeface="Arial"/>
                <a:ea typeface="Arial"/>
              </a:rPr>
              <a:t>Dritte Ebene</a:t>
            </a:r>
            <a:endParaRPr b="0" lang="en-US" sz="1800" spc="-1" strike="noStrike">
              <a:solidFill>
                <a:schemeClr val="dk1"/>
              </a:solidFill>
              <a:latin typeface="Arial"/>
            </a:endParaRPr>
          </a:p>
          <a:p>
            <a:pPr lvl="3" marL="1162080" indent="-266760" defTabSz="914400">
              <a:lnSpc>
                <a:spcPct val="110000"/>
              </a:lnSpc>
              <a:spcBef>
                <a:spcPts val="300"/>
              </a:spcBef>
              <a:spcAft>
                <a:spcPts val="1199"/>
              </a:spcAft>
              <a:buClr>
                <a:srgbClr val="000000"/>
              </a:buClr>
              <a:buFont typeface="Arial"/>
              <a:buChar char="•"/>
              <a:tabLst>
                <a:tab algn="l" pos="361800"/>
              </a:tabLst>
            </a:pPr>
            <a:r>
              <a:rPr b="0" lang="de-DE" sz="1800" spc="-1" strike="noStrike">
                <a:solidFill>
                  <a:schemeClr val="dk1"/>
                </a:solidFill>
                <a:latin typeface="Arial"/>
                <a:ea typeface="Arial"/>
              </a:rPr>
              <a:t>Vierte Ebene</a:t>
            </a:r>
            <a:endParaRPr b="0" lang="en-US" sz="1800" spc="-1" strike="noStrike">
              <a:solidFill>
                <a:schemeClr val="dk1"/>
              </a:solidFill>
              <a:latin typeface="Arial"/>
            </a:endParaRPr>
          </a:p>
          <a:p>
            <a:pPr lvl="4" marL="1438200" indent="-276120" defTabSz="914400">
              <a:lnSpc>
                <a:spcPct val="110000"/>
              </a:lnSpc>
              <a:spcBef>
                <a:spcPts val="1199"/>
              </a:spcBef>
              <a:spcAft>
                <a:spcPts val="1199"/>
              </a:spcAft>
              <a:buClr>
                <a:srgbClr val="000000"/>
              </a:buClr>
              <a:buFont typeface="Arial"/>
              <a:buChar char="•"/>
              <a:tabLst>
                <a:tab algn="l" pos="361800"/>
              </a:tabLst>
            </a:pPr>
            <a:r>
              <a:rPr b="1" lang="de-DE" sz="1800" spc="-1" strike="noStrike">
                <a:solidFill>
                  <a:schemeClr val="dk1"/>
                </a:solidFill>
                <a:latin typeface="Arial"/>
                <a:ea typeface="Arial"/>
              </a:rPr>
              <a:t>Fünfte Ebene</a:t>
            </a:r>
            <a:endParaRPr b="0" lang="en-US" sz="1800" spc="-1" strike="noStrike">
              <a:solidFill>
                <a:schemeClr val="dk1"/>
              </a:solidFill>
              <a:latin typeface="Arial"/>
            </a:endParaRPr>
          </a:p>
        </p:txBody>
      </p:sp>
      <p:sp>
        <p:nvSpPr>
          <p:cNvPr id="203" name="PlaceHolder 4"/>
          <p:cNvSpPr>
            <a:spLocks noGrp="1"/>
          </p:cNvSpPr>
          <p:nvPr>
            <p:ph type="ftr" idx="25"/>
          </p:nvPr>
        </p:nvSpPr>
        <p:spPr>
          <a:xfrm>
            <a:off x="708120" y="6547680"/>
            <a:ext cx="5135040" cy="186480"/>
          </a:xfrm>
          <a:prstGeom prst="rect">
            <a:avLst/>
          </a:prstGeom>
          <a:noFill/>
          <a:ln w="0">
            <a:noFill/>
          </a:ln>
        </p:spPr>
        <p:txBody>
          <a:bodyPr lIns="0" rIns="0" tIns="0" bIns="0" anchor="t">
            <a:noAutofit/>
          </a:bodyPr>
          <a:lstStyle>
            <a:lvl1pPr indent="0" defTabSz="457200">
              <a:lnSpc>
                <a:spcPct val="100000"/>
              </a:lnSpc>
              <a:buNone/>
              <a:defRPr b="0" lang="pt-BR" sz="1100" spc="-1" strike="noStrike">
                <a:solidFill>
                  <a:schemeClr val="dk1"/>
                </a:solidFill>
                <a:latin typeface="Arial"/>
                <a:ea typeface="Arial"/>
              </a:defRPr>
            </a:lvl1pPr>
          </a:lstStyle>
          <a:p>
            <a:pPr indent="0" defTabSz="457200">
              <a:lnSpc>
                <a:spcPct val="100000"/>
              </a:lnSpc>
              <a:buNone/>
            </a:pPr>
            <a:r>
              <a:rPr b="0" lang="pt-BR" sz="1100" spc="-1" strike="noStrike">
                <a:solidFill>
                  <a:schemeClr val="dk1"/>
                </a:solidFill>
                <a:latin typeface="Arial"/>
                <a:ea typeface="Arial"/>
              </a:rPr>
              <a:t>&lt;footer&gt;</a:t>
            </a:r>
            <a:endParaRPr b="0" lang="en-US" sz="1100" spc="-1" strike="noStrike">
              <a:solidFill>
                <a:srgbClr val="000000"/>
              </a:solidFill>
              <a:latin typeface="Calibri"/>
            </a:endParaRPr>
          </a:p>
        </p:txBody>
      </p:sp>
      <p:sp>
        <p:nvSpPr>
          <p:cNvPr id="204" name="PlaceHolder 5"/>
          <p:cNvSpPr>
            <a:spLocks noGrp="1"/>
          </p:cNvSpPr>
          <p:nvPr>
            <p:ph type="body"/>
          </p:nvPr>
        </p:nvSpPr>
        <p:spPr>
          <a:xfrm>
            <a:off x="442800" y="911880"/>
            <a:ext cx="5400360" cy="378720"/>
          </a:xfrm>
          <a:prstGeom prst="rect">
            <a:avLst/>
          </a:prstGeom>
          <a:noFill/>
          <a:ln w="0">
            <a:noFill/>
          </a:ln>
        </p:spPr>
        <p:txBody>
          <a:bodyPr lIns="0" rIns="0" tIns="0" bIns="0" anchor="t">
            <a:noAutofit/>
          </a:bodyPr>
          <a:p>
            <a:pPr indent="0" defTabSz="914400">
              <a:lnSpc>
                <a:spcPct val="100000"/>
              </a:lnSpc>
              <a:buNone/>
              <a:tabLst>
                <a:tab algn="l" pos="0"/>
              </a:tabLst>
            </a:pPr>
            <a:r>
              <a:rPr b="0" lang="de-DE" sz="1600" spc="-1" strike="noStrike">
                <a:solidFill>
                  <a:schemeClr val="accent2"/>
                </a:solidFill>
                <a:latin typeface="Arial"/>
                <a:ea typeface="Arial"/>
              </a:rPr>
              <a:t>Unterüberschrift</a:t>
            </a:r>
            <a:endParaRPr b="0" lang="en-US" sz="1600" spc="-1" strike="noStrike">
              <a:solidFill>
                <a:schemeClr val="dk1"/>
              </a:solidFill>
              <a:latin typeface="Arial"/>
            </a:endParaRPr>
          </a:p>
        </p:txBody>
      </p:sp>
    </p:spTree>
  </p:cSld>
  <p:clrMap bg1="lt1" tx1="dk1" bg2="lt2" tx2="dk2" accent1="accent1" accent2="accent2" accent3="accent3" accent4="accent4" accent5="accent5" accent6="accent6" hlink="hlink" folHlink="folHlink"/>
  <p:sldLayoutIdLst>
    <p:sldLayoutId id="2147483707" r:id="rId3"/>
  </p:sldLayoutIdLst>
</p:sldMaster>
</file>

<file path=ppt/slideMasters/slideMaster31.xml><?xml version="1.0" encoding="utf-8"?>
<p:sldMaster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p:cSld>
    <p:bg>
      <p:bgPr>
        <a:gradFill rotWithShape="0">
          <a:gsLst>
            <a:gs pos="0">
              <a:srgbClr val="011b45"/>
            </a:gs>
            <a:gs pos="100000">
              <a:srgbClr val="00192a"/>
            </a:gs>
          </a:gsLst>
          <a:lin ang="8100000"/>
        </a:gradFill>
      </p:bgPr>
    </p:bg>
    <p:spTree>
      <p:nvGrpSpPr>
        <p:cNvPr id="1" name=""/>
        <p:cNvGrpSpPr/>
        <p:nvPr/>
      </p:nvGrpSpPr>
      <p:grpSpPr>
        <a:xfrm>
          <a:off x="0" y="0"/>
          <a:ext cx="0" cy="0"/>
          <a:chOff x="0" y="0"/>
          <a:chExt cx="0" cy="0"/>
        </a:xfrm>
      </p:grpSpPr>
      <p:sp>
        <p:nvSpPr>
          <p:cNvPr id="205" name="Textfeld 13"/>
          <p:cNvSpPr/>
          <p:nvPr/>
        </p:nvSpPr>
        <p:spPr>
          <a:xfrm>
            <a:off x="10848600" y="6580800"/>
            <a:ext cx="935280" cy="186480"/>
          </a:xfrm>
          <a:prstGeom prst="rect">
            <a:avLst/>
          </a:prstGeom>
          <a:noFill/>
          <a:ln w="0">
            <a:noFill/>
          </a:ln>
        </p:spPr>
        <p:style>
          <a:lnRef idx="0"/>
          <a:fillRef idx="0"/>
          <a:effectRef idx="0"/>
          <a:fontRef idx="minor"/>
        </p:style>
        <p:txBody>
          <a:bodyPr lIns="0" rIns="0" tIns="0" bIns="0" anchor="t">
            <a:noAutofit/>
          </a:bodyPr>
          <a:p>
            <a:pPr algn="r" defTabSz="457200">
              <a:lnSpc>
                <a:spcPct val="100000"/>
              </a:lnSpc>
            </a:pPr>
            <a:r>
              <a:rPr b="1" lang="de-DE" sz="1100" spc="-1" strike="noStrike">
                <a:solidFill>
                  <a:schemeClr val="dk1"/>
                </a:solidFill>
                <a:latin typeface="Arial"/>
                <a:ea typeface="Arial"/>
              </a:rPr>
              <a:t>Seite </a:t>
            </a:r>
            <a:fld id="{32868BC5-0B5D-46F6-B769-5CDC476166B1}" type="slidenum">
              <a:rPr b="1" lang="de-DE" sz="1100" spc="-1" strike="noStrike">
                <a:solidFill>
                  <a:schemeClr val="dk1"/>
                </a:solidFill>
                <a:latin typeface="Arial"/>
                <a:ea typeface="Arial"/>
              </a:rPr>
              <a:t>&lt;number&gt;</a:t>
            </a:fld>
            <a:endParaRPr b="0" lang="en-US" sz="1100" spc="-1" strike="noStrike">
              <a:solidFill>
                <a:srgbClr val="ffffff"/>
              </a:solidFill>
              <a:latin typeface="Calibri"/>
            </a:endParaRPr>
          </a:p>
        </p:txBody>
      </p:sp>
      <p:pic>
        <p:nvPicPr>
          <p:cNvPr id="206" name="Grafik 6" descr=""/>
          <p:cNvPicPr/>
          <p:nvPr/>
        </p:nvPicPr>
        <p:blipFill>
          <a:blip r:embed="rId2"/>
          <a:stretch/>
        </p:blipFill>
        <p:spPr>
          <a:xfrm>
            <a:off x="403200" y="6613920"/>
            <a:ext cx="325080" cy="100440"/>
          </a:xfrm>
          <a:prstGeom prst="rect">
            <a:avLst/>
          </a:prstGeom>
          <a:ln w="0">
            <a:noFill/>
          </a:ln>
        </p:spPr>
      </p:pic>
      <p:sp>
        <p:nvSpPr>
          <p:cNvPr id="207" name="PlaceHolder 1"/>
          <p:cNvSpPr>
            <a:spLocks noGrp="1"/>
          </p:cNvSpPr>
          <p:nvPr>
            <p:ph type="title"/>
          </p:nvPr>
        </p:nvSpPr>
        <p:spPr>
          <a:xfrm>
            <a:off x="407880" y="349560"/>
            <a:ext cx="11375640" cy="450720"/>
          </a:xfrm>
          <a:prstGeom prst="rect">
            <a:avLst/>
          </a:prstGeom>
          <a:noFill/>
          <a:ln w="0">
            <a:noFill/>
          </a:ln>
        </p:spPr>
        <p:txBody>
          <a:bodyPr lIns="0" rIns="0" tIns="0" bIns="0" anchor="t">
            <a:noAutofit/>
          </a:bodyPr>
          <a:p>
            <a:pPr indent="0" defTabSz="914400">
              <a:lnSpc>
                <a:spcPct val="90000"/>
              </a:lnSpc>
              <a:buNone/>
            </a:pPr>
            <a:r>
              <a:rPr b="1" lang="de-DE" sz="3000" spc="-1" strike="noStrike">
                <a:solidFill>
                  <a:schemeClr val="accent1"/>
                </a:solidFill>
                <a:latin typeface="Arial"/>
                <a:ea typeface="Arial"/>
              </a:rPr>
              <a:t>Titelmasterformat durch Klicken bearbeiten</a:t>
            </a:r>
            <a:endParaRPr b="0" lang="en-US" sz="3000" spc="-1" strike="noStrike">
              <a:solidFill>
                <a:schemeClr val="dk1"/>
              </a:solidFill>
              <a:latin typeface="Arial"/>
            </a:endParaRPr>
          </a:p>
        </p:txBody>
      </p:sp>
      <p:sp>
        <p:nvSpPr>
          <p:cNvPr id="208" name="PlaceHolder 2"/>
          <p:cNvSpPr>
            <a:spLocks noGrp="1"/>
          </p:cNvSpPr>
          <p:nvPr>
            <p:ph type="ftr" idx="26"/>
          </p:nvPr>
        </p:nvSpPr>
        <p:spPr>
          <a:xfrm>
            <a:off x="791640" y="6580800"/>
            <a:ext cx="9948600" cy="186480"/>
          </a:xfrm>
          <a:prstGeom prst="rect">
            <a:avLst/>
          </a:prstGeom>
          <a:noFill/>
          <a:ln w="0">
            <a:noFill/>
          </a:ln>
        </p:spPr>
        <p:txBody>
          <a:bodyPr lIns="0" rIns="0" tIns="0" bIns="0" anchor="t">
            <a:noAutofit/>
          </a:bodyPr>
          <a:lstStyle>
            <a:lvl1pPr indent="0" defTabSz="457200">
              <a:lnSpc>
                <a:spcPct val="100000"/>
              </a:lnSpc>
              <a:buNone/>
              <a:defRPr b="0" lang="de-DE" sz="1100" spc="-1" strike="noStrike">
                <a:solidFill>
                  <a:schemeClr val="lt1"/>
                </a:solidFill>
                <a:latin typeface="Arial"/>
                <a:ea typeface="Arial"/>
              </a:defRPr>
            </a:lvl1pPr>
          </a:lstStyle>
          <a:p>
            <a:pPr indent="0" defTabSz="457200">
              <a:lnSpc>
                <a:spcPct val="100000"/>
              </a:lnSpc>
              <a:buNone/>
            </a:pPr>
            <a:r>
              <a:rPr b="0" lang="de-DE" sz="1100" spc="-1" strike="noStrike">
                <a:solidFill>
                  <a:schemeClr val="lt1"/>
                </a:solidFill>
                <a:latin typeface="Arial"/>
                <a:ea typeface="Arial"/>
              </a:rPr>
              <a:t>&lt;footer&gt;</a:t>
            </a:r>
            <a:endParaRPr b="0" lang="en-US" sz="1100" spc="-1" strike="noStrike">
              <a:solidFill>
                <a:srgbClr val="ffffff"/>
              </a:solidFill>
              <a:latin typeface="Calibri"/>
            </a:endParaRPr>
          </a:p>
        </p:txBody>
      </p:sp>
      <p:sp>
        <p:nvSpPr>
          <p:cNvPr id="209" name="PlaceHolder 3"/>
          <p:cNvSpPr>
            <a:spLocks noGrp="1"/>
          </p:cNvSpPr>
          <p:nvPr>
            <p:ph type="body"/>
          </p:nvPr>
        </p:nvSpPr>
        <p:spPr>
          <a:xfrm>
            <a:off x="442800" y="911880"/>
            <a:ext cx="11305800" cy="378720"/>
          </a:xfrm>
          <a:prstGeom prst="rect">
            <a:avLst/>
          </a:prstGeom>
          <a:noFill/>
          <a:ln w="0">
            <a:noFill/>
          </a:ln>
        </p:spPr>
        <p:txBody>
          <a:bodyPr lIns="0" rIns="0" tIns="0" bIns="0" anchor="t">
            <a:noAutofit/>
          </a:bodyPr>
          <a:p>
            <a:pPr indent="0" defTabSz="914400">
              <a:lnSpc>
                <a:spcPct val="100000"/>
              </a:lnSpc>
              <a:buNone/>
              <a:tabLst>
                <a:tab algn="l" pos="0"/>
              </a:tabLst>
            </a:pPr>
            <a:r>
              <a:rPr b="0" lang="de-DE" sz="1600" spc="-1" strike="noStrike">
                <a:solidFill>
                  <a:schemeClr val="accent2"/>
                </a:solidFill>
                <a:latin typeface="Arial"/>
                <a:ea typeface="Arial"/>
              </a:rPr>
              <a:t>Unterüberschrift</a:t>
            </a:r>
            <a:endParaRPr b="0" lang="en-US" sz="1600" spc="-1" strike="noStrike">
              <a:solidFill>
                <a:schemeClr val="dk1"/>
              </a:solidFill>
              <a:latin typeface="Arial"/>
            </a:endParaRPr>
          </a:p>
        </p:txBody>
      </p:sp>
    </p:spTree>
  </p:cSld>
  <p:clrMap bg1="lt1" tx1="dk1" bg2="lt2" tx2="dk2" accent1="accent1" accent2="accent2" accent3="accent3" accent4="accent4" accent5="accent5" accent6="accent6" hlink="hlink" folHlink="folHlink"/>
  <p:sldLayoutIdLst>
    <p:sldLayoutId id="2147483709" r:id="rId3"/>
  </p:sldLayoutIdLst>
</p:sldMaster>
</file>

<file path=ppt/slideMasters/slideMaster32.xml><?xml version="1.0" encoding="utf-8"?>
<p:sldMaster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p:cSld>
    <p:bg>
      <p:bgPr>
        <a:solidFill>
          <a:srgbClr val="ffffff"/>
        </a:solidFill>
      </p:bgPr>
    </p:bg>
    <p:spTree>
      <p:nvGrpSpPr>
        <p:cNvPr id="1" name=""/>
        <p:cNvGrpSpPr/>
        <p:nvPr/>
      </p:nvGrpSpPr>
      <p:grpSpPr>
        <a:xfrm>
          <a:off x="0" y="0"/>
          <a:ext cx="0" cy="0"/>
          <a:chOff x="0" y="0"/>
          <a:chExt cx="0" cy="0"/>
        </a:xfrm>
      </p:grpSpPr>
      <p:sp>
        <p:nvSpPr>
          <p:cNvPr id="210" name="Textfeld 13" hidden="1"/>
          <p:cNvSpPr/>
          <p:nvPr/>
        </p:nvSpPr>
        <p:spPr>
          <a:xfrm>
            <a:off x="10848600" y="6580800"/>
            <a:ext cx="935280" cy="186480"/>
          </a:xfrm>
          <a:prstGeom prst="rect">
            <a:avLst/>
          </a:prstGeom>
          <a:noFill/>
          <a:ln w="0">
            <a:noFill/>
          </a:ln>
        </p:spPr>
        <p:style>
          <a:lnRef idx="0"/>
          <a:fillRef idx="0"/>
          <a:effectRef idx="0"/>
          <a:fontRef idx="minor"/>
        </p:style>
        <p:txBody>
          <a:bodyPr lIns="0" rIns="0" tIns="0" bIns="0" anchor="t">
            <a:noAutofit/>
          </a:bodyPr>
          <a:p>
            <a:pPr algn="r" defTabSz="457200">
              <a:lnSpc>
                <a:spcPct val="100000"/>
              </a:lnSpc>
            </a:pPr>
            <a:r>
              <a:rPr b="1" lang="de-DE" sz="1100" spc="-1" strike="noStrike">
                <a:solidFill>
                  <a:schemeClr val="dk1"/>
                </a:solidFill>
                <a:latin typeface="Arial"/>
                <a:ea typeface="Arial"/>
              </a:rPr>
              <a:t>Seite </a:t>
            </a:r>
            <a:fld id="{EFDE0A7B-6B40-45FA-8352-F6A8073EE83E}" type="slidenum">
              <a:rPr b="1" lang="de-DE" sz="1100" spc="-1" strike="noStrike">
                <a:solidFill>
                  <a:schemeClr val="dk1"/>
                </a:solidFill>
                <a:latin typeface="Arial"/>
                <a:ea typeface="Arial"/>
              </a:rPr>
              <a:t>&lt;number&gt;</a:t>
            </a:fld>
            <a:endParaRPr b="0" lang="en-US" sz="1100" spc="-1" strike="noStrike">
              <a:solidFill>
                <a:srgbClr val="000000"/>
              </a:solidFill>
              <a:latin typeface="Calibri"/>
            </a:endParaRPr>
          </a:p>
        </p:txBody>
      </p:sp>
      <p:pic>
        <p:nvPicPr>
          <p:cNvPr id="211" name="Grafik 6" descr=""/>
          <p:cNvPicPr/>
          <p:nvPr/>
        </p:nvPicPr>
        <p:blipFill>
          <a:blip r:embed="rId2"/>
          <a:stretch/>
        </p:blipFill>
        <p:spPr>
          <a:xfrm>
            <a:off x="403200" y="6613920"/>
            <a:ext cx="325080" cy="100440"/>
          </a:xfrm>
          <a:prstGeom prst="rect">
            <a:avLst/>
          </a:prstGeom>
          <a:ln w="0">
            <a:noFill/>
          </a:ln>
        </p:spPr>
      </p:pic>
      <p:sp>
        <p:nvSpPr>
          <p:cNvPr id="212" name="PlaceHolder 1"/>
          <p:cNvSpPr>
            <a:spLocks noGrp="1"/>
          </p:cNvSpPr>
          <p:nvPr>
            <p:ph type="body"/>
          </p:nvPr>
        </p:nvSpPr>
        <p:spPr>
          <a:xfrm>
            <a:off x="0" y="0"/>
            <a:ext cx="12191760" cy="3428640"/>
          </a:xfrm>
          <a:prstGeom prst="rect">
            <a:avLst/>
          </a:prstGeom>
          <a:solidFill>
            <a:schemeClr val="dk2"/>
          </a:solidFill>
          <a:ln w="0">
            <a:noFill/>
          </a:ln>
        </p:spPr>
        <p:txBody>
          <a:bodyPr lIns="90000" rIns="90000" tIns="45000" bIns="45000" anchor="ctr">
            <a:noAutofit/>
          </a:bodyPr>
          <a:p>
            <a:pPr indent="0" algn="ctr" defTabSz="457200">
              <a:lnSpc>
                <a:spcPct val="100000"/>
              </a:lnSpc>
              <a:buNone/>
              <a:tabLst>
                <a:tab algn="l" pos="0"/>
              </a:tabLst>
            </a:pPr>
            <a:r>
              <a:rPr b="0" lang="de-DE" sz="1900" spc="-1" strike="noStrike">
                <a:solidFill>
                  <a:schemeClr val="dk1"/>
                </a:solidFill>
                <a:latin typeface="Arial"/>
                <a:ea typeface="Arial"/>
              </a:rPr>
              <a:t>Bild auf Platzhalter ziehen oder durch Klicken auf Symbol hinzufügen</a:t>
            </a:r>
            <a:endParaRPr b="0" lang="en-US" sz="1900" spc="-1" strike="noStrike">
              <a:solidFill>
                <a:schemeClr val="dk1"/>
              </a:solidFill>
              <a:latin typeface="Arial"/>
            </a:endParaRPr>
          </a:p>
        </p:txBody>
      </p:sp>
      <p:sp>
        <p:nvSpPr>
          <p:cNvPr id="213" name="PlaceHolder 2"/>
          <p:cNvSpPr>
            <a:spLocks noGrp="1"/>
          </p:cNvSpPr>
          <p:nvPr>
            <p:ph type="title"/>
          </p:nvPr>
        </p:nvSpPr>
        <p:spPr>
          <a:xfrm>
            <a:off x="407880" y="349560"/>
            <a:ext cx="11375640" cy="1099440"/>
          </a:xfrm>
          <a:prstGeom prst="rect">
            <a:avLst/>
          </a:prstGeom>
          <a:noFill/>
          <a:ln w="0">
            <a:noFill/>
          </a:ln>
        </p:spPr>
        <p:txBody>
          <a:bodyPr lIns="0" rIns="0" tIns="0" bIns="0" anchor="t">
            <a:noAutofit/>
          </a:bodyPr>
          <a:p>
            <a:pPr indent="0" defTabSz="914400">
              <a:lnSpc>
                <a:spcPct val="100000"/>
              </a:lnSpc>
              <a:buNone/>
            </a:pPr>
            <a:r>
              <a:rPr b="1" lang="de-DE" sz="6000" spc="-1" strike="noStrike">
                <a:solidFill>
                  <a:schemeClr val="lt1"/>
                </a:solidFill>
                <a:latin typeface="Arial"/>
                <a:ea typeface="Arial"/>
              </a:rPr>
              <a:t>Mastertitelformat bearbeiten</a:t>
            </a:r>
            <a:endParaRPr b="0" lang="en-US" sz="6000" spc="-1" strike="noStrike">
              <a:solidFill>
                <a:schemeClr val="dk1"/>
              </a:solidFill>
              <a:latin typeface="Arial"/>
            </a:endParaRPr>
          </a:p>
        </p:txBody>
      </p:sp>
      <p:sp>
        <p:nvSpPr>
          <p:cNvPr id="214" name="PlaceHolder 3"/>
          <p:cNvSpPr>
            <a:spLocks noGrp="1"/>
          </p:cNvSpPr>
          <p:nvPr>
            <p:ph type="body"/>
          </p:nvPr>
        </p:nvSpPr>
        <p:spPr>
          <a:xfrm>
            <a:off x="414360" y="4096800"/>
            <a:ext cx="11369160" cy="699840"/>
          </a:xfrm>
          <a:prstGeom prst="rect">
            <a:avLst/>
          </a:prstGeom>
          <a:noFill/>
          <a:ln w="0">
            <a:noFill/>
          </a:ln>
        </p:spPr>
        <p:txBody>
          <a:bodyPr lIns="0" rIns="0" tIns="0" bIns="0" anchor="t">
            <a:noAutofit/>
          </a:bodyPr>
          <a:p>
            <a:pPr indent="0" defTabSz="914400">
              <a:lnSpc>
                <a:spcPct val="110000"/>
              </a:lnSpc>
              <a:buNone/>
              <a:tabLst>
                <a:tab algn="l" pos="0"/>
              </a:tabLst>
            </a:pPr>
            <a:r>
              <a:rPr b="0" lang="de-DE" sz="1900" spc="-1" strike="noStrike">
                <a:solidFill>
                  <a:schemeClr val="dk1"/>
                </a:solidFill>
                <a:latin typeface="Arial"/>
                <a:ea typeface="Arial"/>
              </a:rPr>
              <a:t>Mastertextformat bearbeiten</a:t>
            </a:r>
            <a:endParaRPr b="0" lang="en-US" sz="1900" spc="-1" strike="noStrike">
              <a:solidFill>
                <a:schemeClr val="dk1"/>
              </a:solidFill>
              <a:latin typeface="Arial"/>
            </a:endParaRPr>
          </a:p>
        </p:txBody>
      </p:sp>
      <p:pic>
        <p:nvPicPr>
          <p:cNvPr id="215" name="Grafik 9" descr=""/>
          <p:cNvPicPr/>
          <p:nvPr/>
        </p:nvPicPr>
        <p:blipFill>
          <a:blip r:embed="rId3"/>
          <a:stretch/>
        </p:blipFill>
        <p:spPr>
          <a:xfrm>
            <a:off x="407520" y="6242400"/>
            <a:ext cx="2637360" cy="179640"/>
          </a:xfrm>
          <a:prstGeom prst="rect">
            <a:avLst/>
          </a:prstGeom>
          <a:ln w="0">
            <a:noFill/>
          </a:ln>
        </p:spPr>
      </p:pic>
      <p:pic>
        <p:nvPicPr>
          <p:cNvPr id="216" name="Grafik 7" descr=""/>
          <p:cNvPicPr/>
          <p:nvPr/>
        </p:nvPicPr>
        <p:blipFill>
          <a:blip r:embed="rId4"/>
          <a:stretch/>
        </p:blipFill>
        <p:spPr>
          <a:xfrm>
            <a:off x="10833120" y="5670000"/>
            <a:ext cx="793440" cy="793800"/>
          </a:xfrm>
          <a:prstGeom prst="rect">
            <a:avLst/>
          </a:prstGeom>
          <a:ln w="0">
            <a:noFill/>
          </a:ln>
        </p:spPr>
      </p:pic>
    </p:spTree>
  </p:cSld>
  <p:clrMap bg1="lt1" tx1="dk1" bg2="lt2" tx2="dk2" accent1="accent1" accent2="accent2" accent3="accent3" accent4="accent4" accent5="accent5" accent6="accent6" hlink="hlink" folHlink="folHlink"/>
  <p:sldLayoutIdLst>
    <p:sldLayoutId id="2147483711" r:id="rId5"/>
  </p:sldLayoutIdLst>
</p:sldMaster>
</file>

<file path=ppt/slideMasters/slideMaster33.xml><?xml version="1.0" encoding="utf-8"?>
<p:sldMaster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p:cSld>
    <p:bg>
      <p:bgPr>
        <a:solidFill>
          <a:schemeClr val="accent1"/>
        </a:solidFill>
      </p:bgPr>
    </p:bg>
    <p:spTree>
      <p:nvGrpSpPr>
        <p:cNvPr id="1" name=""/>
        <p:cNvGrpSpPr/>
        <p:nvPr/>
      </p:nvGrpSpPr>
      <p:grpSpPr>
        <a:xfrm>
          <a:off x="0" y="0"/>
          <a:ext cx="0" cy="0"/>
          <a:chOff x="0" y="0"/>
          <a:chExt cx="0" cy="0"/>
        </a:xfrm>
      </p:grpSpPr>
      <p:sp>
        <p:nvSpPr>
          <p:cNvPr id="217" name="Textfeld 13" hidden="1"/>
          <p:cNvSpPr/>
          <p:nvPr/>
        </p:nvSpPr>
        <p:spPr>
          <a:xfrm>
            <a:off x="10848600" y="6580800"/>
            <a:ext cx="935280" cy="186480"/>
          </a:xfrm>
          <a:prstGeom prst="rect">
            <a:avLst/>
          </a:prstGeom>
          <a:noFill/>
          <a:ln w="0">
            <a:noFill/>
          </a:ln>
        </p:spPr>
        <p:style>
          <a:lnRef idx="0"/>
          <a:fillRef idx="0"/>
          <a:effectRef idx="0"/>
          <a:fontRef idx="minor"/>
        </p:style>
        <p:txBody>
          <a:bodyPr lIns="0" rIns="0" tIns="0" bIns="0" anchor="t">
            <a:noAutofit/>
          </a:bodyPr>
          <a:p>
            <a:pPr algn="r" defTabSz="457200">
              <a:lnSpc>
                <a:spcPct val="100000"/>
              </a:lnSpc>
            </a:pPr>
            <a:r>
              <a:rPr b="1" lang="de-DE" sz="1100" spc="-1" strike="noStrike">
                <a:solidFill>
                  <a:schemeClr val="dk1"/>
                </a:solidFill>
                <a:latin typeface="Arial"/>
                <a:ea typeface="Arial"/>
              </a:rPr>
              <a:t>Seite </a:t>
            </a:r>
            <a:fld id="{A411BA06-9D0F-41E8-9D7B-56FCA89830FD}" type="slidenum">
              <a:rPr b="1" lang="de-DE" sz="1100" spc="-1" strike="noStrike">
                <a:solidFill>
                  <a:schemeClr val="dk1"/>
                </a:solidFill>
                <a:latin typeface="Arial"/>
                <a:ea typeface="Arial"/>
              </a:rPr>
              <a:t>&lt;number&gt;</a:t>
            </a:fld>
            <a:endParaRPr b="0" lang="en-US" sz="1100" spc="-1" strike="noStrike">
              <a:solidFill>
                <a:srgbClr val="ffffff"/>
              </a:solidFill>
              <a:latin typeface="Calibri"/>
            </a:endParaRPr>
          </a:p>
        </p:txBody>
      </p:sp>
      <p:pic>
        <p:nvPicPr>
          <p:cNvPr id="218" name="Grafik 6" descr=""/>
          <p:cNvPicPr/>
          <p:nvPr/>
        </p:nvPicPr>
        <p:blipFill>
          <a:blip r:embed="rId2"/>
          <a:stretch/>
        </p:blipFill>
        <p:spPr>
          <a:xfrm>
            <a:off x="403200" y="6613920"/>
            <a:ext cx="325080" cy="100440"/>
          </a:xfrm>
          <a:prstGeom prst="rect">
            <a:avLst/>
          </a:prstGeom>
          <a:ln w="0">
            <a:noFill/>
          </a:ln>
        </p:spPr>
      </p:pic>
      <p:sp>
        <p:nvSpPr>
          <p:cNvPr id="219" name="PlaceHolder 1"/>
          <p:cNvSpPr>
            <a:spLocks noGrp="1"/>
          </p:cNvSpPr>
          <p:nvPr>
            <p:ph type="title"/>
          </p:nvPr>
        </p:nvSpPr>
        <p:spPr>
          <a:xfrm>
            <a:off x="407880" y="349560"/>
            <a:ext cx="11375640" cy="3510720"/>
          </a:xfrm>
          <a:prstGeom prst="rect">
            <a:avLst/>
          </a:prstGeom>
          <a:noFill/>
          <a:ln w="0">
            <a:noFill/>
          </a:ln>
        </p:spPr>
        <p:txBody>
          <a:bodyPr lIns="0" rIns="0" tIns="0" bIns="0" anchor="t">
            <a:noAutofit/>
          </a:bodyPr>
          <a:p>
            <a:pPr indent="0" defTabSz="914400">
              <a:lnSpc>
                <a:spcPct val="100000"/>
              </a:lnSpc>
              <a:buNone/>
            </a:pPr>
            <a:r>
              <a:rPr b="1" lang="de-DE" sz="6000" spc="-1" strike="noStrike">
                <a:solidFill>
                  <a:schemeClr val="lt1"/>
                </a:solidFill>
                <a:latin typeface="Arial"/>
                <a:ea typeface="Arial"/>
              </a:rPr>
              <a:t>Mastertitelformat bearbeiten</a:t>
            </a:r>
            <a:endParaRPr b="0" lang="en-US" sz="6000" spc="-1" strike="noStrike">
              <a:solidFill>
                <a:schemeClr val="dk1"/>
              </a:solidFill>
              <a:latin typeface="Arial"/>
            </a:endParaRPr>
          </a:p>
        </p:txBody>
      </p:sp>
    </p:spTree>
  </p:cSld>
  <p:clrMap bg1="lt1" tx1="dk1" bg2="lt2" tx2="dk2" accent1="accent1" accent2="accent2" accent3="accent3" accent4="accent4" accent5="accent5" accent6="accent6" hlink="hlink" folHlink="folHlink"/>
  <p:sldLayoutIdLst>
    <p:sldLayoutId id="2147483713" r:id="rId3"/>
  </p:sldLayoutIdLst>
</p:sldMaster>
</file>

<file path=ppt/slideMasters/slideMaster34.xml><?xml version="1.0" encoding="utf-8"?>
<p:sldMaster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p:cSld>
    <p:bg>
      <p:bgPr>
        <a:solidFill>
          <a:srgbClr val="ffffff"/>
        </a:solidFill>
      </p:bgPr>
    </p:bg>
    <p:spTree>
      <p:nvGrpSpPr>
        <p:cNvPr id="1" name=""/>
        <p:cNvGrpSpPr/>
        <p:nvPr/>
      </p:nvGrpSpPr>
      <p:grpSpPr>
        <a:xfrm>
          <a:off x="0" y="0"/>
          <a:ext cx="0" cy="0"/>
          <a:chOff x="0" y="0"/>
          <a:chExt cx="0" cy="0"/>
        </a:xfrm>
      </p:grpSpPr>
      <p:sp>
        <p:nvSpPr>
          <p:cNvPr id="220" name="Textfeld 13" hidden="1"/>
          <p:cNvSpPr/>
          <p:nvPr/>
        </p:nvSpPr>
        <p:spPr>
          <a:xfrm>
            <a:off x="10848600" y="6580800"/>
            <a:ext cx="935280" cy="186480"/>
          </a:xfrm>
          <a:prstGeom prst="rect">
            <a:avLst/>
          </a:prstGeom>
          <a:noFill/>
          <a:ln w="0">
            <a:noFill/>
          </a:ln>
        </p:spPr>
        <p:style>
          <a:lnRef idx="0"/>
          <a:fillRef idx="0"/>
          <a:effectRef idx="0"/>
          <a:fontRef idx="minor"/>
        </p:style>
        <p:txBody>
          <a:bodyPr lIns="0" rIns="0" tIns="0" bIns="0" anchor="t">
            <a:noAutofit/>
          </a:bodyPr>
          <a:p>
            <a:pPr algn="r" defTabSz="457200">
              <a:lnSpc>
                <a:spcPct val="100000"/>
              </a:lnSpc>
            </a:pPr>
            <a:r>
              <a:rPr b="1" lang="de-DE" sz="1100" spc="-1" strike="noStrike">
                <a:solidFill>
                  <a:schemeClr val="dk1"/>
                </a:solidFill>
                <a:latin typeface="Arial"/>
                <a:ea typeface="Arial"/>
              </a:rPr>
              <a:t>Seite </a:t>
            </a:r>
            <a:fld id="{B79357EE-A5ED-409C-8BB8-353222F0F636}" type="slidenum">
              <a:rPr b="1" lang="de-DE" sz="1100" spc="-1" strike="noStrike">
                <a:solidFill>
                  <a:schemeClr val="dk1"/>
                </a:solidFill>
                <a:latin typeface="Arial"/>
                <a:ea typeface="Arial"/>
              </a:rPr>
              <a:t>&lt;number&gt;</a:t>
            </a:fld>
            <a:endParaRPr b="0" lang="en-US" sz="1100" spc="-1" strike="noStrike">
              <a:solidFill>
                <a:srgbClr val="000000"/>
              </a:solidFill>
              <a:latin typeface="Calibri"/>
            </a:endParaRPr>
          </a:p>
        </p:txBody>
      </p:sp>
      <p:pic>
        <p:nvPicPr>
          <p:cNvPr id="221" name="Grafik 6" descr=""/>
          <p:cNvPicPr/>
          <p:nvPr/>
        </p:nvPicPr>
        <p:blipFill>
          <a:blip r:embed="rId2"/>
          <a:stretch/>
        </p:blipFill>
        <p:spPr>
          <a:xfrm>
            <a:off x="403200" y="6613920"/>
            <a:ext cx="325080" cy="100440"/>
          </a:xfrm>
          <a:prstGeom prst="rect">
            <a:avLst/>
          </a:prstGeom>
          <a:ln w="0">
            <a:noFill/>
          </a:ln>
        </p:spPr>
      </p:pic>
      <p:sp>
        <p:nvSpPr>
          <p:cNvPr id="222" name="PlaceHolder 1"/>
          <p:cNvSpPr>
            <a:spLocks noGrp="1"/>
          </p:cNvSpPr>
          <p:nvPr>
            <p:ph type="title"/>
          </p:nvPr>
        </p:nvSpPr>
        <p:spPr>
          <a:xfrm>
            <a:off x="407880" y="349560"/>
            <a:ext cx="11375640" cy="3510720"/>
          </a:xfrm>
          <a:prstGeom prst="rect">
            <a:avLst/>
          </a:prstGeom>
          <a:noFill/>
          <a:ln w="0">
            <a:noFill/>
          </a:ln>
        </p:spPr>
        <p:txBody>
          <a:bodyPr lIns="0" rIns="0" tIns="0" bIns="0" anchor="t">
            <a:noAutofit/>
          </a:bodyPr>
          <a:p>
            <a:pPr indent="0" defTabSz="914400">
              <a:lnSpc>
                <a:spcPct val="100000"/>
              </a:lnSpc>
              <a:buNone/>
            </a:pPr>
            <a:r>
              <a:rPr b="1" lang="de-DE" sz="6000" spc="-1" strike="noStrike">
                <a:solidFill>
                  <a:schemeClr val="accent1"/>
                </a:solidFill>
                <a:latin typeface="Arial"/>
                <a:ea typeface="Arial"/>
              </a:rPr>
              <a:t>Mastertitelformat bearbeiten</a:t>
            </a:r>
            <a:endParaRPr b="0" lang="en-US" sz="6000" spc="-1" strike="noStrike">
              <a:solidFill>
                <a:schemeClr val="dk1"/>
              </a:solidFill>
              <a:latin typeface="Arial"/>
            </a:endParaRPr>
          </a:p>
        </p:txBody>
      </p:sp>
    </p:spTree>
  </p:cSld>
  <p:clrMap bg1="lt1" tx1="dk1" bg2="lt2" tx2="dk2" accent1="accent1" accent2="accent2" accent3="accent3" accent4="accent4" accent5="accent5" accent6="accent6" hlink="hlink" folHlink="folHlink"/>
  <p:sldLayoutIdLst>
    <p:sldLayoutId id="2147483715" r:id="rId3"/>
  </p:sldLayoutIdLst>
</p:sldMaster>
</file>

<file path=ppt/slideMasters/slideMaster35.xml><?xml version="1.0" encoding="utf-8"?>
<p:sldMaster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p:cSld>
    <p:bg>
      <p:bgPr>
        <a:solidFill>
          <a:srgbClr val="ffffff"/>
        </a:solidFill>
      </p:bgPr>
    </p:bg>
    <p:spTree>
      <p:nvGrpSpPr>
        <p:cNvPr id="1" name=""/>
        <p:cNvGrpSpPr/>
        <p:nvPr/>
      </p:nvGrpSpPr>
      <p:grpSpPr>
        <a:xfrm>
          <a:off x="0" y="0"/>
          <a:ext cx="0" cy="0"/>
          <a:chOff x="0" y="0"/>
          <a:chExt cx="0" cy="0"/>
        </a:xfrm>
      </p:grpSpPr>
      <p:sp>
        <p:nvSpPr>
          <p:cNvPr id="223" name="Textfeld 13"/>
          <p:cNvSpPr/>
          <p:nvPr/>
        </p:nvSpPr>
        <p:spPr>
          <a:xfrm>
            <a:off x="10848600" y="6580800"/>
            <a:ext cx="935280" cy="186480"/>
          </a:xfrm>
          <a:prstGeom prst="rect">
            <a:avLst/>
          </a:prstGeom>
          <a:noFill/>
          <a:ln w="0">
            <a:noFill/>
          </a:ln>
        </p:spPr>
        <p:style>
          <a:lnRef idx="0"/>
          <a:fillRef idx="0"/>
          <a:effectRef idx="0"/>
          <a:fontRef idx="minor"/>
        </p:style>
        <p:txBody>
          <a:bodyPr lIns="0" rIns="0" tIns="0" bIns="0" anchor="t">
            <a:noAutofit/>
          </a:bodyPr>
          <a:p>
            <a:pPr algn="r" defTabSz="457200">
              <a:lnSpc>
                <a:spcPct val="100000"/>
              </a:lnSpc>
            </a:pPr>
            <a:r>
              <a:rPr b="1" lang="de-DE" sz="1100" spc="-1" strike="noStrike">
                <a:solidFill>
                  <a:schemeClr val="dk1"/>
                </a:solidFill>
                <a:latin typeface="Arial"/>
                <a:ea typeface="Arial"/>
              </a:rPr>
              <a:t>Seite </a:t>
            </a:r>
            <a:fld id="{4B08B48D-80CF-4F46-9AE5-E1C49A1CED9E}" type="slidenum">
              <a:rPr b="1" lang="de-DE" sz="1100" spc="-1" strike="noStrike">
                <a:solidFill>
                  <a:schemeClr val="dk1"/>
                </a:solidFill>
                <a:latin typeface="Arial"/>
                <a:ea typeface="Arial"/>
              </a:rPr>
              <a:t>&lt;number&gt;</a:t>
            </a:fld>
            <a:endParaRPr b="0" lang="en-US" sz="1100" spc="-1" strike="noStrike">
              <a:solidFill>
                <a:srgbClr val="000000"/>
              </a:solidFill>
              <a:latin typeface="Calibri"/>
            </a:endParaRPr>
          </a:p>
        </p:txBody>
      </p:sp>
      <p:pic>
        <p:nvPicPr>
          <p:cNvPr id="224" name="Grafik 6" descr=""/>
          <p:cNvPicPr/>
          <p:nvPr/>
        </p:nvPicPr>
        <p:blipFill>
          <a:blip r:embed="rId2"/>
          <a:stretch/>
        </p:blipFill>
        <p:spPr>
          <a:xfrm>
            <a:off x="403200" y="6613920"/>
            <a:ext cx="325080" cy="100440"/>
          </a:xfrm>
          <a:prstGeom prst="rect">
            <a:avLst/>
          </a:prstGeom>
          <a:ln w="0">
            <a:noFill/>
          </a:ln>
        </p:spPr>
      </p:pic>
      <p:sp>
        <p:nvSpPr>
          <p:cNvPr id="225" name="PlaceHolder 1"/>
          <p:cNvSpPr>
            <a:spLocks noGrp="1"/>
          </p:cNvSpPr>
          <p:nvPr>
            <p:ph type="title"/>
          </p:nvPr>
        </p:nvSpPr>
        <p:spPr>
          <a:xfrm>
            <a:off x="407880" y="349560"/>
            <a:ext cx="11375640" cy="450720"/>
          </a:xfrm>
          <a:prstGeom prst="rect">
            <a:avLst/>
          </a:prstGeom>
          <a:noFill/>
          <a:ln w="0">
            <a:noFill/>
          </a:ln>
        </p:spPr>
        <p:txBody>
          <a:bodyPr lIns="0" rIns="0" tIns="0" bIns="0" anchor="t">
            <a:noAutofit/>
          </a:bodyPr>
          <a:p>
            <a:pPr indent="0" defTabSz="914400">
              <a:lnSpc>
                <a:spcPct val="90000"/>
              </a:lnSpc>
              <a:buNone/>
            </a:pPr>
            <a:r>
              <a:rPr b="1" lang="de-DE" sz="3000" spc="-1" strike="noStrike">
                <a:solidFill>
                  <a:schemeClr val="accent1"/>
                </a:solidFill>
                <a:latin typeface="Arial"/>
                <a:ea typeface="Arial"/>
              </a:rPr>
              <a:t>Mastertitelformat bearbeiten</a:t>
            </a:r>
            <a:endParaRPr b="0" lang="en-US" sz="3000" spc="-1" strike="noStrike">
              <a:solidFill>
                <a:schemeClr val="dk1"/>
              </a:solidFill>
              <a:latin typeface="Arial"/>
            </a:endParaRPr>
          </a:p>
        </p:txBody>
      </p:sp>
      <p:sp>
        <p:nvSpPr>
          <p:cNvPr id="226" name="PlaceHolder 2"/>
          <p:cNvSpPr>
            <a:spLocks noGrp="1"/>
          </p:cNvSpPr>
          <p:nvPr>
            <p:ph type="body"/>
          </p:nvPr>
        </p:nvSpPr>
        <p:spPr>
          <a:xfrm>
            <a:off x="407880" y="1406520"/>
            <a:ext cx="11375640" cy="5009760"/>
          </a:xfrm>
          <a:prstGeom prst="rect">
            <a:avLst/>
          </a:prstGeom>
          <a:noFill/>
          <a:ln w="0">
            <a:noFill/>
          </a:ln>
        </p:spPr>
        <p:txBody>
          <a:bodyPr lIns="0" rIns="0" tIns="0" bIns="0" anchor="t">
            <a:noAutofit/>
          </a:bodyPr>
          <a:p>
            <a:pPr marL="361800" indent="-361800" defTabSz="914400">
              <a:lnSpc>
                <a:spcPct val="110000"/>
              </a:lnSpc>
              <a:spcAft>
                <a:spcPts val="1199"/>
              </a:spcAft>
              <a:buClr>
                <a:srgbClr val="000000"/>
              </a:buClr>
              <a:buFont typeface="Arial"/>
              <a:buChar char="•"/>
              <a:tabLst>
                <a:tab algn="l" pos="361800"/>
              </a:tabLst>
            </a:pPr>
            <a:r>
              <a:rPr b="0" lang="de-DE" sz="1800" spc="-1" strike="noStrike">
                <a:solidFill>
                  <a:schemeClr val="dk1"/>
                </a:solidFill>
                <a:latin typeface="Arial"/>
                <a:ea typeface="Arial"/>
              </a:rPr>
              <a:t>Mastertextformat bearbeiten</a:t>
            </a:r>
            <a:endParaRPr b="0" lang="en-US" sz="1800" spc="-1" strike="noStrike">
              <a:solidFill>
                <a:schemeClr val="dk1"/>
              </a:solidFill>
              <a:latin typeface="Arial"/>
            </a:endParaRPr>
          </a:p>
          <a:p>
            <a:pPr lvl="1" marL="628560" indent="-266760" defTabSz="914400">
              <a:lnSpc>
                <a:spcPct val="110000"/>
              </a:lnSpc>
              <a:spcAft>
                <a:spcPts val="1199"/>
              </a:spcAft>
              <a:buClr>
                <a:srgbClr val="000000"/>
              </a:buClr>
              <a:buFont typeface="Arial"/>
              <a:buChar char="•"/>
              <a:tabLst>
                <a:tab algn="l" pos="361800"/>
              </a:tabLst>
            </a:pPr>
            <a:r>
              <a:rPr b="0" lang="de-DE" sz="1800" spc="-1" strike="noStrike">
                <a:solidFill>
                  <a:schemeClr val="dk1"/>
                </a:solidFill>
                <a:latin typeface="Arial"/>
                <a:ea typeface="Arial"/>
              </a:rPr>
              <a:t>Zweite Ebene</a:t>
            </a:r>
            <a:endParaRPr b="0" lang="en-US" sz="1800" spc="-1" strike="noStrike">
              <a:solidFill>
                <a:schemeClr val="dk1"/>
              </a:solidFill>
              <a:latin typeface="Arial"/>
            </a:endParaRPr>
          </a:p>
          <a:p>
            <a:pPr lvl="2" marL="895320" indent="-266760" defTabSz="914400">
              <a:lnSpc>
                <a:spcPct val="110000"/>
              </a:lnSpc>
              <a:spcAft>
                <a:spcPts val="1199"/>
              </a:spcAft>
              <a:buClr>
                <a:srgbClr val="000000"/>
              </a:buClr>
              <a:buFont typeface="Arial"/>
              <a:buChar char="•"/>
              <a:tabLst>
                <a:tab algn="l" pos="361800"/>
              </a:tabLst>
            </a:pPr>
            <a:r>
              <a:rPr b="0" lang="de-DE" sz="1800" spc="-1" strike="noStrike">
                <a:solidFill>
                  <a:schemeClr val="dk1"/>
                </a:solidFill>
                <a:latin typeface="Arial"/>
                <a:ea typeface="Arial"/>
              </a:rPr>
              <a:t>Dritte Ebene</a:t>
            </a:r>
            <a:endParaRPr b="0" lang="en-US" sz="1800" spc="-1" strike="noStrike">
              <a:solidFill>
                <a:schemeClr val="dk1"/>
              </a:solidFill>
              <a:latin typeface="Arial"/>
            </a:endParaRPr>
          </a:p>
          <a:p>
            <a:pPr lvl="3" marL="1162080" indent="-266760" defTabSz="914400">
              <a:lnSpc>
                <a:spcPct val="110000"/>
              </a:lnSpc>
              <a:spcAft>
                <a:spcPts val="1199"/>
              </a:spcAft>
              <a:buClr>
                <a:srgbClr val="000000"/>
              </a:buClr>
              <a:buFont typeface="Arial"/>
              <a:buChar char="•"/>
              <a:tabLst>
                <a:tab algn="l" pos="361800"/>
              </a:tabLst>
            </a:pPr>
            <a:r>
              <a:rPr b="0" lang="de-DE" sz="1800" spc="-1" strike="noStrike">
                <a:solidFill>
                  <a:schemeClr val="dk1"/>
                </a:solidFill>
                <a:latin typeface="Arial"/>
                <a:ea typeface="Arial"/>
              </a:rPr>
              <a:t>Vierte Ebene</a:t>
            </a:r>
            <a:endParaRPr b="0" lang="en-US" sz="1800" spc="-1" strike="noStrike">
              <a:solidFill>
                <a:schemeClr val="dk1"/>
              </a:solidFill>
              <a:latin typeface="Arial"/>
            </a:endParaRPr>
          </a:p>
          <a:p>
            <a:pPr lvl="4" marL="1438200" indent="-276120" defTabSz="914400">
              <a:lnSpc>
                <a:spcPct val="110000"/>
              </a:lnSpc>
              <a:spcAft>
                <a:spcPts val="1199"/>
              </a:spcAft>
              <a:buClr>
                <a:srgbClr val="000000"/>
              </a:buClr>
              <a:buFont typeface="Arial"/>
              <a:buChar char="•"/>
              <a:tabLst>
                <a:tab algn="l" pos="361800"/>
              </a:tabLst>
            </a:pPr>
            <a:r>
              <a:rPr b="0" lang="de-DE" sz="1800" spc="-1" strike="noStrike">
                <a:solidFill>
                  <a:schemeClr val="dk1"/>
                </a:solidFill>
                <a:latin typeface="Arial"/>
                <a:ea typeface="Arial"/>
              </a:rPr>
              <a:t>Fünfte Ebene</a:t>
            </a:r>
            <a:endParaRPr b="0" lang="en-US" sz="1800" spc="-1" strike="noStrike">
              <a:solidFill>
                <a:schemeClr val="dk1"/>
              </a:solidFill>
              <a:latin typeface="Arial"/>
            </a:endParaRPr>
          </a:p>
        </p:txBody>
      </p:sp>
      <p:sp>
        <p:nvSpPr>
          <p:cNvPr id="227" name="PlaceHolder 3"/>
          <p:cNvSpPr>
            <a:spLocks noGrp="1"/>
          </p:cNvSpPr>
          <p:nvPr>
            <p:ph type="ftr" idx="27"/>
          </p:nvPr>
        </p:nvSpPr>
        <p:spPr>
          <a:xfrm>
            <a:off x="791640" y="6580800"/>
            <a:ext cx="9948600" cy="186480"/>
          </a:xfrm>
          <a:prstGeom prst="rect">
            <a:avLst/>
          </a:prstGeom>
          <a:noFill/>
          <a:ln w="0">
            <a:noFill/>
          </a:ln>
        </p:spPr>
        <p:txBody>
          <a:bodyPr lIns="0" rIns="0" tIns="0" bIns="0" anchor="t">
            <a:noAutofit/>
          </a:bodyPr>
          <a:lstStyle>
            <a:lvl1pPr indent="0" defTabSz="457200">
              <a:lnSpc>
                <a:spcPct val="100000"/>
              </a:lnSpc>
              <a:buNone/>
              <a:defRPr b="0" lang="pt-BR" sz="1100" spc="-1" strike="noStrike">
                <a:solidFill>
                  <a:schemeClr val="dk1"/>
                </a:solidFill>
                <a:latin typeface="Arial"/>
                <a:ea typeface="Arial"/>
              </a:defRPr>
            </a:lvl1pPr>
          </a:lstStyle>
          <a:p>
            <a:pPr indent="0" defTabSz="457200">
              <a:lnSpc>
                <a:spcPct val="100000"/>
              </a:lnSpc>
              <a:buNone/>
            </a:pPr>
            <a:r>
              <a:rPr b="0" lang="pt-BR" sz="1100" spc="-1" strike="noStrike">
                <a:solidFill>
                  <a:schemeClr val="dk1"/>
                </a:solidFill>
                <a:latin typeface="Arial"/>
                <a:ea typeface="Arial"/>
              </a:rPr>
              <a:t>&lt;footer&gt;</a:t>
            </a:r>
            <a:endParaRPr b="0" lang="en-US" sz="1100" spc="-1" strike="noStrike">
              <a:solidFill>
                <a:srgbClr val="000000"/>
              </a:solidFill>
              <a:latin typeface="Calibri"/>
            </a:endParaRPr>
          </a:p>
        </p:txBody>
      </p:sp>
      <p:sp>
        <p:nvSpPr>
          <p:cNvPr id="228" name="PlaceHolder 4"/>
          <p:cNvSpPr>
            <a:spLocks noGrp="1"/>
          </p:cNvSpPr>
          <p:nvPr>
            <p:ph type="body"/>
          </p:nvPr>
        </p:nvSpPr>
        <p:spPr>
          <a:xfrm>
            <a:off x="407880" y="817560"/>
            <a:ext cx="11375640" cy="378720"/>
          </a:xfrm>
          <a:prstGeom prst="rect">
            <a:avLst/>
          </a:prstGeom>
          <a:noFill/>
          <a:ln w="0">
            <a:noFill/>
          </a:ln>
        </p:spPr>
        <p:txBody>
          <a:bodyPr lIns="0" rIns="0" tIns="0" bIns="0" anchor="t">
            <a:noAutofit/>
          </a:bodyPr>
          <a:p>
            <a:pPr indent="0" defTabSz="914400">
              <a:lnSpc>
                <a:spcPct val="110000"/>
              </a:lnSpc>
              <a:buNone/>
              <a:tabLst>
                <a:tab algn="l" pos="0"/>
              </a:tabLst>
            </a:pPr>
            <a:r>
              <a:rPr b="1" lang="de-DE" sz="1800" spc="-1" strike="noStrike">
                <a:solidFill>
                  <a:schemeClr val="accent2"/>
                </a:solidFill>
                <a:latin typeface="Arial"/>
                <a:ea typeface="Arial"/>
              </a:rPr>
              <a:t>Unterüberschrift</a:t>
            </a:r>
            <a:endParaRPr b="0" lang="en-US" sz="1800" spc="-1" strike="noStrike">
              <a:solidFill>
                <a:schemeClr val="dk1"/>
              </a:solidFill>
              <a:latin typeface="Arial"/>
            </a:endParaRPr>
          </a:p>
        </p:txBody>
      </p:sp>
    </p:spTree>
  </p:cSld>
  <p:clrMap bg1="lt1" tx1="dk1" bg2="lt2" tx2="dk2" accent1="accent1" accent2="accent2" accent3="accent3" accent4="accent4" accent5="accent5" accent6="accent6" hlink="hlink" folHlink="folHlink"/>
  <p:sldLayoutIdLst>
    <p:sldLayoutId id="2147483717" r:id="rId3"/>
  </p:sldLayoutIdLst>
</p:sldMaster>
</file>

<file path=ppt/slideMasters/slideMaster36.xml><?xml version="1.0" encoding="utf-8"?>
<p:sldMaster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p:cSld>
    <p:bg>
      <p:bgPr>
        <a:solidFill>
          <a:srgbClr val="ffffff"/>
        </a:solidFill>
      </p:bgPr>
    </p:bg>
    <p:spTree>
      <p:nvGrpSpPr>
        <p:cNvPr id="1" name=""/>
        <p:cNvGrpSpPr/>
        <p:nvPr/>
      </p:nvGrpSpPr>
      <p:grpSpPr>
        <a:xfrm>
          <a:off x="0" y="0"/>
          <a:ext cx="0" cy="0"/>
          <a:chOff x="0" y="0"/>
          <a:chExt cx="0" cy="0"/>
        </a:xfrm>
      </p:grpSpPr>
      <p:sp>
        <p:nvSpPr>
          <p:cNvPr id="229" name="Textfeld 13"/>
          <p:cNvSpPr/>
          <p:nvPr/>
        </p:nvSpPr>
        <p:spPr>
          <a:xfrm>
            <a:off x="10848600" y="6580800"/>
            <a:ext cx="935280" cy="186480"/>
          </a:xfrm>
          <a:prstGeom prst="rect">
            <a:avLst/>
          </a:prstGeom>
          <a:noFill/>
          <a:ln w="0">
            <a:noFill/>
          </a:ln>
        </p:spPr>
        <p:style>
          <a:lnRef idx="0"/>
          <a:fillRef idx="0"/>
          <a:effectRef idx="0"/>
          <a:fontRef idx="minor"/>
        </p:style>
        <p:txBody>
          <a:bodyPr lIns="0" rIns="0" tIns="0" bIns="0" anchor="t">
            <a:noAutofit/>
          </a:bodyPr>
          <a:p>
            <a:pPr algn="r" defTabSz="457200">
              <a:lnSpc>
                <a:spcPct val="100000"/>
              </a:lnSpc>
            </a:pPr>
            <a:r>
              <a:rPr b="1" lang="de-DE" sz="1100" spc="-1" strike="noStrike">
                <a:solidFill>
                  <a:schemeClr val="dk1"/>
                </a:solidFill>
                <a:latin typeface="Arial"/>
                <a:ea typeface="Arial"/>
              </a:rPr>
              <a:t>Seite </a:t>
            </a:r>
            <a:fld id="{5F5CB316-7D2D-4BA0-86D0-68DD262BCE08}" type="slidenum">
              <a:rPr b="1" lang="de-DE" sz="1100" spc="-1" strike="noStrike">
                <a:solidFill>
                  <a:schemeClr val="dk1"/>
                </a:solidFill>
                <a:latin typeface="Arial"/>
                <a:ea typeface="Arial"/>
              </a:rPr>
              <a:t>&lt;number&gt;</a:t>
            </a:fld>
            <a:endParaRPr b="0" lang="en-US" sz="1100" spc="-1" strike="noStrike">
              <a:solidFill>
                <a:srgbClr val="000000"/>
              </a:solidFill>
              <a:latin typeface="Calibri"/>
            </a:endParaRPr>
          </a:p>
        </p:txBody>
      </p:sp>
      <p:pic>
        <p:nvPicPr>
          <p:cNvPr id="230" name="Grafik 6" descr=""/>
          <p:cNvPicPr/>
          <p:nvPr/>
        </p:nvPicPr>
        <p:blipFill>
          <a:blip r:embed="rId2"/>
          <a:stretch/>
        </p:blipFill>
        <p:spPr>
          <a:xfrm>
            <a:off x="403200" y="6613920"/>
            <a:ext cx="325080" cy="100440"/>
          </a:xfrm>
          <a:prstGeom prst="rect">
            <a:avLst/>
          </a:prstGeom>
          <a:ln w="0">
            <a:noFill/>
          </a:ln>
        </p:spPr>
      </p:pic>
      <p:sp>
        <p:nvSpPr>
          <p:cNvPr id="231" name="PlaceHolder 1"/>
          <p:cNvSpPr>
            <a:spLocks noGrp="1"/>
          </p:cNvSpPr>
          <p:nvPr>
            <p:ph type="title"/>
          </p:nvPr>
        </p:nvSpPr>
        <p:spPr>
          <a:xfrm>
            <a:off x="407880" y="349560"/>
            <a:ext cx="11375640" cy="450720"/>
          </a:xfrm>
          <a:prstGeom prst="rect">
            <a:avLst/>
          </a:prstGeom>
          <a:noFill/>
          <a:ln w="0">
            <a:noFill/>
          </a:ln>
        </p:spPr>
        <p:txBody>
          <a:bodyPr lIns="0" rIns="0" tIns="0" bIns="0" anchor="t">
            <a:noAutofit/>
          </a:bodyPr>
          <a:p>
            <a:pPr indent="0" defTabSz="914400">
              <a:lnSpc>
                <a:spcPct val="90000"/>
              </a:lnSpc>
              <a:buNone/>
            </a:pPr>
            <a:r>
              <a:rPr b="1" lang="de-DE" sz="3000" spc="-1" strike="noStrike">
                <a:solidFill>
                  <a:schemeClr val="accent1"/>
                </a:solidFill>
                <a:latin typeface="Arial"/>
                <a:ea typeface="Arial"/>
              </a:rPr>
              <a:t>Mastertitelformat bearbeiten</a:t>
            </a:r>
            <a:endParaRPr b="0" lang="en-US" sz="3000" spc="-1" strike="noStrike">
              <a:solidFill>
                <a:schemeClr val="dk1"/>
              </a:solidFill>
              <a:latin typeface="Arial"/>
            </a:endParaRPr>
          </a:p>
        </p:txBody>
      </p:sp>
      <p:sp>
        <p:nvSpPr>
          <p:cNvPr id="232" name="PlaceHolder 2"/>
          <p:cNvSpPr>
            <a:spLocks noGrp="1"/>
          </p:cNvSpPr>
          <p:nvPr>
            <p:ph type="body"/>
          </p:nvPr>
        </p:nvSpPr>
        <p:spPr>
          <a:xfrm>
            <a:off x="407880" y="1406520"/>
            <a:ext cx="5616360" cy="5009760"/>
          </a:xfrm>
          <a:prstGeom prst="rect">
            <a:avLst/>
          </a:prstGeom>
          <a:noFill/>
          <a:ln w="0">
            <a:noFill/>
          </a:ln>
        </p:spPr>
        <p:txBody>
          <a:bodyPr lIns="0" rIns="0" tIns="0" bIns="0" anchor="t">
            <a:noAutofit/>
          </a:bodyPr>
          <a:p>
            <a:pPr marL="361800" indent="-361800" defTabSz="914400">
              <a:lnSpc>
                <a:spcPct val="110000"/>
              </a:lnSpc>
              <a:spcAft>
                <a:spcPts val="1199"/>
              </a:spcAft>
              <a:buClr>
                <a:srgbClr val="000000"/>
              </a:buClr>
              <a:buFont typeface="Arial"/>
              <a:buChar char="•"/>
              <a:tabLst>
                <a:tab algn="l" pos="361800"/>
              </a:tabLst>
            </a:pPr>
            <a:r>
              <a:rPr b="0" lang="de-DE" sz="1800" spc="-1" strike="noStrike">
                <a:solidFill>
                  <a:schemeClr val="dk1"/>
                </a:solidFill>
                <a:latin typeface="Arial"/>
                <a:ea typeface="Arial"/>
              </a:rPr>
              <a:t>Mastertextformat bearbeiten</a:t>
            </a:r>
            <a:endParaRPr b="0" lang="en-US" sz="1800" spc="-1" strike="noStrike">
              <a:solidFill>
                <a:schemeClr val="dk1"/>
              </a:solidFill>
              <a:latin typeface="Arial"/>
            </a:endParaRPr>
          </a:p>
          <a:p>
            <a:pPr lvl="1" marL="628560" indent="-266760" defTabSz="914400">
              <a:lnSpc>
                <a:spcPct val="110000"/>
              </a:lnSpc>
              <a:spcAft>
                <a:spcPts val="1199"/>
              </a:spcAft>
              <a:buClr>
                <a:srgbClr val="000000"/>
              </a:buClr>
              <a:buFont typeface="Arial"/>
              <a:buChar char="•"/>
              <a:tabLst>
                <a:tab algn="l" pos="361800"/>
              </a:tabLst>
            </a:pPr>
            <a:r>
              <a:rPr b="0" lang="de-DE" sz="1800" spc="-1" strike="noStrike">
                <a:solidFill>
                  <a:schemeClr val="dk1"/>
                </a:solidFill>
                <a:latin typeface="Arial"/>
                <a:ea typeface="Arial"/>
              </a:rPr>
              <a:t>Zweite Ebene</a:t>
            </a:r>
            <a:endParaRPr b="0" lang="en-US" sz="1800" spc="-1" strike="noStrike">
              <a:solidFill>
                <a:schemeClr val="dk1"/>
              </a:solidFill>
              <a:latin typeface="Arial"/>
            </a:endParaRPr>
          </a:p>
          <a:p>
            <a:pPr lvl="2" marL="895320" indent="-266760" defTabSz="914400">
              <a:lnSpc>
                <a:spcPct val="110000"/>
              </a:lnSpc>
              <a:spcAft>
                <a:spcPts val="1199"/>
              </a:spcAft>
              <a:buClr>
                <a:srgbClr val="000000"/>
              </a:buClr>
              <a:buFont typeface="Arial"/>
              <a:buChar char="•"/>
              <a:tabLst>
                <a:tab algn="l" pos="361800"/>
              </a:tabLst>
            </a:pPr>
            <a:r>
              <a:rPr b="0" lang="de-DE" sz="1800" spc="-1" strike="noStrike">
                <a:solidFill>
                  <a:schemeClr val="dk1"/>
                </a:solidFill>
                <a:latin typeface="Arial"/>
                <a:ea typeface="Arial"/>
              </a:rPr>
              <a:t>Dritte Ebene</a:t>
            </a:r>
            <a:endParaRPr b="0" lang="en-US" sz="1800" spc="-1" strike="noStrike">
              <a:solidFill>
                <a:schemeClr val="dk1"/>
              </a:solidFill>
              <a:latin typeface="Arial"/>
            </a:endParaRPr>
          </a:p>
          <a:p>
            <a:pPr lvl="3" marL="1162080" indent="-266760" defTabSz="914400">
              <a:lnSpc>
                <a:spcPct val="110000"/>
              </a:lnSpc>
              <a:spcAft>
                <a:spcPts val="1199"/>
              </a:spcAft>
              <a:buClr>
                <a:srgbClr val="000000"/>
              </a:buClr>
              <a:buFont typeface="Arial"/>
              <a:buChar char="•"/>
              <a:tabLst>
                <a:tab algn="l" pos="361800"/>
              </a:tabLst>
            </a:pPr>
            <a:r>
              <a:rPr b="0" lang="de-DE" sz="1800" spc="-1" strike="noStrike">
                <a:solidFill>
                  <a:schemeClr val="dk1"/>
                </a:solidFill>
                <a:latin typeface="Arial"/>
                <a:ea typeface="Arial"/>
              </a:rPr>
              <a:t>Vierte Ebene</a:t>
            </a:r>
            <a:endParaRPr b="0" lang="en-US" sz="1800" spc="-1" strike="noStrike">
              <a:solidFill>
                <a:schemeClr val="dk1"/>
              </a:solidFill>
              <a:latin typeface="Arial"/>
            </a:endParaRPr>
          </a:p>
          <a:p>
            <a:pPr lvl="4" marL="1438200" indent="-276120" defTabSz="914400">
              <a:lnSpc>
                <a:spcPct val="110000"/>
              </a:lnSpc>
              <a:spcAft>
                <a:spcPts val="1199"/>
              </a:spcAft>
              <a:buClr>
                <a:srgbClr val="000000"/>
              </a:buClr>
              <a:buFont typeface="Arial"/>
              <a:buChar char="•"/>
              <a:tabLst>
                <a:tab algn="l" pos="361800"/>
              </a:tabLst>
            </a:pPr>
            <a:r>
              <a:rPr b="0" lang="de-DE" sz="1800" spc="-1" strike="noStrike">
                <a:solidFill>
                  <a:schemeClr val="dk1"/>
                </a:solidFill>
                <a:latin typeface="Arial"/>
                <a:ea typeface="Arial"/>
              </a:rPr>
              <a:t>Fünfte Ebene</a:t>
            </a:r>
            <a:endParaRPr b="0" lang="en-US" sz="1800" spc="-1" strike="noStrike">
              <a:solidFill>
                <a:schemeClr val="dk1"/>
              </a:solidFill>
              <a:latin typeface="Arial"/>
            </a:endParaRPr>
          </a:p>
        </p:txBody>
      </p:sp>
      <p:sp>
        <p:nvSpPr>
          <p:cNvPr id="233" name="PlaceHolder 3"/>
          <p:cNvSpPr>
            <a:spLocks noGrp="1"/>
          </p:cNvSpPr>
          <p:nvPr>
            <p:ph type="ftr" idx="28"/>
          </p:nvPr>
        </p:nvSpPr>
        <p:spPr>
          <a:xfrm>
            <a:off x="791640" y="6580800"/>
            <a:ext cx="9948600" cy="186480"/>
          </a:xfrm>
          <a:prstGeom prst="rect">
            <a:avLst/>
          </a:prstGeom>
          <a:noFill/>
          <a:ln w="0">
            <a:noFill/>
          </a:ln>
        </p:spPr>
        <p:txBody>
          <a:bodyPr lIns="0" rIns="0" tIns="0" bIns="0" anchor="t">
            <a:noAutofit/>
          </a:bodyPr>
          <a:lstStyle>
            <a:lvl1pPr indent="0" defTabSz="457200">
              <a:lnSpc>
                <a:spcPct val="100000"/>
              </a:lnSpc>
              <a:buNone/>
              <a:defRPr b="0" lang="pt-BR" sz="1100" spc="-1" strike="noStrike">
                <a:solidFill>
                  <a:schemeClr val="dk1"/>
                </a:solidFill>
                <a:latin typeface="Arial"/>
                <a:ea typeface="Arial"/>
              </a:defRPr>
            </a:lvl1pPr>
          </a:lstStyle>
          <a:p>
            <a:pPr indent="0" defTabSz="457200">
              <a:lnSpc>
                <a:spcPct val="100000"/>
              </a:lnSpc>
              <a:buNone/>
            </a:pPr>
            <a:r>
              <a:rPr b="0" lang="pt-BR" sz="1100" spc="-1" strike="noStrike">
                <a:solidFill>
                  <a:schemeClr val="dk1"/>
                </a:solidFill>
                <a:latin typeface="Arial"/>
                <a:ea typeface="Arial"/>
              </a:rPr>
              <a:t>&lt;footer&gt;</a:t>
            </a:r>
            <a:endParaRPr b="0" lang="en-US" sz="1100" spc="-1" strike="noStrike">
              <a:solidFill>
                <a:srgbClr val="000000"/>
              </a:solidFill>
              <a:latin typeface="Calibri"/>
            </a:endParaRPr>
          </a:p>
        </p:txBody>
      </p:sp>
      <p:sp>
        <p:nvSpPr>
          <p:cNvPr id="234" name="PlaceHolder 4"/>
          <p:cNvSpPr>
            <a:spLocks noGrp="1"/>
          </p:cNvSpPr>
          <p:nvPr>
            <p:ph type="body"/>
          </p:nvPr>
        </p:nvSpPr>
        <p:spPr>
          <a:xfrm>
            <a:off x="407880" y="817560"/>
            <a:ext cx="11375640" cy="378720"/>
          </a:xfrm>
          <a:prstGeom prst="rect">
            <a:avLst/>
          </a:prstGeom>
          <a:noFill/>
          <a:ln w="0">
            <a:noFill/>
          </a:ln>
        </p:spPr>
        <p:txBody>
          <a:bodyPr lIns="0" rIns="0" tIns="0" bIns="0" anchor="t">
            <a:noAutofit/>
          </a:bodyPr>
          <a:p>
            <a:pPr indent="0" defTabSz="914400">
              <a:lnSpc>
                <a:spcPct val="110000"/>
              </a:lnSpc>
              <a:buNone/>
              <a:tabLst>
                <a:tab algn="l" pos="0"/>
              </a:tabLst>
            </a:pPr>
            <a:r>
              <a:rPr b="1" lang="de-DE" sz="1800" spc="-1" strike="noStrike">
                <a:solidFill>
                  <a:schemeClr val="accent2"/>
                </a:solidFill>
                <a:latin typeface="Arial"/>
                <a:ea typeface="Arial"/>
              </a:rPr>
              <a:t>Unterüberschrift</a:t>
            </a:r>
            <a:endParaRPr b="0" lang="en-US" sz="1800" spc="-1" strike="noStrike">
              <a:solidFill>
                <a:schemeClr val="dk1"/>
              </a:solidFill>
              <a:latin typeface="Arial"/>
            </a:endParaRPr>
          </a:p>
        </p:txBody>
      </p:sp>
      <p:sp>
        <p:nvSpPr>
          <p:cNvPr id="235" name="PlaceHolder 5"/>
          <p:cNvSpPr>
            <a:spLocks noGrp="1"/>
          </p:cNvSpPr>
          <p:nvPr>
            <p:ph type="body"/>
          </p:nvPr>
        </p:nvSpPr>
        <p:spPr>
          <a:xfrm>
            <a:off x="6167520" y="1406520"/>
            <a:ext cx="5616360" cy="5009760"/>
          </a:xfrm>
          <a:prstGeom prst="rect">
            <a:avLst/>
          </a:prstGeom>
          <a:noFill/>
          <a:ln w="0">
            <a:noFill/>
          </a:ln>
        </p:spPr>
        <p:txBody>
          <a:bodyPr lIns="0" rIns="0" tIns="0" bIns="0" anchor="t">
            <a:noAutofit/>
          </a:bodyPr>
          <a:p>
            <a:pPr marL="361800" indent="-361800" defTabSz="914400">
              <a:lnSpc>
                <a:spcPct val="110000"/>
              </a:lnSpc>
              <a:spcAft>
                <a:spcPts val="1199"/>
              </a:spcAft>
              <a:buClr>
                <a:srgbClr val="000000"/>
              </a:buClr>
              <a:buFont typeface="Arial"/>
              <a:buChar char="•"/>
              <a:tabLst>
                <a:tab algn="l" pos="361800"/>
              </a:tabLst>
            </a:pPr>
            <a:r>
              <a:rPr b="0" lang="de-DE" sz="1800" spc="-1" strike="noStrike">
                <a:solidFill>
                  <a:schemeClr val="dk1"/>
                </a:solidFill>
                <a:latin typeface="Arial"/>
                <a:ea typeface="Arial"/>
              </a:rPr>
              <a:t>Mastertextformat bearbeiten</a:t>
            </a:r>
            <a:endParaRPr b="0" lang="en-US" sz="1800" spc="-1" strike="noStrike">
              <a:solidFill>
                <a:schemeClr val="dk1"/>
              </a:solidFill>
              <a:latin typeface="Arial"/>
            </a:endParaRPr>
          </a:p>
          <a:p>
            <a:pPr lvl="1" marL="628560" indent="-266760" defTabSz="914400">
              <a:lnSpc>
                <a:spcPct val="110000"/>
              </a:lnSpc>
              <a:spcAft>
                <a:spcPts val="1199"/>
              </a:spcAft>
              <a:buClr>
                <a:srgbClr val="000000"/>
              </a:buClr>
              <a:buFont typeface="Arial"/>
              <a:buChar char="•"/>
              <a:tabLst>
                <a:tab algn="l" pos="361800"/>
              </a:tabLst>
            </a:pPr>
            <a:r>
              <a:rPr b="0" lang="de-DE" sz="1800" spc="-1" strike="noStrike">
                <a:solidFill>
                  <a:schemeClr val="dk1"/>
                </a:solidFill>
                <a:latin typeface="Arial"/>
                <a:ea typeface="Arial"/>
              </a:rPr>
              <a:t>Zweite Ebene</a:t>
            </a:r>
            <a:endParaRPr b="0" lang="en-US" sz="1800" spc="-1" strike="noStrike">
              <a:solidFill>
                <a:schemeClr val="dk1"/>
              </a:solidFill>
              <a:latin typeface="Arial"/>
            </a:endParaRPr>
          </a:p>
          <a:p>
            <a:pPr lvl="2" marL="895320" indent="-266760" defTabSz="914400">
              <a:lnSpc>
                <a:spcPct val="110000"/>
              </a:lnSpc>
              <a:spcAft>
                <a:spcPts val="1199"/>
              </a:spcAft>
              <a:buClr>
                <a:srgbClr val="000000"/>
              </a:buClr>
              <a:buFont typeface="Arial"/>
              <a:buChar char="•"/>
              <a:tabLst>
                <a:tab algn="l" pos="361800"/>
              </a:tabLst>
            </a:pPr>
            <a:r>
              <a:rPr b="0" lang="de-DE" sz="1800" spc="-1" strike="noStrike">
                <a:solidFill>
                  <a:schemeClr val="dk1"/>
                </a:solidFill>
                <a:latin typeface="Arial"/>
                <a:ea typeface="Arial"/>
              </a:rPr>
              <a:t>Dritte Ebene</a:t>
            </a:r>
            <a:endParaRPr b="0" lang="en-US" sz="1800" spc="-1" strike="noStrike">
              <a:solidFill>
                <a:schemeClr val="dk1"/>
              </a:solidFill>
              <a:latin typeface="Arial"/>
            </a:endParaRPr>
          </a:p>
          <a:p>
            <a:pPr lvl="3" marL="1162080" indent="-266760" defTabSz="914400">
              <a:lnSpc>
                <a:spcPct val="110000"/>
              </a:lnSpc>
              <a:spcAft>
                <a:spcPts val="1199"/>
              </a:spcAft>
              <a:buClr>
                <a:srgbClr val="000000"/>
              </a:buClr>
              <a:buFont typeface="Arial"/>
              <a:buChar char="•"/>
              <a:tabLst>
                <a:tab algn="l" pos="361800"/>
              </a:tabLst>
            </a:pPr>
            <a:r>
              <a:rPr b="0" lang="de-DE" sz="1800" spc="-1" strike="noStrike">
                <a:solidFill>
                  <a:schemeClr val="dk1"/>
                </a:solidFill>
                <a:latin typeface="Arial"/>
                <a:ea typeface="Arial"/>
              </a:rPr>
              <a:t>Vierte Ebene</a:t>
            </a:r>
            <a:endParaRPr b="0" lang="en-US" sz="1800" spc="-1" strike="noStrike">
              <a:solidFill>
                <a:schemeClr val="dk1"/>
              </a:solidFill>
              <a:latin typeface="Arial"/>
            </a:endParaRPr>
          </a:p>
          <a:p>
            <a:pPr lvl="4" marL="1438200" indent="-276120" defTabSz="914400">
              <a:lnSpc>
                <a:spcPct val="110000"/>
              </a:lnSpc>
              <a:spcAft>
                <a:spcPts val="1199"/>
              </a:spcAft>
              <a:buClr>
                <a:srgbClr val="000000"/>
              </a:buClr>
              <a:buFont typeface="Arial"/>
              <a:buChar char="•"/>
              <a:tabLst>
                <a:tab algn="l" pos="361800"/>
              </a:tabLst>
            </a:pPr>
            <a:r>
              <a:rPr b="0" lang="de-DE" sz="1800" spc="-1" strike="noStrike">
                <a:solidFill>
                  <a:schemeClr val="dk1"/>
                </a:solidFill>
                <a:latin typeface="Arial"/>
                <a:ea typeface="Arial"/>
              </a:rPr>
              <a:t>Fünfte Ebene</a:t>
            </a:r>
            <a:endParaRPr b="0" lang="en-US" sz="1800" spc="-1" strike="noStrike">
              <a:solidFill>
                <a:schemeClr val="dk1"/>
              </a:solidFill>
              <a:latin typeface="Arial"/>
            </a:endParaRPr>
          </a:p>
        </p:txBody>
      </p:sp>
    </p:spTree>
  </p:cSld>
  <p:clrMap bg1="lt1" tx1="dk1" bg2="lt2" tx2="dk2" accent1="accent1" accent2="accent2" accent3="accent3" accent4="accent4" accent5="accent5" accent6="accent6" hlink="hlink" folHlink="folHlink"/>
  <p:sldLayoutIdLst>
    <p:sldLayoutId id="2147483719" r:id="rId3"/>
  </p:sldLayoutIdLst>
</p:sldMaster>
</file>

<file path=ppt/slideMasters/slideMaster37.xml><?xml version="1.0" encoding="utf-8"?>
<p:sldMaster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p:cSld>
    <p:bg>
      <p:bgPr>
        <a:solidFill>
          <a:srgbClr val="ffffff"/>
        </a:solidFill>
      </p:bgPr>
    </p:bg>
    <p:spTree>
      <p:nvGrpSpPr>
        <p:cNvPr id="1" name=""/>
        <p:cNvGrpSpPr/>
        <p:nvPr/>
      </p:nvGrpSpPr>
      <p:grpSpPr>
        <a:xfrm>
          <a:off x="0" y="0"/>
          <a:ext cx="0" cy="0"/>
          <a:chOff x="0" y="0"/>
          <a:chExt cx="0" cy="0"/>
        </a:xfrm>
      </p:grpSpPr>
      <p:sp>
        <p:nvSpPr>
          <p:cNvPr id="236" name="Textfeld 13"/>
          <p:cNvSpPr/>
          <p:nvPr/>
        </p:nvSpPr>
        <p:spPr>
          <a:xfrm>
            <a:off x="10848600" y="6580800"/>
            <a:ext cx="935280" cy="186480"/>
          </a:xfrm>
          <a:prstGeom prst="rect">
            <a:avLst/>
          </a:prstGeom>
          <a:noFill/>
          <a:ln w="0">
            <a:noFill/>
          </a:ln>
        </p:spPr>
        <p:style>
          <a:lnRef idx="0"/>
          <a:fillRef idx="0"/>
          <a:effectRef idx="0"/>
          <a:fontRef idx="minor"/>
        </p:style>
        <p:txBody>
          <a:bodyPr lIns="0" rIns="0" tIns="0" bIns="0" anchor="t">
            <a:noAutofit/>
          </a:bodyPr>
          <a:p>
            <a:pPr algn="r" defTabSz="457200">
              <a:lnSpc>
                <a:spcPct val="100000"/>
              </a:lnSpc>
            </a:pPr>
            <a:r>
              <a:rPr b="1" lang="de-DE" sz="1100" spc="-1" strike="noStrike">
                <a:solidFill>
                  <a:schemeClr val="dk1"/>
                </a:solidFill>
                <a:latin typeface="Arial"/>
                <a:ea typeface="Arial"/>
              </a:rPr>
              <a:t>Seite </a:t>
            </a:r>
            <a:fld id="{8333A0BC-8713-4B29-87C9-F6824CA66E5A}" type="slidenum">
              <a:rPr b="1" lang="de-DE" sz="1100" spc="-1" strike="noStrike">
                <a:solidFill>
                  <a:schemeClr val="dk1"/>
                </a:solidFill>
                <a:latin typeface="Arial"/>
                <a:ea typeface="Arial"/>
              </a:rPr>
              <a:t>&lt;number&gt;</a:t>
            </a:fld>
            <a:endParaRPr b="0" lang="en-US" sz="1100" spc="-1" strike="noStrike">
              <a:solidFill>
                <a:srgbClr val="000000"/>
              </a:solidFill>
              <a:latin typeface="Calibri"/>
            </a:endParaRPr>
          </a:p>
        </p:txBody>
      </p:sp>
      <p:pic>
        <p:nvPicPr>
          <p:cNvPr id="237" name="Grafik 6" descr=""/>
          <p:cNvPicPr/>
          <p:nvPr/>
        </p:nvPicPr>
        <p:blipFill>
          <a:blip r:embed="rId2"/>
          <a:stretch/>
        </p:blipFill>
        <p:spPr>
          <a:xfrm>
            <a:off x="403200" y="6613920"/>
            <a:ext cx="325080" cy="100440"/>
          </a:xfrm>
          <a:prstGeom prst="rect">
            <a:avLst/>
          </a:prstGeom>
          <a:ln w="0">
            <a:noFill/>
          </a:ln>
        </p:spPr>
      </p:pic>
      <p:sp>
        <p:nvSpPr>
          <p:cNvPr id="238" name="PlaceHolder 1"/>
          <p:cNvSpPr>
            <a:spLocks noGrp="1"/>
          </p:cNvSpPr>
          <p:nvPr>
            <p:ph type="title"/>
          </p:nvPr>
        </p:nvSpPr>
        <p:spPr>
          <a:xfrm>
            <a:off x="407880" y="349560"/>
            <a:ext cx="11375640" cy="450720"/>
          </a:xfrm>
          <a:prstGeom prst="rect">
            <a:avLst/>
          </a:prstGeom>
          <a:noFill/>
          <a:ln w="0">
            <a:noFill/>
          </a:ln>
        </p:spPr>
        <p:txBody>
          <a:bodyPr lIns="0" rIns="0" tIns="0" bIns="0" anchor="t">
            <a:noAutofit/>
          </a:bodyPr>
          <a:p>
            <a:pPr indent="0" defTabSz="914400">
              <a:lnSpc>
                <a:spcPct val="90000"/>
              </a:lnSpc>
              <a:buNone/>
            </a:pPr>
            <a:r>
              <a:rPr b="1" lang="de-DE" sz="3000" spc="-1" strike="noStrike">
                <a:solidFill>
                  <a:schemeClr val="accent1"/>
                </a:solidFill>
                <a:latin typeface="Arial"/>
                <a:ea typeface="Arial"/>
              </a:rPr>
              <a:t>Mastertitelformat bearbeiten</a:t>
            </a:r>
            <a:endParaRPr b="0" lang="en-US" sz="3000" spc="-1" strike="noStrike">
              <a:solidFill>
                <a:schemeClr val="dk1"/>
              </a:solidFill>
              <a:latin typeface="Arial"/>
            </a:endParaRPr>
          </a:p>
        </p:txBody>
      </p:sp>
      <p:sp>
        <p:nvSpPr>
          <p:cNvPr id="239" name="PlaceHolder 2"/>
          <p:cNvSpPr>
            <a:spLocks noGrp="1"/>
          </p:cNvSpPr>
          <p:nvPr>
            <p:ph type="body"/>
          </p:nvPr>
        </p:nvSpPr>
        <p:spPr>
          <a:xfrm>
            <a:off x="407880" y="1406520"/>
            <a:ext cx="3708000" cy="5009760"/>
          </a:xfrm>
          <a:prstGeom prst="rect">
            <a:avLst/>
          </a:prstGeom>
          <a:noFill/>
          <a:ln w="0">
            <a:noFill/>
          </a:ln>
        </p:spPr>
        <p:txBody>
          <a:bodyPr lIns="0" rIns="0" tIns="0" bIns="0" anchor="t">
            <a:noAutofit/>
          </a:bodyPr>
          <a:p>
            <a:pPr marL="361800" indent="-361800" defTabSz="914400">
              <a:lnSpc>
                <a:spcPct val="110000"/>
              </a:lnSpc>
              <a:spcAft>
                <a:spcPts val="1199"/>
              </a:spcAft>
              <a:buClr>
                <a:srgbClr val="000000"/>
              </a:buClr>
              <a:buFont typeface="Arial"/>
              <a:buChar char="•"/>
              <a:tabLst>
                <a:tab algn="l" pos="361800"/>
              </a:tabLst>
            </a:pPr>
            <a:r>
              <a:rPr b="0" lang="de-DE" sz="1800" spc="-1" strike="noStrike">
                <a:solidFill>
                  <a:schemeClr val="dk1"/>
                </a:solidFill>
                <a:latin typeface="Arial"/>
                <a:ea typeface="Arial"/>
              </a:rPr>
              <a:t>Mastertextformat bearbeiten</a:t>
            </a:r>
            <a:endParaRPr b="0" lang="en-US" sz="1800" spc="-1" strike="noStrike">
              <a:solidFill>
                <a:schemeClr val="dk1"/>
              </a:solidFill>
              <a:latin typeface="Arial"/>
            </a:endParaRPr>
          </a:p>
          <a:p>
            <a:pPr lvl="1" marL="628560" indent="-266760" defTabSz="914400">
              <a:lnSpc>
                <a:spcPct val="110000"/>
              </a:lnSpc>
              <a:spcAft>
                <a:spcPts val="1199"/>
              </a:spcAft>
              <a:buClr>
                <a:srgbClr val="000000"/>
              </a:buClr>
              <a:buFont typeface="Arial"/>
              <a:buChar char="•"/>
              <a:tabLst>
                <a:tab algn="l" pos="361800"/>
              </a:tabLst>
            </a:pPr>
            <a:r>
              <a:rPr b="0" lang="de-DE" sz="1800" spc="-1" strike="noStrike">
                <a:solidFill>
                  <a:schemeClr val="dk1"/>
                </a:solidFill>
                <a:latin typeface="Arial"/>
                <a:ea typeface="Arial"/>
              </a:rPr>
              <a:t>Zweite Ebene</a:t>
            </a:r>
            <a:endParaRPr b="0" lang="en-US" sz="1800" spc="-1" strike="noStrike">
              <a:solidFill>
                <a:schemeClr val="dk1"/>
              </a:solidFill>
              <a:latin typeface="Arial"/>
            </a:endParaRPr>
          </a:p>
          <a:p>
            <a:pPr lvl="2" marL="895320" indent="-266760" defTabSz="914400">
              <a:lnSpc>
                <a:spcPct val="110000"/>
              </a:lnSpc>
              <a:spcAft>
                <a:spcPts val="1199"/>
              </a:spcAft>
              <a:buClr>
                <a:srgbClr val="000000"/>
              </a:buClr>
              <a:buFont typeface="Arial"/>
              <a:buChar char="•"/>
              <a:tabLst>
                <a:tab algn="l" pos="361800"/>
              </a:tabLst>
            </a:pPr>
            <a:r>
              <a:rPr b="0" lang="de-DE" sz="1800" spc="-1" strike="noStrike">
                <a:solidFill>
                  <a:schemeClr val="dk1"/>
                </a:solidFill>
                <a:latin typeface="Arial"/>
                <a:ea typeface="Arial"/>
              </a:rPr>
              <a:t>Dritte Ebene</a:t>
            </a:r>
            <a:endParaRPr b="0" lang="en-US" sz="1800" spc="-1" strike="noStrike">
              <a:solidFill>
                <a:schemeClr val="dk1"/>
              </a:solidFill>
              <a:latin typeface="Arial"/>
            </a:endParaRPr>
          </a:p>
          <a:p>
            <a:pPr lvl="3" marL="1162080" indent="-266760" defTabSz="914400">
              <a:lnSpc>
                <a:spcPct val="110000"/>
              </a:lnSpc>
              <a:spcAft>
                <a:spcPts val="1199"/>
              </a:spcAft>
              <a:buClr>
                <a:srgbClr val="000000"/>
              </a:buClr>
              <a:buFont typeface="Arial"/>
              <a:buChar char="•"/>
              <a:tabLst>
                <a:tab algn="l" pos="361800"/>
              </a:tabLst>
            </a:pPr>
            <a:r>
              <a:rPr b="0" lang="de-DE" sz="1800" spc="-1" strike="noStrike">
                <a:solidFill>
                  <a:schemeClr val="dk1"/>
                </a:solidFill>
                <a:latin typeface="Arial"/>
                <a:ea typeface="Arial"/>
              </a:rPr>
              <a:t>Vierte Ebene</a:t>
            </a:r>
            <a:endParaRPr b="0" lang="en-US" sz="1800" spc="-1" strike="noStrike">
              <a:solidFill>
                <a:schemeClr val="dk1"/>
              </a:solidFill>
              <a:latin typeface="Arial"/>
            </a:endParaRPr>
          </a:p>
          <a:p>
            <a:pPr lvl="4" marL="1438200" indent="-276120" defTabSz="914400">
              <a:lnSpc>
                <a:spcPct val="110000"/>
              </a:lnSpc>
              <a:spcAft>
                <a:spcPts val="1199"/>
              </a:spcAft>
              <a:buClr>
                <a:srgbClr val="000000"/>
              </a:buClr>
              <a:buFont typeface="Arial"/>
              <a:buChar char="•"/>
              <a:tabLst>
                <a:tab algn="l" pos="361800"/>
              </a:tabLst>
            </a:pPr>
            <a:r>
              <a:rPr b="0" lang="de-DE" sz="1800" spc="-1" strike="noStrike">
                <a:solidFill>
                  <a:schemeClr val="dk1"/>
                </a:solidFill>
                <a:latin typeface="Arial"/>
                <a:ea typeface="Arial"/>
              </a:rPr>
              <a:t>Fünfte Ebene</a:t>
            </a:r>
            <a:endParaRPr b="0" lang="en-US" sz="1800" spc="-1" strike="noStrike">
              <a:solidFill>
                <a:schemeClr val="dk1"/>
              </a:solidFill>
              <a:latin typeface="Arial"/>
            </a:endParaRPr>
          </a:p>
        </p:txBody>
      </p:sp>
      <p:sp>
        <p:nvSpPr>
          <p:cNvPr id="240" name="PlaceHolder 3"/>
          <p:cNvSpPr>
            <a:spLocks noGrp="1"/>
          </p:cNvSpPr>
          <p:nvPr>
            <p:ph type="ftr" idx="29"/>
          </p:nvPr>
        </p:nvSpPr>
        <p:spPr>
          <a:xfrm>
            <a:off x="791640" y="6580800"/>
            <a:ext cx="9948600" cy="186480"/>
          </a:xfrm>
          <a:prstGeom prst="rect">
            <a:avLst/>
          </a:prstGeom>
          <a:noFill/>
          <a:ln w="0">
            <a:noFill/>
          </a:ln>
        </p:spPr>
        <p:txBody>
          <a:bodyPr lIns="0" rIns="0" tIns="0" bIns="0" anchor="t">
            <a:noAutofit/>
          </a:bodyPr>
          <a:lstStyle>
            <a:lvl1pPr indent="0" defTabSz="457200">
              <a:lnSpc>
                <a:spcPct val="100000"/>
              </a:lnSpc>
              <a:buNone/>
              <a:defRPr b="0" lang="pt-BR" sz="1100" spc="-1" strike="noStrike">
                <a:solidFill>
                  <a:schemeClr val="dk1"/>
                </a:solidFill>
                <a:latin typeface="Arial"/>
                <a:ea typeface="Arial"/>
              </a:defRPr>
            </a:lvl1pPr>
          </a:lstStyle>
          <a:p>
            <a:pPr indent="0" defTabSz="457200">
              <a:lnSpc>
                <a:spcPct val="100000"/>
              </a:lnSpc>
              <a:buNone/>
            </a:pPr>
            <a:r>
              <a:rPr b="0" lang="pt-BR" sz="1100" spc="-1" strike="noStrike">
                <a:solidFill>
                  <a:schemeClr val="dk1"/>
                </a:solidFill>
                <a:latin typeface="Arial"/>
                <a:ea typeface="Arial"/>
              </a:rPr>
              <a:t>&lt;footer&gt;</a:t>
            </a:r>
            <a:endParaRPr b="0" lang="en-US" sz="1100" spc="-1" strike="noStrike">
              <a:solidFill>
                <a:srgbClr val="000000"/>
              </a:solidFill>
              <a:latin typeface="Calibri"/>
            </a:endParaRPr>
          </a:p>
        </p:txBody>
      </p:sp>
      <p:sp>
        <p:nvSpPr>
          <p:cNvPr id="241" name="PlaceHolder 4"/>
          <p:cNvSpPr>
            <a:spLocks noGrp="1"/>
          </p:cNvSpPr>
          <p:nvPr>
            <p:ph type="body"/>
          </p:nvPr>
        </p:nvSpPr>
        <p:spPr>
          <a:xfrm>
            <a:off x="407880" y="817560"/>
            <a:ext cx="11375640" cy="378720"/>
          </a:xfrm>
          <a:prstGeom prst="rect">
            <a:avLst/>
          </a:prstGeom>
          <a:noFill/>
          <a:ln w="0">
            <a:noFill/>
          </a:ln>
        </p:spPr>
        <p:txBody>
          <a:bodyPr lIns="0" rIns="0" tIns="0" bIns="0" anchor="t">
            <a:noAutofit/>
          </a:bodyPr>
          <a:p>
            <a:pPr indent="0" defTabSz="914400">
              <a:lnSpc>
                <a:spcPct val="110000"/>
              </a:lnSpc>
              <a:buNone/>
              <a:tabLst>
                <a:tab algn="l" pos="0"/>
              </a:tabLst>
            </a:pPr>
            <a:r>
              <a:rPr b="1" lang="de-DE" sz="1800" spc="-1" strike="noStrike">
                <a:solidFill>
                  <a:schemeClr val="accent2"/>
                </a:solidFill>
                <a:latin typeface="Arial"/>
                <a:ea typeface="Arial"/>
              </a:rPr>
              <a:t>Unterüberschrift</a:t>
            </a:r>
            <a:endParaRPr b="0" lang="en-US" sz="1800" spc="-1" strike="noStrike">
              <a:solidFill>
                <a:schemeClr val="dk1"/>
              </a:solidFill>
              <a:latin typeface="Arial"/>
            </a:endParaRPr>
          </a:p>
        </p:txBody>
      </p:sp>
      <p:sp>
        <p:nvSpPr>
          <p:cNvPr id="242" name="PlaceHolder 5"/>
          <p:cNvSpPr>
            <a:spLocks noGrp="1"/>
          </p:cNvSpPr>
          <p:nvPr>
            <p:ph type="body"/>
          </p:nvPr>
        </p:nvSpPr>
        <p:spPr>
          <a:xfrm>
            <a:off x="4259160" y="1406520"/>
            <a:ext cx="3673080" cy="5009760"/>
          </a:xfrm>
          <a:prstGeom prst="rect">
            <a:avLst/>
          </a:prstGeom>
          <a:noFill/>
          <a:ln w="0">
            <a:noFill/>
          </a:ln>
        </p:spPr>
        <p:txBody>
          <a:bodyPr lIns="0" rIns="0" tIns="0" bIns="0" anchor="t">
            <a:noAutofit/>
          </a:bodyPr>
          <a:p>
            <a:pPr marL="361800" indent="-361800" defTabSz="914400">
              <a:lnSpc>
                <a:spcPct val="110000"/>
              </a:lnSpc>
              <a:spcAft>
                <a:spcPts val="1199"/>
              </a:spcAft>
              <a:buClr>
                <a:srgbClr val="000000"/>
              </a:buClr>
              <a:buFont typeface="Arial"/>
              <a:buChar char="•"/>
              <a:tabLst>
                <a:tab algn="l" pos="361800"/>
              </a:tabLst>
            </a:pPr>
            <a:r>
              <a:rPr b="0" lang="de-DE" sz="1800" spc="-1" strike="noStrike">
                <a:solidFill>
                  <a:schemeClr val="dk1"/>
                </a:solidFill>
                <a:latin typeface="Arial"/>
                <a:ea typeface="Arial"/>
              </a:rPr>
              <a:t>Mastertextformat bearbeiten</a:t>
            </a:r>
            <a:endParaRPr b="0" lang="en-US" sz="1800" spc="-1" strike="noStrike">
              <a:solidFill>
                <a:schemeClr val="dk1"/>
              </a:solidFill>
              <a:latin typeface="Arial"/>
            </a:endParaRPr>
          </a:p>
          <a:p>
            <a:pPr lvl="1" marL="628560" indent="-266760" defTabSz="914400">
              <a:lnSpc>
                <a:spcPct val="110000"/>
              </a:lnSpc>
              <a:spcAft>
                <a:spcPts val="1199"/>
              </a:spcAft>
              <a:buClr>
                <a:srgbClr val="000000"/>
              </a:buClr>
              <a:buFont typeface="Arial"/>
              <a:buChar char="•"/>
              <a:tabLst>
                <a:tab algn="l" pos="361800"/>
              </a:tabLst>
            </a:pPr>
            <a:r>
              <a:rPr b="0" lang="de-DE" sz="1800" spc="-1" strike="noStrike">
                <a:solidFill>
                  <a:schemeClr val="dk1"/>
                </a:solidFill>
                <a:latin typeface="Arial"/>
                <a:ea typeface="Arial"/>
              </a:rPr>
              <a:t>Zweite Ebene</a:t>
            </a:r>
            <a:endParaRPr b="0" lang="en-US" sz="1800" spc="-1" strike="noStrike">
              <a:solidFill>
                <a:schemeClr val="dk1"/>
              </a:solidFill>
              <a:latin typeface="Arial"/>
            </a:endParaRPr>
          </a:p>
          <a:p>
            <a:pPr lvl="2" marL="895320" indent="-266760" defTabSz="914400">
              <a:lnSpc>
                <a:spcPct val="110000"/>
              </a:lnSpc>
              <a:spcAft>
                <a:spcPts val="1199"/>
              </a:spcAft>
              <a:buClr>
                <a:srgbClr val="000000"/>
              </a:buClr>
              <a:buFont typeface="Arial"/>
              <a:buChar char="•"/>
              <a:tabLst>
                <a:tab algn="l" pos="361800"/>
              </a:tabLst>
            </a:pPr>
            <a:r>
              <a:rPr b="0" lang="de-DE" sz="1800" spc="-1" strike="noStrike">
                <a:solidFill>
                  <a:schemeClr val="dk1"/>
                </a:solidFill>
                <a:latin typeface="Arial"/>
                <a:ea typeface="Arial"/>
              </a:rPr>
              <a:t>Dritte Ebene</a:t>
            </a:r>
            <a:endParaRPr b="0" lang="en-US" sz="1800" spc="-1" strike="noStrike">
              <a:solidFill>
                <a:schemeClr val="dk1"/>
              </a:solidFill>
              <a:latin typeface="Arial"/>
            </a:endParaRPr>
          </a:p>
          <a:p>
            <a:pPr lvl="3" marL="1162080" indent="-266760" defTabSz="914400">
              <a:lnSpc>
                <a:spcPct val="110000"/>
              </a:lnSpc>
              <a:spcAft>
                <a:spcPts val="1199"/>
              </a:spcAft>
              <a:buClr>
                <a:srgbClr val="000000"/>
              </a:buClr>
              <a:buFont typeface="Arial"/>
              <a:buChar char="•"/>
              <a:tabLst>
                <a:tab algn="l" pos="361800"/>
              </a:tabLst>
            </a:pPr>
            <a:r>
              <a:rPr b="0" lang="de-DE" sz="1800" spc="-1" strike="noStrike">
                <a:solidFill>
                  <a:schemeClr val="dk1"/>
                </a:solidFill>
                <a:latin typeface="Arial"/>
                <a:ea typeface="Arial"/>
              </a:rPr>
              <a:t>Vierte Ebene</a:t>
            </a:r>
            <a:endParaRPr b="0" lang="en-US" sz="1800" spc="-1" strike="noStrike">
              <a:solidFill>
                <a:schemeClr val="dk1"/>
              </a:solidFill>
              <a:latin typeface="Arial"/>
            </a:endParaRPr>
          </a:p>
          <a:p>
            <a:pPr lvl="4" marL="1438200" indent="-276120" defTabSz="914400">
              <a:lnSpc>
                <a:spcPct val="110000"/>
              </a:lnSpc>
              <a:spcAft>
                <a:spcPts val="1199"/>
              </a:spcAft>
              <a:buClr>
                <a:srgbClr val="000000"/>
              </a:buClr>
              <a:buFont typeface="Arial"/>
              <a:buChar char="•"/>
              <a:tabLst>
                <a:tab algn="l" pos="361800"/>
              </a:tabLst>
            </a:pPr>
            <a:r>
              <a:rPr b="0" lang="de-DE" sz="1800" spc="-1" strike="noStrike">
                <a:solidFill>
                  <a:schemeClr val="dk1"/>
                </a:solidFill>
                <a:latin typeface="Arial"/>
                <a:ea typeface="Arial"/>
              </a:rPr>
              <a:t>Fünfte Ebene</a:t>
            </a:r>
            <a:endParaRPr b="0" lang="en-US" sz="1800" spc="-1" strike="noStrike">
              <a:solidFill>
                <a:schemeClr val="dk1"/>
              </a:solidFill>
              <a:latin typeface="Arial"/>
            </a:endParaRPr>
          </a:p>
        </p:txBody>
      </p:sp>
      <p:sp>
        <p:nvSpPr>
          <p:cNvPr id="243" name="PlaceHolder 6"/>
          <p:cNvSpPr>
            <a:spLocks noGrp="1"/>
          </p:cNvSpPr>
          <p:nvPr>
            <p:ph type="body"/>
          </p:nvPr>
        </p:nvSpPr>
        <p:spPr>
          <a:xfrm>
            <a:off x="8075520" y="1406520"/>
            <a:ext cx="3708000" cy="5009760"/>
          </a:xfrm>
          <a:prstGeom prst="rect">
            <a:avLst/>
          </a:prstGeom>
          <a:noFill/>
          <a:ln w="0">
            <a:noFill/>
          </a:ln>
        </p:spPr>
        <p:txBody>
          <a:bodyPr lIns="0" rIns="0" tIns="0" bIns="0" anchor="t">
            <a:noAutofit/>
          </a:bodyPr>
          <a:p>
            <a:pPr marL="361800" indent="-361800" defTabSz="914400">
              <a:lnSpc>
                <a:spcPct val="110000"/>
              </a:lnSpc>
              <a:spcAft>
                <a:spcPts val="1199"/>
              </a:spcAft>
              <a:buClr>
                <a:srgbClr val="000000"/>
              </a:buClr>
              <a:buFont typeface="Arial"/>
              <a:buChar char="•"/>
              <a:tabLst>
                <a:tab algn="l" pos="361800"/>
              </a:tabLst>
            </a:pPr>
            <a:r>
              <a:rPr b="0" lang="de-DE" sz="1800" spc="-1" strike="noStrike">
                <a:solidFill>
                  <a:schemeClr val="dk1"/>
                </a:solidFill>
                <a:latin typeface="Arial"/>
                <a:ea typeface="Arial"/>
              </a:rPr>
              <a:t>Mastertextformat bearbeiten</a:t>
            </a:r>
            <a:endParaRPr b="0" lang="en-US" sz="1800" spc="-1" strike="noStrike">
              <a:solidFill>
                <a:schemeClr val="dk1"/>
              </a:solidFill>
              <a:latin typeface="Arial"/>
            </a:endParaRPr>
          </a:p>
          <a:p>
            <a:pPr lvl="1" marL="628560" indent="-266760" defTabSz="914400">
              <a:lnSpc>
                <a:spcPct val="110000"/>
              </a:lnSpc>
              <a:spcAft>
                <a:spcPts val="1199"/>
              </a:spcAft>
              <a:buClr>
                <a:srgbClr val="000000"/>
              </a:buClr>
              <a:buFont typeface="Arial"/>
              <a:buChar char="•"/>
              <a:tabLst>
                <a:tab algn="l" pos="361800"/>
              </a:tabLst>
            </a:pPr>
            <a:r>
              <a:rPr b="0" lang="de-DE" sz="1800" spc="-1" strike="noStrike">
                <a:solidFill>
                  <a:schemeClr val="dk1"/>
                </a:solidFill>
                <a:latin typeface="Arial"/>
                <a:ea typeface="Arial"/>
              </a:rPr>
              <a:t>Zweite Ebene</a:t>
            </a:r>
            <a:endParaRPr b="0" lang="en-US" sz="1800" spc="-1" strike="noStrike">
              <a:solidFill>
                <a:schemeClr val="dk1"/>
              </a:solidFill>
              <a:latin typeface="Arial"/>
            </a:endParaRPr>
          </a:p>
          <a:p>
            <a:pPr lvl="2" marL="895320" indent="-266760" defTabSz="914400">
              <a:lnSpc>
                <a:spcPct val="110000"/>
              </a:lnSpc>
              <a:spcAft>
                <a:spcPts val="1199"/>
              </a:spcAft>
              <a:buClr>
                <a:srgbClr val="000000"/>
              </a:buClr>
              <a:buFont typeface="Arial"/>
              <a:buChar char="•"/>
              <a:tabLst>
                <a:tab algn="l" pos="361800"/>
              </a:tabLst>
            </a:pPr>
            <a:r>
              <a:rPr b="0" lang="de-DE" sz="1800" spc="-1" strike="noStrike">
                <a:solidFill>
                  <a:schemeClr val="dk1"/>
                </a:solidFill>
                <a:latin typeface="Arial"/>
                <a:ea typeface="Arial"/>
              </a:rPr>
              <a:t>Dritte Ebene</a:t>
            </a:r>
            <a:endParaRPr b="0" lang="en-US" sz="1800" spc="-1" strike="noStrike">
              <a:solidFill>
                <a:schemeClr val="dk1"/>
              </a:solidFill>
              <a:latin typeface="Arial"/>
            </a:endParaRPr>
          </a:p>
          <a:p>
            <a:pPr lvl="3" marL="1162080" indent="-266760" defTabSz="914400">
              <a:lnSpc>
                <a:spcPct val="110000"/>
              </a:lnSpc>
              <a:spcAft>
                <a:spcPts val="1199"/>
              </a:spcAft>
              <a:buClr>
                <a:srgbClr val="000000"/>
              </a:buClr>
              <a:buFont typeface="Arial"/>
              <a:buChar char="•"/>
              <a:tabLst>
                <a:tab algn="l" pos="361800"/>
              </a:tabLst>
            </a:pPr>
            <a:r>
              <a:rPr b="0" lang="de-DE" sz="1800" spc="-1" strike="noStrike">
                <a:solidFill>
                  <a:schemeClr val="dk1"/>
                </a:solidFill>
                <a:latin typeface="Arial"/>
                <a:ea typeface="Arial"/>
              </a:rPr>
              <a:t>Vierte Ebene</a:t>
            </a:r>
            <a:endParaRPr b="0" lang="en-US" sz="1800" spc="-1" strike="noStrike">
              <a:solidFill>
                <a:schemeClr val="dk1"/>
              </a:solidFill>
              <a:latin typeface="Arial"/>
            </a:endParaRPr>
          </a:p>
          <a:p>
            <a:pPr lvl="4" marL="1438200" indent="-276120" defTabSz="914400">
              <a:lnSpc>
                <a:spcPct val="110000"/>
              </a:lnSpc>
              <a:spcAft>
                <a:spcPts val="1199"/>
              </a:spcAft>
              <a:buClr>
                <a:srgbClr val="000000"/>
              </a:buClr>
              <a:buFont typeface="Arial"/>
              <a:buChar char="•"/>
              <a:tabLst>
                <a:tab algn="l" pos="361800"/>
              </a:tabLst>
            </a:pPr>
            <a:r>
              <a:rPr b="0" lang="de-DE" sz="1800" spc="-1" strike="noStrike">
                <a:solidFill>
                  <a:schemeClr val="dk1"/>
                </a:solidFill>
                <a:latin typeface="Arial"/>
                <a:ea typeface="Arial"/>
              </a:rPr>
              <a:t>Fünfte Ebene</a:t>
            </a:r>
            <a:endParaRPr b="0" lang="en-US" sz="1800" spc="-1" strike="noStrike">
              <a:solidFill>
                <a:schemeClr val="dk1"/>
              </a:solidFill>
              <a:latin typeface="Arial"/>
            </a:endParaRPr>
          </a:p>
        </p:txBody>
      </p:sp>
    </p:spTree>
  </p:cSld>
  <p:clrMap bg1="lt1" tx1="dk1" bg2="lt2" tx2="dk2" accent1="accent1" accent2="accent2" accent3="accent3" accent4="accent4" accent5="accent5" accent6="accent6" hlink="hlink" folHlink="folHlink"/>
  <p:sldLayoutIdLst>
    <p:sldLayoutId id="2147483721" r:id="rId3"/>
  </p:sldLayoutIdLst>
</p:sldMaster>
</file>

<file path=ppt/slideMasters/slideMaster38.xml><?xml version="1.0" encoding="utf-8"?>
<p:sldMaster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p:cSld>
    <p:bg>
      <p:bgPr>
        <a:solidFill>
          <a:srgbClr val="ffffff"/>
        </a:solidFill>
      </p:bgPr>
    </p:bg>
    <p:spTree>
      <p:nvGrpSpPr>
        <p:cNvPr id="1" name=""/>
        <p:cNvGrpSpPr/>
        <p:nvPr/>
      </p:nvGrpSpPr>
      <p:grpSpPr>
        <a:xfrm>
          <a:off x="0" y="0"/>
          <a:ext cx="0" cy="0"/>
          <a:chOff x="0" y="0"/>
          <a:chExt cx="0" cy="0"/>
        </a:xfrm>
      </p:grpSpPr>
      <p:sp>
        <p:nvSpPr>
          <p:cNvPr id="244" name="Textfeld 13"/>
          <p:cNvSpPr/>
          <p:nvPr/>
        </p:nvSpPr>
        <p:spPr>
          <a:xfrm>
            <a:off x="10848600" y="6580800"/>
            <a:ext cx="935280" cy="186480"/>
          </a:xfrm>
          <a:prstGeom prst="rect">
            <a:avLst/>
          </a:prstGeom>
          <a:noFill/>
          <a:ln w="0">
            <a:noFill/>
          </a:ln>
        </p:spPr>
        <p:style>
          <a:lnRef idx="0"/>
          <a:fillRef idx="0"/>
          <a:effectRef idx="0"/>
          <a:fontRef idx="minor"/>
        </p:style>
        <p:txBody>
          <a:bodyPr lIns="0" rIns="0" tIns="0" bIns="0" anchor="t">
            <a:noAutofit/>
          </a:bodyPr>
          <a:p>
            <a:pPr algn="r" defTabSz="457200">
              <a:lnSpc>
                <a:spcPct val="100000"/>
              </a:lnSpc>
            </a:pPr>
            <a:r>
              <a:rPr b="1" lang="de-DE" sz="1100" spc="-1" strike="noStrike">
                <a:solidFill>
                  <a:schemeClr val="dk1"/>
                </a:solidFill>
                <a:latin typeface="Arial"/>
                <a:ea typeface="Arial"/>
              </a:rPr>
              <a:t>Seite </a:t>
            </a:r>
            <a:fld id="{342FEEF7-68DF-4B0D-8703-7BEC33C558F2}" type="slidenum">
              <a:rPr b="1" lang="de-DE" sz="1100" spc="-1" strike="noStrike">
                <a:solidFill>
                  <a:schemeClr val="dk1"/>
                </a:solidFill>
                <a:latin typeface="Arial"/>
                <a:ea typeface="Arial"/>
              </a:rPr>
              <a:t>&lt;number&gt;</a:t>
            </a:fld>
            <a:endParaRPr b="0" lang="en-US" sz="1100" spc="-1" strike="noStrike">
              <a:solidFill>
                <a:srgbClr val="000000"/>
              </a:solidFill>
              <a:latin typeface="Calibri"/>
            </a:endParaRPr>
          </a:p>
        </p:txBody>
      </p:sp>
      <p:pic>
        <p:nvPicPr>
          <p:cNvPr id="245" name="Grafik 6" descr=""/>
          <p:cNvPicPr/>
          <p:nvPr/>
        </p:nvPicPr>
        <p:blipFill>
          <a:blip r:embed="rId2"/>
          <a:stretch/>
        </p:blipFill>
        <p:spPr>
          <a:xfrm>
            <a:off x="403200" y="6613920"/>
            <a:ext cx="325080" cy="100440"/>
          </a:xfrm>
          <a:prstGeom prst="rect">
            <a:avLst/>
          </a:prstGeom>
          <a:ln w="0">
            <a:noFill/>
          </a:ln>
        </p:spPr>
      </p:pic>
      <p:sp>
        <p:nvSpPr>
          <p:cNvPr id="246" name="PlaceHolder 1"/>
          <p:cNvSpPr>
            <a:spLocks noGrp="1"/>
          </p:cNvSpPr>
          <p:nvPr>
            <p:ph type="title"/>
          </p:nvPr>
        </p:nvSpPr>
        <p:spPr>
          <a:xfrm>
            <a:off x="407880" y="349560"/>
            <a:ext cx="11375640" cy="450720"/>
          </a:xfrm>
          <a:prstGeom prst="rect">
            <a:avLst/>
          </a:prstGeom>
          <a:noFill/>
          <a:ln w="0">
            <a:noFill/>
          </a:ln>
        </p:spPr>
        <p:txBody>
          <a:bodyPr lIns="0" rIns="0" tIns="0" bIns="0" anchor="t">
            <a:noAutofit/>
          </a:bodyPr>
          <a:p>
            <a:pPr indent="0" defTabSz="914400">
              <a:lnSpc>
                <a:spcPct val="90000"/>
              </a:lnSpc>
              <a:buNone/>
            </a:pPr>
            <a:r>
              <a:rPr b="1" lang="de-DE" sz="3000" spc="-1" strike="noStrike">
                <a:solidFill>
                  <a:schemeClr val="accent1"/>
                </a:solidFill>
                <a:latin typeface="Arial"/>
                <a:ea typeface="Arial"/>
              </a:rPr>
              <a:t>Mastertitelformat bearbeiten</a:t>
            </a:r>
            <a:endParaRPr b="0" lang="en-US" sz="3000" spc="-1" strike="noStrike">
              <a:solidFill>
                <a:schemeClr val="dk1"/>
              </a:solidFill>
              <a:latin typeface="Arial"/>
            </a:endParaRPr>
          </a:p>
        </p:txBody>
      </p:sp>
      <p:sp>
        <p:nvSpPr>
          <p:cNvPr id="247" name="PlaceHolder 2"/>
          <p:cNvSpPr>
            <a:spLocks noGrp="1"/>
          </p:cNvSpPr>
          <p:nvPr>
            <p:ph type="ftr" idx="30"/>
          </p:nvPr>
        </p:nvSpPr>
        <p:spPr>
          <a:xfrm>
            <a:off x="791640" y="6580800"/>
            <a:ext cx="9948600" cy="186480"/>
          </a:xfrm>
          <a:prstGeom prst="rect">
            <a:avLst/>
          </a:prstGeom>
          <a:noFill/>
          <a:ln w="0">
            <a:noFill/>
          </a:ln>
        </p:spPr>
        <p:txBody>
          <a:bodyPr lIns="0" rIns="0" tIns="0" bIns="0" anchor="t">
            <a:noAutofit/>
          </a:bodyPr>
          <a:lstStyle>
            <a:lvl1pPr indent="0" defTabSz="457200">
              <a:lnSpc>
                <a:spcPct val="100000"/>
              </a:lnSpc>
              <a:buNone/>
              <a:defRPr b="0" lang="pt-BR" sz="1100" spc="-1" strike="noStrike">
                <a:solidFill>
                  <a:schemeClr val="dk1"/>
                </a:solidFill>
                <a:latin typeface="Arial"/>
                <a:ea typeface="Arial"/>
              </a:defRPr>
            </a:lvl1pPr>
          </a:lstStyle>
          <a:p>
            <a:pPr indent="0" defTabSz="457200">
              <a:lnSpc>
                <a:spcPct val="100000"/>
              </a:lnSpc>
              <a:buNone/>
            </a:pPr>
            <a:r>
              <a:rPr b="0" lang="pt-BR" sz="1100" spc="-1" strike="noStrike">
                <a:solidFill>
                  <a:schemeClr val="dk1"/>
                </a:solidFill>
                <a:latin typeface="Arial"/>
                <a:ea typeface="Arial"/>
              </a:rPr>
              <a:t>&lt;footer&gt;</a:t>
            </a:r>
            <a:endParaRPr b="0" lang="en-US" sz="1100" spc="-1" strike="noStrike">
              <a:solidFill>
                <a:srgbClr val="000000"/>
              </a:solidFill>
              <a:latin typeface="Calibri"/>
            </a:endParaRPr>
          </a:p>
        </p:txBody>
      </p:sp>
      <p:sp>
        <p:nvSpPr>
          <p:cNvPr id="248" name="PlaceHolder 3"/>
          <p:cNvSpPr>
            <a:spLocks noGrp="1"/>
          </p:cNvSpPr>
          <p:nvPr>
            <p:ph type="body"/>
          </p:nvPr>
        </p:nvSpPr>
        <p:spPr>
          <a:xfrm>
            <a:off x="407880" y="817560"/>
            <a:ext cx="11375640" cy="378720"/>
          </a:xfrm>
          <a:prstGeom prst="rect">
            <a:avLst/>
          </a:prstGeom>
          <a:noFill/>
          <a:ln w="0">
            <a:noFill/>
          </a:ln>
        </p:spPr>
        <p:txBody>
          <a:bodyPr lIns="0" rIns="0" tIns="0" bIns="0" anchor="t">
            <a:noAutofit/>
          </a:bodyPr>
          <a:p>
            <a:pPr indent="0" defTabSz="914400">
              <a:lnSpc>
                <a:spcPct val="110000"/>
              </a:lnSpc>
              <a:buNone/>
              <a:tabLst>
                <a:tab algn="l" pos="0"/>
              </a:tabLst>
            </a:pPr>
            <a:r>
              <a:rPr b="1" lang="de-DE" sz="1800" spc="-1" strike="noStrike">
                <a:solidFill>
                  <a:schemeClr val="accent2"/>
                </a:solidFill>
                <a:latin typeface="Arial"/>
                <a:ea typeface="Arial"/>
              </a:rPr>
              <a:t>Unterüberschrift</a:t>
            </a:r>
            <a:endParaRPr b="0" lang="en-US" sz="1800" spc="-1" strike="noStrike">
              <a:solidFill>
                <a:schemeClr val="dk1"/>
              </a:solidFill>
              <a:latin typeface="Arial"/>
            </a:endParaRPr>
          </a:p>
        </p:txBody>
      </p:sp>
      <p:sp>
        <p:nvSpPr>
          <p:cNvPr id="249" name="PlaceHolder 4"/>
          <p:cNvSpPr>
            <a:spLocks noGrp="1"/>
          </p:cNvSpPr>
          <p:nvPr>
            <p:ph type="body"/>
          </p:nvPr>
        </p:nvSpPr>
        <p:spPr>
          <a:xfrm>
            <a:off x="407880" y="1406520"/>
            <a:ext cx="5616360" cy="2454120"/>
          </a:xfrm>
          <a:prstGeom prst="rect">
            <a:avLst/>
          </a:prstGeom>
          <a:noFill/>
          <a:ln w="0">
            <a:noFill/>
          </a:ln>
        </p:spPr>
        <p:txBody>
          <a:bodyPr lIns="0" rIns="0" tIns="0" bIns="0" anchor="t">
            <a:noAutofit/>
          </a:bodyPr>
          <a:p>
            <a:pPr marL="361800" indent="-361800" defTabSz="914400">
              <a:lnSpc>
                <a:spcPct val="110000"/>
              </a:lnSpc>
              <a:spcAft>
                <a:spcPts val="1199"/>
              </a:spcAft>
              <a:buClr>
                <a:srgbClr val="000000"/>
              </a:buClr>
              <a:buFont typeface="Arial"/>
              <a:buChar char="•"/>
              <a:tabLst>
                <a:tab algn="l" pos="361800"/>
              </a:tabLst>
            </a:pPr>
            <a:r>
              <a:rPr b="0" lang="de-DE" sz="1800" spc="-1" strike="noStrike">
                <a:solidFill>
                  <a:schemeClr val="dk1"/>
                </a:solidFill>
                <a:latin typeface="Arial"/>
                <a:ea typeface="Arial"/>
              </a:rPr>
              <a:t>Mastertextformat bearbeiten</a:t>
            </a:r>
            <a:endParaRPr b="0" lang="en-US" sz="1800" spc="-1" strike="noStrike">
              <a:solidFill>
                <a:schemeClr val="dk1"/>
              </a:solidFill>
              <a:latin typeface="Arial"/>
            </a:endParaRPr>
          </a:p>
          <a:p>
            <a:pPr lvl="1" marL="628560" indent="-266760" defTabSz="914400">
              <a:lnSpc>
                <a:spcPct val="110000"/>
              </a:lnSpc>
              <a:spcAft>
                <a:spcPts val="1199"/>
              </a:spcAft>
              <a:buClr>
                <a:srgbClr val="000000"/>
              </a:buClr>
              <a:buFont typeface="Arial"/>
              <a:buChar char="•"/>
              <a:tabLst>
                <a:tab algn="l" pos="361800"/>
              </a:tabLst>
            </a:pPr>
            <a:r>
              <a:rPr b="0" lang="de-DE" sz="1800" spc="-1" strike="noStrike">
                <a:solidFill>
                  <a:schemeClr val="dk1"/>
                </a:solidFill>
                <a:latin typeface="Arial"/>
                <a:ea typeface="Arial"/>
              </a:rPr>
              <a:t>Zweite Ebene</a:t>
            </a:r>
            <a:endParaRPr b="0" lang="en-US" sz="1800" spc="-1" strike="noStrike">
              <a:solidFill>
                <a:schemeClr val="dk1"/>
              </a:solidFill>
              <a:latin typeface="Arial"/>
            </a:endParaRPr>
          </a:p>
          <a:p>
            <a:pPr lvl="2" marL="895320" indent="-266760" defTabSz="914400">
              <a:lnSpc>
                <a:spcPct val="110000"/>
              </a:lnSpc>
              <a:spcAft>
                <a:spcPts val="1199"/>
              </a:spcAft>
              <a:buClr>
                <a:srgbClr val="000000"/>
              </a:buClr>
              <a:buFont typeface="Arial"/>
              <a:buChar char="•"/>
              <a:tabLst>
                <a:tab algn="l" pos="361800"/>
              </a:tabLst>
            </a:pPr>
            <a:r>
              <a:rPr b="0" lang="de-DE" sz="1800" spc="-1" strike="noStrike">
                <a:solidFill>
                  <a:schemeClr val="dk1"/>
                </a:solidFill>
                <a:latin typeface="Arial"/>
                <a:ea typeface="Arial"/>
              </a:rPr>
              <a:t>Dritte Ebene</a:t>
            </a:r>
            <a:endParaRPr b="0" lang="en-US" sz="1800" spc="-1" strike="noStrike">
              <a:solidFill>
                <a:schemeClr val="dk1"/>
              </a:solidFill>
              <a:latin typeface="Arial"/>
            </a:endParaRPr>
          </a:p>
          <a:p>
            <a:pPr lvl="3" marL="1162080" indent="-266760" defTabSz="914400">
              <a:lnSpc>
                <a:spcPct val="110000"/>
              </a:lnSpc>
              <a:spcAft>
                <a:spcPts val="1199"/>
              </a:spcAft>
              <a:buClr>
                <a:srgbClr val="000000"/>
              </a:buClr>
              <a:buFont typeface="Arial"/>
              <a:buChar char="•"/>
              <a:tabLst>
                <a:tab algn="l" pos="361800"/>
              </a:tabLst>
            </a:pPr>
            <a:r>
              <a:rPr b="0" lang="de-DE" sz="1800" spc="-1" strike="noStrike">
                <a:solidFill>
                  <a:schemeClr val="dk1"/>
                </a:solidFill>
                <a:latin typeface="Arial"/>
                <a:ea typeface="Arial"/>
              </a:rPr>
              <a:t>Vierte Ebene</a:t>
            </a:r>
            <a:endParaRPr b="0" lang="en-US" sz="1800" spc="-1" strike="noStrike">
              <a:solidFill>
                <a:schemeClr val="dk1"/>
              </a:solidFill>
              <a:latin typeface="Arial"/>
            </a:endParaRPr>
          </a:p>
          <a:p>
            <a:pPr lvl="4" marL="1438200" indent="-276120" defTabSz="914400">
              <a:lnSpc>
                <a:spcPct val="110000"/>
              </a:lnSpc>
              <a:spcAft>
                <a:spcPts val="1199"/>
              </a:spcAft>
              <a:buClr>
                <a:srgbClr val="000000"/>
              </a:buClr>
              <a:buFont typeface="Arial"/>
              <a:buChar char="•"/>
              <a:tabLst>
                <a:tab algn="l" pos="361800"/>
              </a:tabLst>
            </a:pPr>
            <a:r>
              <a:rPr b="0" lang="de-DE" sz="1800" spc="-1" strike="noStrike">
                <a:solidFill>
                  <a:schemeClr val="dk1"/>
                </a:solidFill>
                <a:latin typeface="Arial"/>
                <a:ea typeface="Arial"/>
              </a:rPr>
              <a:t>Fünfte Ebene</a:t>
            </a:r>
            <a:endParaRPr b="0" lang="en-US" sz="1800" spc="-1" strike="noStrike">
              <a:solidFill>
                <a:schemeClr val="dk1"/>
              </a:solidFill>
              <a:latin typeface="Arial"/>
            </a:endParaRPr>
          </a:p>
        </p:txBody>
      </p:sp>
      <p:sp>
        <p:nvSpPr>
          <p:cNvPr id="250" name="PlaceHolder 5"/>
          <p:cNvSpPr>
            <a:spLocks noGrp="1"/>
          </p:cNvSpPr>
          <p:nvPr>
            <p:ph type="body"/>
          </p:nvPr>
        </p:nvSpPr>
        <p:spPr>
          <a:xfrm>
            <a:off x="407880" y="3963600"/>
            <a:ext cx="5616360" cy="2454120"/>
          </a:xfrm>
          <a:prstGeom prst="rect">
            <a:avLst/>
          </a:prstGeom>
          <a:noFill/>
          <a:ln w="0">
            <a:noFill/>
          </a:ln>
        </p:spPr>
        <p:txBody>
          <a:bodyPr lIns="0" rIns="0" tIns="0" bIns="0" anchor="t">
            <a:noAutofit/>
          </a:bodyPr>
          <a:p>
            <a:pPr marL="361800" indent="-361800" defTabSz="914400">
              <a:lnSpc>
                <a:spcPct val="110000"/>
              </a:lnSpc>
              <a:spcAft>
                <a:spcPts val="1199"/>
              </a:spcAft>
              <a:buClr>
                <a:srgbClr val="000000"/>
              </a:buClr>
              <a:buFont typeface="Arial"/>
              <a:buChar char="•"/>
              <a:tabLst>
                <a:tab algn="l" pos="361800"/>
              </a:tabLst>
            </a:pPr>
            <a:r>
              <a:rPr b="0" lang="de-DE" sz="1800" spc="-1" strike="noStrike">
                <a:solidFill>
                  <a:schemeClr val="dk1"/>
                </a:solidFill>
                <a:latin typeface="Arial"/>
                <a:ea typeface="Arial"/>
              </a:rPr>
              <a:t>Mastertextformat bearbeiten</a:t>
            </a:r>
            <a:endParaRPr b="0" lang="en-US" sz="1800" spc="-1" strike="noStrike">
              <a:solidFill>
                <a:schemeClr val="dk1"/>
              </a:solidFill>
              <a:latin typeface="Arial"/>
            </a:endParaRPr>
          </a:p>
          <a:p>
            <a:pPr lvl="1" marL="628560" indent="-266760" defTabSz="914400">
              <a:lnSpc>
                <a:spcPct val="110000"/>
              </a:lnSpc>
              <a:spcAft>
                <a:spcPts val="1199"/>
              </a:spcAft>
              <a:buClr>
                <a:srgbClr val="000000"/>
              </a:buClr>
              <a:buFont typeface="Arial"/>
              <a:buChar char="•"/>
              <a:tabLst>
                <a:tab algn="l" pos="361800"/>
              </a:tabLst>
            </a:pPr>
            <a:r>
              <a:rPr b="0" lang="de-DE" sz="1800" spc="-1" strike="noStrike">
                <a:solidFill>
                  <a:schemeClr val="dk1"/>
                </a:solidFill>
                <a:latin typeface="Arial"/>
                <a:ea typeface="Arial"/>
              </a:rPr>
              <a:t>Zweite Ebene</a:t>
            </a:r>
            <a:endParaRPr b="0" lang="en-US" sz="1800" spc="-1" strike="noStrike">
              <a:solidFill>
                <a:schemeClr val="dk1"/>
              </a:solidFill>
              <a:latin typeface="Arial"/>
            </a:endParaRPr>
          </a:p>
          <a:p>
            <a:pPr lvl="2" marL="895320" indent="-266760" defTabSz="914400">
              <a:lnSpc>
                <a:spcPct val="110000"/>
              </a:lnSpc>
              <a:spcAft>
                <a:spcPts val="1199"/>
              </a:spcAft>
              <a:buClr>
                <a:srgbClr val="000000"/>
              </a:buClr>
              <a:buFont typeface="Arial"/>
              <a:buChar char="•"/>
              <a:tabLst>
                <a:tab algn="l" pos="361800"/>
              </a:tabLst>
            </a:pPr>
            <a:r>
              <a:rPr b="0" lang="de-DE" sz="1800" spc="-1" strike="noStrike">
                <a:solidFill>
                  <a:schemeClr val="dk1"/>
                </a:solidFill>
                <a:latin typeface="Arial"/>
                <a:ea typeface="Arial"/>
              </a:rPr>
              <a:t>Dritte Ebene</a:t>
            </a:r>
            <a:endParaRPr b="0" lang="en-US" sz="1800" spc="-1" strike="noStrike">
              <a:solidFill>
                <a:schemeClr val="dk1"/>
              </a:solidFill>
              <a:latin typeface="Arial"/>
            </a:endParaRPr>
          </a:p>
          <a:p>
            <a:pPr lvl="3" marL="1162080" indent="-266760" defTabSz="914400">
              <a:lnSpc>
                <a:spcPct val="110000"/>
              </a:lnSpc>
              <a:spcAft>
                <a:spcPts val="1199"/>
              </a:spcAft>
              <a:buClr>
                <a:srgbClr val="000000"/>
              </a:buClr>
              <a:buFont typeface="Arial"/>
              <a:buChar char="•"/>
              <a:tabLst>
                <a:tab algn="l" pos="361800"/>
              </a:tabLst>
            </a:pPr>
            <a:r>
              <a:rPr b="0" lang="de-DE" sz="1800" spc="-1" strike="noStrike">
                <a:solidFill>
                  <a:schemeClr val="dk1"/>
                </a:solidFill>
                <a:latin typeface="Arial"/>
                <a:ea typeface="Arial"/>
              </a:rPr>
              <a:t>Vierte Ebene</a:t>
            </a:r>
            <a:endParaRPr b="0" lang="en-US" sz="1800" spc="-1" strike="noStrike">
              <a:solidFill>
                <a:schemeClr val="dk1"/>
              </a:solidFill>
              <a:latin typeface="Arial"/>
            </a:endParaRPr>
          </a:p>
          <a:p>
            <a:pPr lvl="4" marL="1438200" indent="-276120" defTabSz="914400">
              <a:lnSpc>
                <a:spcPct val="110000"/>
              </a:lnSpc>
              <a:spcAft>
                <a:spcPts val="1199"/>
              </a:spcAft>
              <a:buClr>
                <a:srgbClr val="000000"/>
              </a:buClr>
              <a:buFont typeface="Arial"/>
              <a:buChar char="•"/>
              <a:tabLst>
                <a:tab algn="l" pos="361800"/>
              </a:tabLst>
            </a:pPr>
            <a:r>
              <a:rPr b="0" lang="de-DE" sz="1800" spc="-1" strike="noStrike">
                <a:solidFill>
                  <a:schemeClr val="dk1"/>
                </a:solidFill>
                <a:latin typeface="Arial"/>
                <a:ea typeface="Arial"/>
              </a:rPr>
              <a:t>Fünfte Ebene</a:t>
            </a:r>
            <a:endParaRPr b="0" lang="en-US" sz="1800" spc="-1" strike="noStrike">
              <a:solidFill>
                <a:schemeClr val="dk1"/>
              </a:solidFill>
              <a:latin typeface="Arial"/>
            </a:endParaRPr>
          </a:p>
        </p:txBody>
      </p:sp>
      <p:sp>
        <p:nvSpPr>
          <p:cNvPr id="251" name="PlaceHolder 6"/>
          <p:cNvSpPr>
            <a:spLocks noGrp="1"/>
          </p:cNvSpPr>
          <p:nvPr>
            <p:ph type="body"/>
          </p:nvPr>
        </p:nvSpPr>
        <p:spPr>
          <a:xfrm>
            <a:off x="6167520" y="1449360"/>
            <a:ext cx="5616360" cy="2410920"/>
          </a:xfrm>
          <a:prstGeom prst="rect">
            <a:avLst/>
          </a:prstGeom>
          <a:solidFill>
            <a:schemeClr val="lt1">
              <a:lumMod val="95000"/>
            </a:schemeClr>
          </a:solidFill>
          <a:ln w="0">
            <a:noFill/>
          </a:ln>
        </p:spPr>
        <p:txBody>
          <a:bodyPr lIns="90000" rIns="90000" tIns="45000" bIns="45000" anchor="ctr">
            <a:noAutofit/>
          </a:bodyPr>
          <a:p>
            <a:pPr indent="0" algn="ctr" defTabSz="457200">
              <a:lnSpc>
                <a:spcPct val="100000"/>
              </a:lnSpc>
              <a:buNone/>
              <a:tabLst>
                <a:tab algn="l" pos="0"/>
              </a:tabLst>
            </a:pPr>
            <a:r>
              <a:rPr b="0" lang="de-DE" sz="1900" spc="-1" strike="noStrike">
                <a:solidFill>
                  <a:schemeClr val="dk1"/>
                </a:solidFill>
                <a:latin typeface="Arial"/>
                <a:ea typeface="Arial"/>
              </a:rPr>
              <a:t>Bild auf Platzhalter ziehen oder durch Klicken auf Symbol hinzufügen</a:t>
            </a:r>
            <a:endParaRPr b="0" lang="en-US" sz="1900" spc="-1" strike="noStrike">
              <a:solidFill>
                <a:schemeClr val="dk1"/>
              </a:solidFill>
              <a:latin typeface="Arial"/>
            </a:endParaRPr>
          </a:p>
        </p:txBody>
      </p:sp>
      <p:sp>
        <p:nvSpPr>
          <p:cNvPr id="252" name="PlaceHolder 7"/>
          <p:cNvSpPr>
            <a:spLocks noGrp="1"/>
          </p:cNvSpPr>
          <p:nvPr>
            <p:ph type="body"/>
          </p:nvPr>
        </p:nvSpPr>
        <p:spPr>
          <a:xfrm>
            <a:off x="6167520" y="4005360"/>
            <a:ext cx="5616360" cy="2412360"/>
          </a:xfrm>
          <a:prstGeom prst="rect">
            <a:avLst/>
          </a:prstGeom>
          <a:solidFill>
            <a:schemeClr val="lt1">
              <a:lumMod val="95000"/>
            </a:schemeClr>
          </a:solidFill>
          <a:ln w="0">
            <a:noFill/>
          </a:ln>
        </p:spPr>
        <p:txBody>
          <a:bodyPr lIns="90000" rIns="90000" tIns="45000" bIns="45000" anchor="ctr">
            <a:noAutofit/>
          </a:bodyPr>
          <a:p>
            <a:pPr indent="0" algn="ctr" defTabSz="457200">
              <a:lnSpc>
                <a:spcPct val="100000"/>
              </a:lnSpc>
              <a:buNone/>
              <a:tabLst>
                <a:tab algn="l" pos="0"/>
              </a:tabLst>
            </a:pPr>
            <a:r>
              <a:rPr b="0" lang="de-DE" sz="1900" spc="-1" strike="noStrike">
                <a:solidFill>
                  <a:schemeClr val="dk1"/>
                </a:solidFill>
                <a:latin typeface="Arial"/>
                <a:ea typeface="Arial"/>
              </a:rPr>
              <a:t>Bild auf Platzhalter ziehen oder durch Klicken auf Symbol hinzufügen</a:t>
            </a:r>
            <a:endParaRPr b="0" lang="en-US" sz="1900" spc="-1" strike="noStrike">
              <a:solidFill>
                <a:schemeClr val="dk1"/>
              </a:solidFill>
              <a:latin typeface="Arial"/>
            </a:endParaRPr>
          </a:p>
        </p:txBody>
      </p:sp>
    </p:spTree>
  </p:cSld>
  <p:clrMap bg1="lt1" tx1="dk1" bg2="lt2" tx2="dk2" accent1="accent1" accent2="accent2" accent3="accent3" accent4="accent4" accent5="accent5" accent6="accent6" hlink="hlink" folHlink="folHlink"/>
  <p:sldLayoutIdLst>
    <p:sldLayoutId id="2147483723" r:id="rId3"/>
  </p:sldLayoutIdLst>
</p:sldMaster>
</file>

<file path=ppt/slideMasters/slideMaster39.xml><?xml version="1.0" encoding="utf-8"?>
<p:sldMaster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p:cSld>
    <p:bg>
      <p:bgPr>
        <a:solidFill>
          <a:srgbClr val="ffffff"/>
        </a:solidFill>
      </p:bgPr>
    </p:bg>
    <p:spTree>
      <p:nvGrpSpPr>
        <p:cNvPr id="1" name=""/>
        <p:cNvGrpSpPr/>
        <p:nvPr/>
      </p:nvGrpSpPr>
      <p:grpSpPr>
        <a:xfrm>
          <a:off x="0" y="0"/>
          <a:ext cx="0" cy="0"/>
          <a:chOff x="0" y="0"/>
          <a:chExt cx="0" cy="0"/>
        </a:xfrm>
      </p:grpSpPr>
      <p:sp>
        <p:nvSpPr>
          <p:cNvPr id="253" name="Textfeld 13"/>
          <p:cNvSpPr/>
          <p:nvPr/>
        </p:nvSpPr>
        <p:spPr>
          <a:xfrm>
            <a:off x="10848600" y="6580800"/>
            <a:ext cx="935280" cy="186480"/>
          </a:xfrm>
          <a:prstGeom prst="rect">
            <a:avLst/>
          </a:prstGeom>
          <a:noFill/>
          <a:ln w="0">
            <a:noFill/>
          </a:ln>
        </p:spPr>
        <p:style>
          <a:lnRef idx="0"/>
          <a:fillRef idx="0"/>
          <a:effectRef idx="0"/>
          <a:fontRef idx="minor"/>
        </p:style>
        <p:txBody>
          <a:bodyPr lIns="0" rIns="0" tIns="0" bIns="0" anchor="t">
            <a:noAutofit/>
          </a:bodyPr>
          <a:p>
            <a:pPr algn="r" defTabSz="457200">
              <a:lnSpc>
                <a:spcPct val="100000"/>
              </a:lnSpc>
            </a:pPr>
            <a:r>
              <a:rPr b="1" lang="de-DE" sz="1100" spc="-1" strike="noStrike">
                <a:solidFill>
                  <a:schemeClr val="dk1"/>
                </a:solidFill>
                <a:latin typeface="Arial"/>
                <a:ea typeface="Arial"/>
              </a:rPr>
              <a:t>Seite </a:t>
            </a:r>
            <a:fld id="{C250F82F-1C49-4ED3-B9E4-7BD24CA45805}" type="slidenum">
              <a:rPr b="1" lang="de-DE" sz="1100" spc="-1" strike="noStrike">
                <a:solidFill>
                  <a:schemeClr val="dk1"/>
                </a:solidFill>
                <a:latin typeface="Arial"/>
                <a:ea typeface="Arial"/>
              </a:rPr>
              <a:t>&lt;number&gt;</a:t>
            </a:fld>
            <a:endParaRPr b="0" lang="en-US" sz="1100" spc="-1" strike="noStrike">
              <a:solidFill>
                <a:srgbClr val="000000"/>
              </a:solidFill>
              <a:latin typeface="Calibri"/>
            </a:endParaRPr>
          </a:p>
        </p:txBody>
      </p:sp>
      <p:pic>
        <p:nvPicPr>
          <p:cNvPr id="254" name="Grafik 6" descr=""/>
          <p:cNvPicPr/>
          <p:nvPr/>
        </p:nvPicPr>
        <p:blipFill>
          <a:blip r:embed="rId2"/>
          <a:stretch/>
        </p:blipFill>
        <p:spPr>
          <a:xfrm>
            <a:off x="403200" y="6613920"/>
            <a:ext cx="325080" cy="100440"/>
          </a:xfrm>
          <a:prstGeom prst="rect">
            <a:avLst/>
          </a:prstGeom>
          <a:ln w="0">
            <a:noFill/>
          </a:ln>
        </p:spPr>
      </p:pic>
      <p:sp>
        <p:nvSpPr>
          <p:cNvPr id="255" name="PlaceHolder 1"/>
          <p:cNvSpPr>
            <a:spLocks noGrp="1"/>
          </p:cNvSpPr>
          <p:nvPr>
            <p:ph type="title"/>
          </p:nvPr>
        </p:nvSpPr>
        <p:spPr>
          <a:xfrm>
            <a:off x="407880" y="349560"/>
            <a:ext cx="11375640" cy="450720"/>
          </a:xfrm>
          <a:prstGeom prst="rect">
            <a:avLst/>
          </a:prstGeom>
          <a:noFill/>
          <a:ln w="0">
            <a:noFill/>
          </a:ln>
        </p:spPr>
        <p:txBody>
          <a:bodyPr lIns="0" rIns="0" tIns="0" bIns="0" anchor="t">
            <a:noAutofit/>
          </a:bodyPr>
          <a:p>
            <a:pPr indent="0" defTabSz="914400">
              <a:lnSpc>
                <a:spcPct val="90000"/>
              </a:lnSpc>
              <a:buNone/>
            </a:pPr>
            <a:r>
              <a:rPr b="1" lang="de-DE" sz="3000" spc="-1" strike="noStrike">
                <a:solidFill>
                  <a:schemeClr val="accent1"/>
                </a:solidFill>
                <a:latin typeface="Arial"/>
                <a:ea typeface="Arial"/>
              </a:rPr>
              <a:t>Mastertitelformat bearbeiten</a:t>
            </a:r>
            <a:endParaRPr b="0" lang="en-US" sz="3000" spc="-1" strike="noStrike">
              <a:solidFill>
                <a:schemeClr val="dk1"/>
              </a:solidFill>
              <a:latin typeface="Arial"/>
            </a:endParaRPr>
          </a:p>
        </p:txBody>
      </p:sp>
      <p:sp>
        <p:nvSpPr>
          <p:cNvPr id="256" name="PlaceHolder 2"/>
          <p:cNvSpPr>
            <a:spLocks noGrp="1"/>
          </p:cNvSpPr>
          <p:nvPr>
            <p:ph type="ftr" idx="31"/>
          </p:nvPr>
        </p:nvSpPr>
        <p:spPr>
          <a:xfrm>
            <a:off x="791640" y="6580800"/>
            <a:ext cx="9948600" cy="186480"/>
          </a:xfrm>
          <a:prstGeom prst="rect">
            <a:avLst/>
          </a:prstGeom>
          <a:noFill/>
          <a:ln w="0">
            <a:noFill/>
          </a:ln>
        </p:spPr>
        <p:txBody>
          <a:bodyPr lIns="0" rIns="0" tIns="0" bIns="0" anchor="t">
            <a:noAutofit/>
          </a:bodyPr>
          <a:lstStyle>
            <a:lvl1pPr indent="0" defTabSz="457200">
              <a:lnSpc>
                <a:spcPct val="100000"/>
              </a:lnSpc>
              <a:buNone/>
              <a:defRPr b="0" lang="pt-BR" sz="1100" spc="-1" strike="noStrike">
                <a:solidFill>
                  <a:schemeClr val="dk1"/>
                </a:solidFill>
                <a:latin typeface="Arial"/>
                <a:ea typeface="Arial"/>
              </a:defRPr>
            </a:lvl1pPr>
          </a:lstStyle>
          <a:p>
            <a:pPr indent="0" defTabSz="457200">
              <a:lnSpc>
                <a:spcPct val="100000"/>
              </a:lnSpc>
              <a:buNone/>
            </a:pPr>
            <a:r>
              <a:rPr b="0" lang="pt-BR" sz="1100" spc="-1" strike="noStrike">
                <a:solidFill>
                  <a:schemeClr val="dk1"/>
                </a:solidFill>
                <a:latin typeface="Arial"/>
                <a:ea typeface="Arial"/>
              </a:rPr>
              <a:t>&lt;footer&gt;</a:t>
            </a:r>
            <a:endParaRPr b="0" lang="en-US" sz="1100" spc="-1" strike="noStrike">
              <a:solidFill>
                <a:srgbClr val="000000"/>
              </a:solidFill>
              <a:latin typeface="Calibri"/>
            </a:endParaRPr>
          </a:p>
        </p:txBody>
      </p:sp>
      <p:sp>
        <p:nvSpPr>
          <p:cNvPr id="257" name="PlaceHolder 3"/>
          <p:cNvSpPr>
            <a:spLocks noGrp="1"/>
          </p:cNvSpPr>
          <p:nvPr>
            <p:ph type="body"/>
          </p:nvPr>
        </p:nvSpPr>
        <p:spPr>
          <a:xfrm>
            <a:off x="407880" y="817560"/>
            <a:ext cx="11375640" cy="378720"/>
          </a:xfrm>
          <a:prstGeom prst="rect">
            <a:avLst/>
          </a:prstGeom>
          <a:noFill/>
          <a:ln w="0">
            <a:noFill/>
          </a:ln>
        </p:spPr>
        <p:txBody>
          <a:bodyPr lIns="0" rIns="0" tIns="0" bIns="0" anchor="t">
            <a:noAutofit/>
          </a:bodyPr>
          <a:p>
            <a:pPr indent="0" defTabSz="914400">
              <a:lnSpc>
                <a:spcPct val="110000"/>
              </a:lnSpc>
              <a:buNone/>
              <a:tabLst>
                <a:tab algn="l" pos="0"/>
              </a:tabLst>
            </a:pPr>
            <a:r>
              <a:rPr b="1" lang="de-DE" sz="1800" spc="-1" strike="noStrike">
                <a:solidFill>
                  <a:schemeClr val="accent2"/>
                </a:solidFill>
                <a:latin typeface="Arial"/>
                <a:ea typeface="Arial"/>
              </a:rPr>
              <a:t>Unterüberschrift</a:t>
            </a:r>
            <a:endParaRPr b="0" lang="en-US" sz="1800" spc="-1" strike="noStrike">
              <a:solidFill>
                <a:schemeClr val="dk1"/>
              </a:solidFill>
              <a:latin typeface="Arial"/>
            </a:endParaRPr>
          </a:p>
        </p:txBody>
      </p:sp>
      <p:sp>
        <p:nvSpPr>
          <p:cNvPr id="258" name="PlaceHolder 4"/>
          <p:cNvSpPr>
            <a:spLocks noGrp="1"/>
          </p:cNvSpPr>
          <p:nvPr>
            <p:ph type="body"/>
          </p:nvPr>
        </p:nvSpPr>
        <p:spPr>
          <a:xfrm>
            <a:off x="407880" y="1406520"/>
            <a:ext cx="5616360" cy="2454120"/>
          </a:xfrm>
          <a:prstGeom prst="rect">
            <a:avLst/>
          </a:prstGeom>
          <a:noFill/>
          <a:ln w="0">
            <a:noFill/>
          </a:ln>
        </p:spPr>
        <p:txBody>
          <a:bodyPr lIns="0" rIns="0" tIns="0" bIns="0" anchor="t">
            <a:noAutofit/>
          </a:bodyPr>
          <a:p>
            <a:pPr marL="361800" indent="-361800" defTabSz="914400">
              <a:lnSpc>
                <a:spcPct val="110000"/>
              </a:lnSpc>
              <a:spcAft>
                <a:spcPts val="1199"/>
              </a:spcAft>
              <a:buClr>
                <a:srgbClr val="000000"/>
              </a:buClr>
              <a:buFont typeface="Arial"/>
              <a:buChar char="•"/>
              <a:tabLst>
                <a:tab algn="l" pos="361800"/>
              </a:tabLst>
            </a:pPr>
            <a:r>
              <a:rPr b="0" lang="de-DE" sz="1800" spc="-1" strike="noStrike">
                <a:solidFill>
                  <a:schemeClr val="dk1"/>
                </a:solidFill>
                <a:latin typeface="Arial"/>
                <a:ea typeface="Arial"/>
              </a:rPr>
              <a:t>Mastertextformat bearbeiten</a:t>
            </a:r>
            <a:endParaRPr b="0" lang="en-US" sz="1800" spc="-1" strike="noStrike">
              <a:solidFill>
                <a:schemeClr val="dk1"/>
              </a:solidFill>
              <a:latin typeface="Arial"/>
            </a:endParaRPr>
          </a:p>
          <a:p>
            <a:pPr lvl="1" marL="628560" indent="-266760" defTabSz="914400">
              <a:lnSpc>
                <a:spcPct val="110000"/>
              </a:lnSpc>
              <a:spcAft>
                <a:spcPts val="1199"/>
              </a:spcAft>
              <a:buClr>
                <a:srgbClr val="000000"/>
              </a:buClr>
              <a:buFont typeface="Arial"/>
              <a:buChar char="•"/>
              <a:tabLst>
                <a:tab algn="l" pos="361800"/>
              </a:tabLst>
            </a:pPr>
            <a:r>
              <a:rPr b="0" lang="de-DE" sz="1800" spc="-1" strike="noStrike">
                <a:solidFill>
                  <a:schemeClr val="dk1"/>
                </a:solidFill>
                <a:latin typeface="Arial"/>
                <a:ea typeface="Arial"/>
              </a:rPr>
              <a:t>Zweite Ebene</a:t>
            </a:r>
            <a:endParaRPr b="0" lang="en-US" sz="1800" spc="-1" strike="noStrike">
              <a:solidFill>
                <a:schemeClr val="dk1"/>
              </a:solidFill>
              <a:latin typeface="Arial"/>
            </a:endParaRPr>
          </a:p>
          <a:p>
            <a:pPr lvl="2" marL="895320" indent="-266760" defTabSz="914400">
              <a:lnSpc>
                <a:spcPct val="110000"/>
              </a:lnSpc>
              <a:spcAft>
                <a:spcPts val="1199"/>
              </a:spcAft>
              <a:buClr>
                <a:srgbClr val="000000"/>
              </a:buClr>
              <a:buFont typeface="Arial"/>
              <a:buChar char="•"/>
              <a:tabLst>
                <a:tab algn="l" pos="361800"/>
              </a:tabLst>
            </a:pPr>
            <a:r>
              <a:rPr b="0" lang="de-DE" sz="1800" spc="-1" strike="noStrike">
                <a:solidFill>
                  <a:schemeClr val="dk1"/>
                </a:solidFill>
                <a:latin typeface="Arial"/>
                <a:ea typeface="Arial"/>
              </a:rPr>
              <a:t>Dritte Ebene</a:t>
            </a:r>
            <a:endParaRPr b="0" lang="en-US" sz="1800" spc="-1" strike="noStrike">
              <a:solidFill>
                <a:schemeClr val="dk1"/>
              </a:solidFill>
              <a:latin typeface="Arial"/>
            </a:endParaRPr>
          </a:p>
          <a:p>
            <a:pPr lvl="3" marL="1162080" indent="-266760" defTabSz="914400">
              <a:lnSpc>
                <a:spcPct val="110000"/>
              </a:lnSpc>
              <a:spcAft>
                <a:spcPts val="1199"/>
              </a:spcAft>
              <a:buClr>
                <a:srgbClr val="000000"/>
              </a:buClr>
              <a:buFont typeface="Arial"/>
              <a:buChar char="•"/>
              <a:tabLst>
                <a:tab algn="l" pos="361800"/>
              </a:tabLst>
            </a:pPr>
            <a:r>
              <a:rPr b="0" lang="de-DE" sz="1800" spc="-1" strike="noStrike">
                <a:solidFill>
                  <a:schemeClr val="dk1"/>
                </a:solidFill>
                <a:latin typeface="Arial"/>
                <a:ea typeface="Arial"/>
              </a:rPr>
              <a:t>Vierte Ebene</a:t>
            </a:r>
            <a:endParaRPr b="0" lang="en-US" sz="1800" spc="-1" strike="noStrike">
              <a:solidFill>
                <a:schemeClr val="dk1"/>
              </a:solidFill>
              <a:latin typeface="Arial"/>
            </a:endParaRPr>
          </a:p>
          <a:p>
            <a:pPr lvl="4" marL="1438200" indent="-276120" defTabSz="914400">
              <a:lnSpc>
                <a:spcPct val="110000"/>
              </a:lnSpc>
              <a:spcAft>
                <a:spcPts val="1199"/>
              </a:spcAft>
              <a:buClr>
                <a:srgbClr val="000000"/>
              </a:buClr>
              <a:buFont typeface="Arial"/>
              <a:buChar char="•"/>
              <a:tabLst>
                <a:tab algn="l" pos="361800"/>
              </a:tabLst>
            </a:pPr>
            <a:r>
              <a:rPr b="0" lang="de-DE" sz="1800" spc="-1" strike="noStrike">
                <a:solidFill>
                  <a:schemeClr val="dk1"/>
                </a:solidFill>
                <a:latin typeface="Arial"/>
                <a:ea typeface="Arial"/>
              </a:rPr>
              <a:t>Fünfte Ebene</a:t>
            </a:r>
            <a:endParaRPr b="0" lang="en-US" sz="1800" spc="-1" strike="noStrike">
              <a:solidFill>
                <a:schemeClr val="dk1"/>
              </a:solidFill>
              <a:latin typeface="Arial"/>
            </a:endParaRPr>
          </a:p>
        </p:txBody>
      </p:sp>
      <p:sp>
        <p:nvSpPr>
          <p:cNvPr id="259" name="PlaceHolder 5"/>
          <p:cNvSpPr>
            <a:spLocks noGrp="1"/>
          </p:cNvSpPr>
          <p:nvPr>
            <p:ph type="body"/>
          </p:nvPr>
        </p:nvSpPr>
        <p:spPr>
          <a:xfrm>
            <a:off x="407880" y="3963600"/>
            <a:ext cx="5616360" cy="2454120"/>
          </a:xfrm>
          <a:prstGeom prst="rect">
            <a:avLst/>
          </a:prstGeom>
          <a:noFill/>
          <a:ln w="0">
            <a:noFill/>
          </a:ln>
        </p:spPr>
        <p:txBody>
          <a:bodyPr lIns="0" rIns="0" tIns="0" bIns="0" anchor="t">
            <a:noAutofit/>
          </a:bodyPr>
          <a:p>
            <a:pPr marL="361800" indent="-361800" defTabSz="914400">
              <a:lnSpc>
                <a:spcPct val="110000"/>
              </a:lnSpc>
              <a:spcAft>
                <a:spcPts val="1199"/>
              </a:spcAft>
              <a:buClr>
                <a:srgbClr val="000000"/>
              </a:buClr>
              <a:buFont typeface="Arial"/>
              <a:buChar char="•"/>
              <a:tabLst>
                <a:tab algn="l" pos="361800"/>
              </a:tabLst>
            </a:pPr>
            <a:r>
              <a:rPr b="0" lang="de-DE" sz="1800" spc="-1" strike="noStrike">
                <a:solidFill>
                  <a:schemeClr val="dk1"/>
                </a:solidFill>
                <a:latin typeface="Arial"/>
                <a:ea typeface="Arial"/>
              </a:rPr>
              <a:t>Mastertextformat bearbeiten</a:t>
            </a:r>
            <a:endParaRPr b="0" lang="en-US" sz="1800" spc="-1" strike="noStrike">
              <a:solidFill>
                <a:schemeClr val="dk1"/>
              </a:solidFill>
              <a:latin typeface="Arial"/>
            </a:endParaRPr>
          </a:p>
          <a:p>
            <a:pPr lvl="1" marL="628560" indent="-266760" defTabSz="914400">
              <a:lnSpc>
                <a:spcPct val="110000"/>
              </a:lnSpc>
              <a:spcAft>
                <a:spcPts val="1199"/>
              </a:spcAft>
              <a:buClr>
                <a:srgbClr val="000000"/>
              </a:buClr>
              <a:buFont typeface="Arial"/>
              <a:buChar char="•"/>
              <a:tabLst>
                <a:tab algn="l" pos="361800"/>
              </a:tabLst>
            </a:pPr>
            <a:r>
              <a:rPr b="0" lang="de-DE" sz="1800" spc="-1" strike="noStrike">
                <a:solidFill>
                  <a:schemeClr val="dk1"/>
                </a:solidFill>
                <a:latin typeface="Arial"/>
                <a:ea typeface="Arial"/>
              </a:rPr>
              <a:t>Zweite Ebene</a:t>
            </a:r>
            <a:endParaRPr b="0" lang="en-US" sz="1800" spc="-1" strike="noStrike">
              <a:solidFill>
                <a:schemeClr val="dk1"/>
              </a:solidFill>
              <a:latin typeface="Arial"/>
            </a:endParaRPr>
          </a:p>
          <a:p>
            <a:pPr lvl="2" marL="895320" indent="-266760" defTabSz="914400">
              <a:lnSpc>
                <a:spcPct val="110000"/>
              </a:lnSpc>
              <a:spcAft>
                <a:spcPts val="1199"/>
              </a:spcAft>
              <a:buClr>
                <a:srgbClr val="000000"/>
              </a:buClr>
              <a:buFont typeface="Arial"/>
              <a:buChar char="•"/>
              <a:tabLst>
                <a:tab algn="l" pos="361800"/>
              </a:tabLst>
            </a:pPr>
            <a:r>
              <a:rPr b="0" lang="de-DE" sz="1800" spc="-1" strike="noStrike">
                <a:solidFill>
                  <a:schemeClr val="dk1"/>
                </a:solidFill>
                <a:latin typeface="Arial"/>
                <a:ea typeface="Arial"/>
              </a:rPr>
              <a:t>Dritte Ebene</a:t>
            </a:r>
            <a:endParaRPr b="0" lang="en-US" sz="1800" spc="-1" strike="noStrike">
              <a:solidFill>
                <a:schemeClr val="dk1"/>
              </a:solidFill>
              <a:latin typeface="Arial"/>
            </a:endParaRPr>
          </a:p>
          <a:p>
            <a:pPr lvl="3" marL="1162080" indent="-266760" defTabSz="914400">
              <a:lnSpc>
                <a:spcPct val="110000"/>
              </a:lnSpc>
              <a:spcAft>
                <a:spcPts val="1199"/>
              </a:spcAft>
              <a:buClr>
                <a:srgbClr val="000000"/>
              </a:buClr>
              <a:buFont typeface="Arial"/>
              <a:buChar char="•"/>
              <a:tabLst>
                <a:tab algn="l" pos="361800"/>
              </a:tabLst>
            </a:pPr>
            <a:r>
              <a:rPr b="0" lang="de-DE" sz="1800" spc="-1" strike="noStrike">
                <a:solidFill>
                  <a:schemeClr val="dk1"/>
                </a:solidFill>
                <a:latin typeface="Arial"/>
                <a:ea typeface="Arial"/>
              </a:rPr>
              <a:t>Vierte Ebene</a:t>
            </a:r>
            <a:endParaRPr b="0" lang="en-US" sz="1800" spc="-1" strike="noStrike">
              <a:solidFill>
                <a:schemeClr val="dk1"/>
              </a:solidFill>
              <a:latin typeface="Arial"/>
            </a:endParaRPr>
          </a:p>
          <a:p>
            <a:pPr lvl="4" marL="1438200" indent="-276120" defTabSz="914400">
              <a:lnSpc>
                <a:spcPct val="110000"/>
              </a:lnSpc>
              <a:spcAft>
                <a:spcPts val="1199"/>
              </a:spcAft>
              <a:buClr>
                <a:srgbClr val="000000"/>
              </a:buClr>
              <a:buFont typeface="Arial"/>
              <a:buChar char="•"/>
              <a:tabLst>
                <a:tab algn="l" pos="361800"/>
              </a:tabLst>
            </a:pPr>
            <a:r>
              <a:rPr b="0" lang="de-DE" sz="1800" spc="-1" strike="noStrike">
                <a:solidFill>
                  <a:schemeClr val="dk1"/>
                </a:solidFill>
                <a:latin typeface="Arial"/>
                <a:ea typeface="Arial"/>
              </a:rPr>
              <a:t>Fünfte Ebene</a:t>
            </a:r>
            <a:endParaRPr b="0" lang="en-US" sz="1800" spc="-1" strike="noStrike">
              <a:solidFill>
                <a:schemeClr val="dk1"/>
              </a:solidFill>
              <a:latin typeface="Arial"/>
            </a:endParaRPr>
          </a:p>
        </p:txBody>
      </p:sp>
      <p:sp>
        <p:nvSpPr>
          <p:cNvPr id="260" name="PlaceHolder 6"/>
          <p:cNvSpPr>
            <a:spLocks noGrp="1"/>
          </p:cNvSpPr>
          <p:nvPr>
            <p:ph type="body"/>
          </p:nvPr>
        </p:nvSpPr>
        <p:spPr>
          <a:xfrm>
            <a:off x="6167520" y="1449360"/>
            <a:ext cx="5616360" cy="2410920"/>
          </a:xfrm>
          <a:prstGeom prst="rect">
            <a:avLst/>
          </a:prstGeom>
          <a:solidFill>
            <a:schemeClr val="lt1">
              <a:lumMod val="95000"/>
            </a:schemeClr>
          </a:solidFill>
          <a:ln w="0">
            <a:noFill/>
          </a:ln>
        </p:spPr>
        <p:txBody>
          <a:bodyPr lIns="72000" rIns="72000" tIns="36000" bIns="36000" anchor="t">
            <a:noAutofit/>
          </a:bodyPr>
          <a:p>
            <a:pPr indent="0" defTabSz="914400">
              <a:lnSpc>
                <a:spcPct val="110000"/>
              </a:lnSpc>
              <a:spcAft>
                <a:spcPts val="1199"/>
              </a:spcAft>
              <a:buNone/>
              <a:tabLst>
                <a:tab algn="l" pos="0"/>
              </a:tabLst>
            </a:pPr>
            <a:r>
              <a:rPr b="0" lang="de-DE" sz="1800" spc="-1" strike="noStrike">
                <a:solidFill>
                  <a:schemeClr val="dk1"/>
                </a:solidFill>
                <a:latin typeface="Arial"/>
                <a:ea typeface="Arial"/>
              </a:rPr>
              <a:t>Mastertextformat bearbeiten</a:t>
            </a:r>
            <a:endParaRPr b="0" lang="en-US" sz="1800" spc="-1" strike="noStrike">
              <a:solidFill>
                <a:schemeClr val="dk1"/>
              </a:solidFill>
              <a:latin typeface="Arial"/>
            </a:endParaRPr>
          </a:p>
        </p:txBody>
      </p:sp>
      <p:sp>
        <p:nvSpPr>
          <p:cNvPr id="261" name="PlaceHolder 7"/>
          <p:cNvSpPr>
            <a:spLocks noGrp="1"/>
          </p:cNvSpPr>
          <p:nvPr>
            <p:ph type="body"/>
          </p:nvPr>
        </p:nvSpPr>
        <p:spPr>
          <a:xfrm>
            <a:off x="6167520" y="4005360"/>
            <a:ext cx="5616360" cy="2410920"/>
          </a:xfrm>
          <a:prstGeom prst="rect">
            <a:avLst/>
          </a:prstGeom>
          <a:solidFill>
            <a:schemeClr val="lt1">
              <a:lumMod val="95000"/>
            </a:schemeClr>
          </a:solidFill>
          <a:ln w="0">
            <a:noFill/>
          </a:ln>
        </p:spPr>
        <p:txBody>
          <a:bodyPr lIns="72000" rIns="72000" tIns="36000" bIns="36000" anchor="t">
            <a:noAutofit/>
          </a:bodyPr>
          <a:p>
            <a:pPr indent="0" defTabSz="914400">
              <a:lnSpc>
                <a:spcPct val="110000"/>
              </a:lnSpc>
              <a:spcAft>
                <a:spcPts val="1199"/>
              </a:spcAft>
              <a:buNone/>
              <a:tabLst>
                <a:tab algn="l" pos="0"/>
              </a:tabLst>
            </a:pPr>
            <a:r>
              <a:rPr b="0" lang="de-DE" sz="1800" spc="-1" strike="noStrike">
                <a:solidFill>
                  <a:schemeClr val="dk1"/>
                </a:solidFill>
                <a:latin typeface="Arial"/>
                <a:ea typeface="Arial"/>
              </a:rPr>
              <a:t>Mastertextformat bearbeiten</a:t>
            </a:r>
            <a:endParaRPr b="0" lang="en-US" sz="1800" spc="-1" strike="noStrike">
              <a:solidFill>
                <a:schemeClr val="dk1"/>
              </a:solidFill>
              <a:latin typeface="Arial"/>
            </a:endParaRPr>
          </a:p>
        </p:txBody>
      </p:sp>
    </p:spTree>
  </p:cSld>
  <p:clrMap bg1="lt1" tx1="dk1" bg2="lt2" tx2="dk2" accent1="accent1" accent2="accent2" accent3="accent3" accent4="accent4" accent5="accent5" accent6="accent6" hlink="hlink" folHlink="folHlink"/>
  <p:sldLayoutIdLst>
    <p:sldLayoutId id="2147483725" r:id="rId3"/>
  </p:sldLayoutIdLst>
</p:sldMaster>
</file>

<file path=ppt/slideMasters/slideMaster4.xml><?xml version="1.0" encoding="utf-8"?>
<p:sldMaster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p:cSld>
    <p:bg>
      <p:bgPr>
        <a:solidFill>
          <a:srgbClr val="002060"/>
        </a:solidFill>
      </p:bgPr>
    </p:bg>
    <p:spTree>
      <p:nvGrpSpPr>
        <p:cNvPr id="1" name=""/>
        <p:cNvGrpSpPr/>
        <p:nvPr/>
      </p:nvGrpSpPr>
      <p:grpSpPr>
        <a:xfrm>
          <a:off x="0" y="0"/>
          <a:ext cx="0" cy="0"/>
          <a:chOff x="0" y="0"/>
          <a:chExt cx="0" cy="0"/>
        </a:xfrm>
      </p:grpSpPr>
      <p:sp>
        <p:nvSpPr>
          <p:cNvPr id="24" name="Textfeld 13"/>
          <p:cNvSpPr/>
          <p:nvPr/>
        </p:nvSpPr>
        <p:spPr>
          <a:xfrm>
            <a:off x="10848600" y="6580800"/>
            <a:ext cx="935280" cy="186480"/>
          </a:xfrm>
          <a:prstGeom prst="rect">
            <a:avLst/>
          </a:prstGeom>
          <a:noFill/>
          <a:ln w="0">
            <a:noFill/>
          </a:ln>
        </p:spPr>
        <p:style>
          <a:lnRef idx="0"/>
          <a:fillRef idx="0"/>
          <a:effectRef idx="0"/>
          <a:fontRef idx="minor"/>
        </p:style>
        <p:txBody>
          <a:bodyPr lIns="0" rIns="0" tIns="0" bIns="0" anchor="t">
            <a:noAutofit/>
          </a:bodyPr>
          <a:p>
            <a:pPr algn="r" defTabSz="457200">
              <a:lnSpc>
                <a:spcPct val="100000"/>
              </a:lnSpc>
            </a:pPr>
            <a:r>
              <a:rPr b="1" lang="de-DE" sz="1100" spc="-1" strike="noStrike">
                <a:solidFill>
                  <a:schemeClr val="dk1"/>
                </a:solidFill>
                <a:latin typeface="Arial"/>
                <a:ea typeface="Arial"/>
              </a:rPr>
              <a:t>Seite </a:t>
            </a:r>
            <a:fld id="{FD885C95-67C0-4945-A6AD-2256C49D25B1}" type="slidenum">
              <a:rPr b="1" lang="de-DE" sz="1100" spc="-1" strike="noStrike">
                <a:solidFill>
                  <a:schemeClr val="dk1"/>
                </a:solidFill>
                <a:latin typeface="Arial"/>
                <a:ea typeface="Arial"/>
              </a:rPr>
              <a:t>&lt;number&gt;</a:t>
            </a:fld>
            <a:endParaRPr b="0" lang="en-US" sz="1100" spc="-1" strike="noStrike">
              <a:solidFill>
                <a:srgbClr val="ffffff"/>
              </a:solidFill>
              <a:latin typeface="Calibri"/>
            </a:endParaRPr>
          </a:p>
        </p:txBody>
      </p:sp>
      <p:pic>
        <p:nvPicPr>
          <p:cNvPr id="25" name="Grafik 6" descr=""/>
          <p:cNvPicPr/>
          <p:nvPr/>
        </p:nvPicPr>
        <p:blipFill>
          <a:blip r:embed="rId2"/>
          <a:stretch/>
        </p:blipFill>
        <p:spPr>
          <a:xfrm>
            <a:off x="403200" y="6613920"/>
            <a:ext cx="325080" cy="100440"/>
          </a:xfrm>
          <a:prstGeom prst="rect">
            <a:avLst/>
          </a:prstGeom>
          <a:ln w="0">
            <a:noFill/>
          </a:ln>
        </p:spPr>
      </p:pic>
      <p:sp>
        <p:nvSpPr>
          <p:cNvPr id="26" name="PlaceHolder 1"/>
          <p:cNvSpPr>
            <a:spLocks noGrp="1"/>
          </p:cNvSpPr>
          <p:nvPr>
            <p:ph type="title"/>
          </p:nvPr>
        </p:nvSpPr>
        <p:spPr>
          <a:xfrm>
            <a:off x="407880" y="349560"/>
            <a:ext cx="11375640" cy="450720"/>
          </a:xfrm>
          <a:prstGeom prst="rect">
            <a:avLst/>
          </a:prstGeom>
          <a:noFill/>
          <a:ln w="0">
            <a:noFill/>
          </a:ln>
        </p:spPr>
        <p:txBody>
          <a:bodyPr lIns="0" rIns="0" tIns="0" bIns="0" anchor="t">
            <a:noAutofit/>
          </a:bodyPr>
          <a:p>
            <a:pPr indent="0" defTabSz="914400">
              <a:lnSpc>
                <a:spcPct val="90000"/>
              </a:lnSpc>
              <a:buNone/>
            </a:pPr>
            <a:r>
              <a:rPr b="1" lang="de-DE" sz="3000" spc="-1" strike="noStrike">
                <a:solidFill>
                  <a:schemeClr val="accent1"/>
                </a:solidFill>
                <a:latin typeface="Arial"/>
                <a:ea typeface="Arial"/>
              </a:rPr>
              <a:t>Mastertitelformat bearbeiten</a:t>
            </a:r>
            <a:endParaRPr b="0" lang="en-US" sz="3000" spc="-1" strike="noStrike">
              <a:solidFill>
                <a:schemeClr val="dk1"/>
              </a:solidFill>
              <a:latin typeface="Arial"/>
            </a:endParaRPr>
          </a:p>
        </p:txBody>
      </p:sp>
      <p:sp>
        <p:nvSpPr>
          <p:cNvPr id="27" name="PlaceHolder 2"/>
          <p:cNvSpPr>
            <a:spLocks noGrp="1"/>
          </p:cNvSpPr>
          <p:nvPr>
            <p:ph type="ftr" idx="3"/>
          </p:nvPr>
        </p:nvSpPr>
        <p:spPr>
          <a:xfrm>
            <a:off x="791640" y="6580800"/>
            <a:ext cx="9948600" cy="186480"/>
          </a:xfrm>
          <a:prstGeom prst="rect">
            <a:avLst/>
          </a:prstGeom>
          <a:noFill/>
          <a:ln w="0">
            <a:noFill/>
          </a:ln>
        </p:spPr>
        <p:txBody>
          <a:bodyPr lIns="0" rIns="0" tIns="0" bIns="0" anchor="t">
            <a:noAutofit/>
          </a:bodyPr>
          <a:lstStyle>
            <a:lvl1pPr indent="0" defTabSz="457200">
              <a:lnSpc>
                <a:spcPct val="100000"/>
              </a:lnSpc>
              <a:buNone/>
              <a:defRPr b="0" lang="pt-BR" sz="1100" spc="-1" strike="noStrike">
                <a:solidFill>
                  <a:schemeClr val="lt1"/>
                </a:solidFill>
                <a:latin typeface="Arial"/>
                <a:ea typeface="Arial"/>
              </a:defRPr>
            </a:lvl1pPr>
          </a:lstStyle>
          <a:p>
            <a:pPr indent="0" defTabSz="457200">
              <a:lnSpc>
                <a:spcPct val="100000"/>
              </a:lnSpc>
              <a:buNone/>
            </a:pPr>
            <a:r>
              <a:rPr b="0" lang="pt-BR" sz="1100" spc="-1" strike="noStrike">
                <a:solidFill>
                  <a:schemeClr val="lt1"/>
                </a:solidFill>
                <a:latin typeface="Arial"/>
                <a:ea typeface="Arial"/>
              </a:rPr>
              <a:t>&lt;footer&gt;</a:t>
            </a:r>
            <a:endParaRPr b="0" lang="en-US" sz="1100" spc="-1" strike="noStrike">
              <a:solidFill>
                <a:srgbClr val="ffffff"/>
              </a:solidFill>
              <a:latin typeface="Calibri"/>
            </a:endParaRPr>
          </a:p>
        </p:txBody>
      </p:sp>
      <p:sp>
        <p:nvSpPr>
          <p:cNvPr id="28" name="PlaceHolder 3"/>
          <p:cNvSpPr>
            <a:spLocks noGrp="1"/>
          </p:cNvSpPr>
          <p:nvPr>
            <p:ph type="body"/>
          </p:nvPr>
        </p:nvSpPr>
        <p:spPr>
          <a:xfrm>
            <a:off x="407880" y="817560"/>
            <a:ext cx="11375640" cy="378720"/>
          </a:xfrm>
          <a:prstGeom prst="rect">
            <a:avLst/>
          </a:prstGeom>
          <a:noFill/>
          <a:ln w="0">
            <a:noFill/>
          </a:ln>
        </p:spPr>
        <p:txBody>
          <a:bodyPr lIns="0" rIns="0" tIns="0" bIns="0" anchor="t">
            <a:noAutofit/>
          </a:bodyPr>
          <a:p>
            <a:pPr indent="0" defTabSz="914400">
              <a:lnSpc>
                <a:spcPct val="110000"/>
              </a:lnSpc>
              <a:buNone/>
              <a:tabLst>
                <a:tab algn="l" pos="0"/>
              </a:tabLst>
            </a:pPr>
            <a:r>
              <a:rPr b="1" lang="de-DE" sz="1800" spc="-1" strike="noStrike">
                <a:solidFill>
                  <a:schemeClr val="accent2"/>
                </a:solidFill>
                <a:latin typeface="Arial"/>
                <a:ea typeface="Arial"/>
              </a:rPr>
              <a:t>Unterüberschrift</a:t>
            </a:r>
            <a:endParaRPr b="0" lang="en-US" sz="1800" spc="-1" strike="noStrike">
              <a:solidFill>
                <a:schemeClr val="lt1"/>
              </a:solidFill>
              <a:latin typeface="Arial"/>
            </a:endParaRPr>
          </a:p>
        </p:txBody>
      </p:sp>
      <p:sp>
        <p:nvSpPr>
          <p:cNvPr id="29" name="PlaceHolder 4"/>
          <p:cNvSpPr>
            <a:spLocks noGrp="1"/>
          </p:cNvSpPr>
          <p:nvPr>
            <p:ph type="body"/>
          </p:nvPr>
        </p:nvSpPr>
        <p:spPr>
          <a:xfrm>
            <a:off x="407880" y="1406520"/>
            <a:ext cx="3708000" cy="2454120"/>
          </a:xfrm>
          <a:prstGeom prst="rect">
            <a:avLst/>
          </a:prstGeom>
          <a:noFill/>
          <a:ln w="0">
            <a:noFill/>
          </a:ln>
        </p:spPr>
        <p:txBody>
          <a:bodyPr lIns="0" rIns="0" tIns="0" bIns="0" anchor="t">
            <a:noAutofit/>
          </a:bodyPr>
          <a:p>
            <a:pPr marL="361800" indent="-361800" defTabSz="914400">
              <a:lnSpc>
                <a:spcPct val="110000"/>
              </a:lnSpc>
              <a:spcAft>
                <a:spcPts val="1199"/>
              </a:spcAft>
              <a:buClr>
                <a:srgbClr val="ffffff"/>
              </a:buClr>
              <a:buFont typeface="Arial"/>
              <a:buChar char="•"/>
              <a:tabLst>
                <a:tab algn="l" pos="361800"/>
              </a:tabLst>
            </a:pPr>
            <a:r>
              <a:rPr b="0" lang="de-DE" sz="1800" spc="-1" strike="noStrike">
                <a:solidFill>
                  <a:schemeClr val="lt1"/>
                </a:solidFill>
                <a:latin typeface="Arial"/>
                <a:ea typeface="Arial"/>
              </a:rPr>
              <a:t>Mastertextformat bearbeiten</a:t>
            </a:r>
            <a:endParaRPr b="0" lang="en-US" sz="1800" spc="-1" strike="noStrike">
              <a:solidFill>
                <a:schemeClr val="lt1"/>
              </a:solidFill>
              <a:latin typeface="Arial"/>
            </a:endParaRPr>
          </a:p>
          <a:p>
            <a:pPr lvl="1" marL="628560" indent="-266760" defTabSz="914400">
              <a:lnSpc>
                <a:spcPct val="110000"/>
              </a:lnSpc>
              <a:spcAft>
                <a:spcPts val="1199"/>
              </a:spcAft>
              <a:buClr>
                <a:srgbClr val="ffffff"/>
              </a:buClr>
              <a:buFont typeface="Arial"/>
              <a:buChar char="•"/>
              <a:tabLst>
                <a:tab algn="l" pos="361800"/>
              </a:tabLst>
            </a:pPr>
            <a:r>
              <a:rPr b="0" lang="de-DE" sz="1800" spc="-1" strike="noStrike">
                <a:solidFill>
                  <a:schemeClr val="lt1"/>
                </a:solidFill>
                <a:latin typeface="Arial"/>
                <a:ea typeface="Arial"/>
              </a:rPr>
              <a:t>Zweite Ebene</a:t>
            </a:r>
            <a:endParaRPr b="0" lang="en-US" sz="1800" spc="-1" strike="noStrike">
              <a:solidFill>
                <a:schemeClr val="lt1"/>
              </a:solidFill>
              <a:latin typeface="Arial"/>
            </a:endParaRPr>
          </a:p>
          <a:p>
            <a:pPr lvl="2" marL="895320" indent="-266760" defTabSz="914400">
              <a:lnSpc>
                <a:spcPct val="110000"/>
              </a:lnSpc>
              <a:spcAft>
                <a:spcPts val="1199"/>
              </a:spcAft>
              <a:buClr>
                <a:srgbClr val="ffffff"/>
              </a:buClr>
              <a:buFont typeface="Arial"/>
              <a:buChar char="•"/>
              <a:tabLst>
                <a:tab algn="l" pos="361800"/>
              </a:tabLst>
            </a:pPr>
            <a:r>
              <a:rPr b="0" lang="de-DE" sz="1800" spc="-1" strike="noStrike">
                <a:solidFill>
                  <a:schemeClr val="lt1"/>
                </a:solidFill>
                <a:latin typeface="Arial"/>
                <a:ea typeface="Arial"/>
              </a:rPr>
              <a:t>Dritte Ebene</a:t>
            </a:r>
            <a:endParaRPr b="0" lang="en-US" sz="1800" spc="-1" strike="noStrike">
              <a:solidFill>
                <a:schemeClr val="lt1"/>
              </a:solidFill>
              <a:latin typeface="Arial"/>
            </a:endParaRPr>
          </a:p>
          <a:p>
            <a:pPr lvl="3" marL="1162080" indent="-266760" defTabSz="914400">
              <a:lnSpc>
                <a:spcPct val="110000"/>
              </a:lnSpc>
              <a:spcAft>
                <a:spcPts val="1199"/>
              </a:spcAft>
              <a:buClr>
                <a:srgbClr val="ffffff"/>
              </a:buClr>
              <a:buFont typeface="Arial"/>
              <a:buChar char="•"/>
              <a:tabLst>
                <a:tab algn="l" pos="361800"/>
              </a:tabLst>
            </a:pPr>
            <a:r>
              <a:rPr b="0" lang="de-DE" sz="1800" spc="-1" strike="noStrike">
                <a:solidFill>
                  <a:schemeClr val="lt1"/>
                </a:solidFill>
                <a:latin typeface="Arial"/>
                <a:ea typeface="Arial"/>
              </a:rPr>
              <a:t>Vierte Ebene</a:t>
            </a:r>
            <a:endParaRPr b="0" lang="en-US" sz="1800" spc="-1" strike="noStrike">
              <a:solidFill>
                <a:schemeClr val="lt1"/>
              </a:solidFill>
              <a:latin typeface="Arial"/>
            </a:endParaRPr>
          </a:p>
          <a:p>
            <a:pPr lvl="4" marL="1438200" indent="-276120" defTabSz="914400">
              <a:lnSpc>
                <a:spcPct val="110000"/>
              </a:lnSpc>
              <a:spcAft>
                <a:spcPts val="1199"/>
              </a:spcAft>
              <a:buClr>
                <a:srgbClr val="ffffff"/>
              </a:buClr>
              <a:buFont typeface="Arial"/>
              <a:buChar char="•"/>
              <a:tabLst>
                <a:tab algn="l" pos="361800"/>
              </a:tabLst>
            </a:pPr>
            <a:r>
              <a:rPr b="0" lang="de-DE" sz="1800" spc="-1" strike="noStrike">
                <a:solidFill>
                  <a:schemeClr val="lt1"/>
                </a:solidFill>
                <a:latin typeface="Arial"/>
                <a:ea typeface="Arial"/>
              </a:rPr>
              <a:t>Fünfte Ebene</a:t>
            </a:r>
            <a:endParaRPr b="0" lang="en-US" sz="1800" spc="-1" strike="noStrike">
              <a:solidFill>
                <a:schemeClr val="lt1"/>
              </a:solidFill>
              <a:latin typeface="Arial"/>
            </a:endParaRPr>
          </a:p>
        </p:txBody>
      </p:sp>
      <p:sp>
        <p:nvSpPr>
          <p:cNvPr id="30" name="PlaceHolder 5"/>
          <p:cNvSpPr>
            <a:spLocks noGrp="1"/>
          </p:cNvSpPr>
          <p:nvPr>
            <p:ph type="body"/>
          </p:nvPr>
        </p:nvSpPr>
        <p:spPr>
          <a:xfrm>
            <a:off x="407880" y="3963600"/>
            <a:ext cx="3708000" cy="2454120"/>
          </a:xfrm>
          <a:prstGeom prst="rect">
            <a:avLst/>
          </a:prstGeom>
          <a:noFill/>
          <a:ln w="0">
            <a:noFill/>
          </a:ln>
        </p:spPr>
        <p:txBody>
          <a:bodyPr lIns="0" rIns="0" tIns="0" bIns="0" anchor="t">
            <a:noAutofit/>
          </a:bodyPr>
          <a:p>
            <a:pPr marL="361800" indent="-361800" defTabSz="914400">
              <a:lnSpc>
                <a:spcPct val="110000"/>
              </a:lnSpc>
              <a:spcAft>
                <a:spcPts val="1199"/>
              </a:spcAft>
              <a:buClr>
                <a:srgbClr val="ffffff"/>
              </a:buClr>
              <a:buFont typeface="Arial"/>
              <a:buChar char="•"/>
              <a:tabLst>
                <a:tab algn="l" pos="361800"/>
              </a:tabLst>
            </a:pPr>
            <a:r>
              <a:rPr b="0" lang="de-DE" sz="1800" spc="-1" strike="noStrike">
                <a:solidFill>
                  <a:schemeClr val="lt1"/>
                </a:solidFill>
                <a:latin typeface="Arial"/>
                <a:ea typeface="Arial"/>
              </a:rPr>
              <a:t>Mastertextformat bearbeiten</a:t>
            </a:r>
            <a:endParaRPr b="0" lang="en-US" sz="1800" spc="-1" strike="noStrike">
              <a:solidFill>
                <a:schemeClr val="lt1"/>
              </a:solidFill>
              <a:latin typeface="Arial"/>
            </a:endParaRPr>
          </a:p>
          <a:p>
            <a:pPr lvl="1" marL="628560" indent="-266760" defTabSz="914400">
              <a:lnSpc>
                <a:spcPct val="110000"/>
              </a:lnSpc>
              <a:spcAft>
                <a:spcPts val="1199"/>
              </a:spcAft>
              <a:buClr>
                <a:srgbClr val="ffffff"/>
              </a:buClr>
              <a:buFont typeface="Arial"/>
              <a:buChar char="•"/>
              <a:tabLst>
                <a:tab algn="l" pos="361800"/>
              </a:tabLst>
            </a:pPr>
            <a:r>
              <a:rPr b="0" lang="de-DE" sz="1800" spc="-1" strike="noStrike">
                <a:solidFill>
                  <a:schemeClr val="lt1"/>
                </a:solidFill>
                <a:latin typeface="Arial"/>
                <a:ea typeface="Arial"/>
              </a:rPr>
              <a:t>Zweite Ebene</a:t>
            </a:r>
            <a:endParaRPr b="0" lang="en-US" sz="1800" spc="-1" strike="noStrike">
              <a:solidFill>
                <a:schemeClr val="lt1"/>
              </a:solidFill>
              <a:latin typeface="Arial"/>
            </a:endParaRPr>
          </a:p>
          <a:p>
            <a:pPr lvl="2" marL="895320" indent="-266760" defTabSz="914400">
              <a:lnSpc>
                <a:spcPct val="110000"/>
              </a:lnSpc>
              <a:spcAft>
                <a:spcPts val="1199"/>
              </a:spcAft>
              <a:buClr>
                <a:srgbClr val="ffffff"/>
              </a:buClr>
              <a:buFont typeface="Arial"/>
              <a:buChar char="•"/>
              <a:tabLst>
                <a:tab algn="l" pos="361800"/>
              </a:tabLst>
            </a:pPr>
            <a:r>
              <a:rPr b="0" lang="de-DE" sz="1800" spc="-1" strike="noStrike">
                <a:solidFill>
                  <a:schemeClr val="lt1"/>
                </a:solidFill>
                <a:latin typeface="Arial"/>
                <a:ea typeface="Arial"/>
              </a:rPr>
              <a:t>Dritte Ebene</a:t>
            </a:r>
            <a:endParaRPr b="0" lang="en-US" sz="1800" spc="-1" strike="noStrike">
              <a:solidFill>
                <a:schemeClr val="lt1"/>
              </a:solidFill>
              <a:latin typeface="Arial"/>
            </a:endParaRPr>
          </a:p>
          <a:p>
            <a:pPr lvl="3" marL="1162080" indent="-266760" defTabSz="914400">
              <a:lnSpc>
                <a:spcPct val="110000"/>
              </a:lnSpc>
              <a:spcAft>
                <a:spcPts val="1199"/>
              </a:spcAft>
              <a:buClr>
                <a:srgbClr val="ffffff"/>
              </a:buClr>
              <a:buFont typeface="Arial"/>
              <a:buChar char="•"/>
              <a:tabLst>
                <a:tab algn="l" pos="361800"/>
              </a:tabLst>
            </a:pPr>
            <a:r>
              <a:rPr b="0" lang="de-DE" sz="1800" spc="-1" strike="noStrike">
                <a:solidFill>
                  <a:schemeClr val="lt1"/>
                </a:solidFill>
                <a:latin typeface="Arial"/>
                <a:ea typeface="Arial"/>
              </a:rPr>
              <a:t>Vierte Ebene</a:t>
            </a:r>
            <a:endParaRPr b="0" lang="en-US" sz="1800" spc="-1" strike="noStrike">
              <a:solidFill>
                <a:schemeClr val="lt1"/>
              </a:solidFill>
              <a:latin typeface="Arial"/>
            </a:endParaRPr>
          </a:p>
          <a:p>
            <a:pPr lvl="4" marL="1438200" indent="-276120" defTabSz="914400">
              <a:lnSpc>
                <a:spcPct val="110000"/>
              </a:lnSpc>
              <a:spcAft>
                <a:spcPts val="1199"/>
              </a:spcAft>
              <a:buClr>
                <a:srgbClr val="ffffff"/>
              </a:buClr>
              <a:buFont typeface="Arial"/>
              <a:buChar char="•"/>
              <a:tabLst>
                <a:tab algn="l" pos="361800"/>
              </a:tabLst>
            </a:pPr>
            <a:r>
              <a:rPr b="0" lang="de-DE" sz="1800" spc="-1" strike="noStrike">
                <a:solidFill>
                  <a:schemeClr val="lt1"/>
                </a:solidFill>
                <a:latin typeface="Arial"/>
                <a:ea typeface="Arial"/>
              </a:rPr>
              <a:t>Fünfte Ebene</a:t>
            </a:r>
            <a:endParaRPr b="0" lang="en-US" sz="1800" spc="-1" strike="noStrike">
              <a:solidFill>
                <a:schemeClr val="lt1"/>
              </a:solidFill>
              <a:latin typeface="Arial"/>
            </a:endParaRPr>
          </a:p>
        </p:txBody>
      </p:sp>
      <p:sp>
        <p:nvSpPr>
          <p:cNvPr id="31" name="PlaceHolder 6"/>
          <p:cNvSpPr>
            <a:spLocks noGrp="1"/>
          </p:cNvSpPr>
          <p:nvPr>
            <p:ph type="body"/>
          </p:nvPr>
        </p:nvSpPr>
        <p:spPr>
          <a:xfrm>
            <a:off x="4259160" y="1449360"/>
            <a:ext cx="3673080" cy="2410920"/>
          </a:xfrm>
          <a:prstGeom prst="rect">
            <a:avLst/>
          </a:prstGeom>
          <a:solidFill>
            <a:schemeClr val="lt1">
              <a:lumMod val="95000"/>
            </a:schemeClr>
          </a:solidFill>
          <a:ln w="0">
            <a:noFill/>
          </a:ln>
        </p:spPr>
        <p:txBody>
          <a:bodyPr lIns="90000" rIns="90000" tIns="45000" bIns="45000" anchor="ctr">
            <a:noAutofit/>
          </a:bodyPr>
          <a:p>
            <a:pPr indent="0" algn="ctr" defTabSz="457200">
              <a:lnSpc>
                <a:spcPct val="100000"/>
              </a:lnSpc>
              <a:buNone/>
              <a:tabLst>
                <a:tab algn="l" pos="0"/>
              </a:tabLst>
            </a:pPr>
            <a:r>
              <a:rPr b="0" lang="de-DE" sz="1900" spc="-1" strike="noStrike">
                <a:solidFill>
                  <a:schemeClr val="dk1"/>
                </a:solidFill>
                <a:latin typeface="Arial"/>
                <a:ea typeface="Arial"/>
              </a:rPr>
              <a:t>Bild auf Platzhalter ziehen oder durch Klicken auf Symbol hinzufügen</a:t>
            </a:r>
            <a:endParaRPr b="0" lang="en-US" sz="1900" spc="-1" strike="noStrike">
              <a:solidFill>
                <a:schemeClr val="lt1"/>
              </a:solidFill>
              <a:latin typeface="Arial"/>
            </a:endParaRPr>
          </a:p>
        </p:txBody>
      </p:sp>
      <p:sp>
        <p:nvSpPr>
          <p:cNvPr id="32" name="PlaceHolder 7"/>
          <p:cNvSpPr>
            <a:spLocks noGrp="1"/>
          </p:cNvSpPr>
          <p:nvPr>
            <p:ph type="body"/>
          </p:nvPr>
        </p:nvSpPr>
        <p:spPr>
          <a:xfrm>
            <a:off x="4259160" y="4005360"/>
            <a:ext cx="3673080" cy="2412360"/>
          </a:xfrm>
          <a:prstGeom prst="rect">
            <a:avLst/>
          </a:prstGeom>
          <a:solidFill>
            <a:schemeClr val="lt1">
              <a:lumMod val="95000"/>
            </a:schemeClr>
          </a:solidFill>
          <a:ln w="0">
            <a:noFill/>
          </a:ln>
        </p:spPr>
        <p:txBody>
          <a:bodyPr lIns="90000" rIns="90000" tIns="45000" bIns="45000" anchor="ctr">
            <a:noAutofit/>
          </a:bodyPr>
          <a:p>
            <a:pPr indent="0" algn="ctr" defTabSz="457200">
              <a:lnSpc>
                <a:spcPct val="100000"/>
              </a:lnSpc>
              <a:buNone/>
              <a:tabLst>
                <a:tab algn="l" pos="0"/>
              </a:tabLst>
            </a:pPr>
            <a:r>
              <a:rPr b="0" lang="de-DE" sz="1900" spc="-1" strike="noStrike">
                <a:solidFill>
                  <a:schemeClr val="dk1"/>
                </a:solidFill>
                <a:latin typeface="Arial"/>
                <a:ea typeface="Arial"/>
              </a:rPr>
              <a:t>Bild auf Platzhalter ziehen oder durch Klicken auf Symbol hinzufügen</a:t>
            </a:r>
            <a:endParaRPr b="0" lang="en-US" sz="1900" spc="-1" strike="noStrike">
              <a:solidFill>
                <a:schemeClr val="lt1"/>
              </a:solidFill>
              <a:latin typeface="Arial"/>
            </a:endParaRPr>
          </a:p>
        </p:txBody>
      </p:sp>
      <p:sp>
        <p:nvSpPr>
          <p:cNvPr id="33" name="PlaceHolder 8"/>
          <p:cNvSpPr>
            <a:spLocks noGrp="1"/>
          </p:cNvSpPr>
          <p:nvPr>
            <p:ph type="body"/>
          </p:nvPr>
        </p:nvSpPr>
        <p:spPr>
          <a:xfrm>
            <a:off x="8075520" y="1449360"/>
            <a:ext cx="3708000" cy="2410920"/>
          </a:xfrm>
          <a:prstGeom prst="rect">
            <a:avLst/>
          </a:prstGeom>
          <a:solidFill>
            <a:schemeClr val="lt1">
              <a:lumMod val="95000"/>
            </a:schemeClr>
          </a:solidFill>
          <a:ln w="0">
            <a:noFill/>
          </a:ln>
        </p:spPr>
        <p:txBody>
          <a:bodyPr lIns="90000" rIns="90000" tIns="45000" bIns="45000" anchor="ctr">
            <a:noAutofit/>
          </a:bodyPr>
          <a:p>
            <a:pPr indent="0" algn="ctr" defTabSz="457200">
              <a:lnSpc>
                <a:spcPct val="100000"/>
              </a:lnSpc>
              <a:buNone/>
              <a:tabLst>
                <a:tab algn="l" pos="0"/>
              </a:tabLst>
            </a:pPr>
            <a:r>
              <a:rPr b="0" lang="de-DE" sz="1900" spc="-1" strike="noStrike">
                <a:solidFill>
                  <a:schemeClr val="dk1"/>
                </a:solidFill>
                <a:latin typeface="Arial"/>
                <a:ea typeface="Arial"/>
              </a:rPr>
              <a:t>Bild auf Platzhalter ziehen oder durch Klicken auf Symbol hinzufügen</a:t>
            </a:r>
            <a:endParaRPr b="0" lang="en-US" sz="1900" spc="-1" strike="noStrike">
              <a:solidFill>
                <a:schemeClr val="lt1"/>
              </a:solidFill>
              <a:latin typeface="Arial"/>
            </a:endParaRPr>
          </a:p>
        </p:txBody>
      </p:sp>
      <p:sp>
        <p:nvSpPr>
          <p:cNvPr id="34" name="PlaceHolder 9"/>
          <p:cNvSpPr>
            <a:spLocks noGrp="1"/>
          </p:cNvSpPr>
          <p:nvPr>
            <p:ph type="body"/>
          </p:nvPr>
        </p:nvSpPr>
        <p:spPr>
          <a:xfrm>
            <a:off x="8075520" y="4005360"/>
            <a:ext cx="3708000" cy="2412360"/>
          </a:xfrm>
          <a:prstGeom prst="rect">
            <a:avLst/>
          </a:prstGeom>
          <a:solidFill>
            <a:schemeClr val="lt1">
              <a:lumMod val="95000"/>
            </a:schemeClr>
          </a:solidFill>
          <a:ln w="0">
            <a:noFill/>
          </a:ln>
        </p:spPr>
        <p:txBody>
          <a:bodyPr lIns="90000" rIns="90000" tIns="45000" bIns="45000" anchor="ctr">
            <a:noAutofit/>
          </a:bodyPr>
          <a:p>
            <a:pPr indent="0" algn="ctr" defTabSz="457200">
              <a:lnSpc>
                <a:spcPct val="100000"/>
              </a:lnSpc>
              <a:buNone/>
              <a:tabLst>
                <a:tab algn="l" pos="0"/>
              </a:tabLst>
            </a:pPr>
            <a:r>
              <a:rPr b="0" lang="de-DE" sz="1900" spc="-1" strike="noStrike">
                <a:solidFill>
                  <a:schemeClr val="dk1"/>
                </a:solidFill>
                <a:latin typeface="Arial"/>
                <a:ea typeface="Arial"/>
              </a:rPr>
              <a:t>Bild auf Platzhalter ziehen oder durch Klicken auf Symbol hinzufügen</a:t>
            </a:r>
            <a:endParaRPr b="0" lang="en-US" sz="1900" spc="-1" strike="noStrike">
              <a:solidFill>
                <a:schemeClr val="lt1"/>
              </a:solidFill>
              <a:latin typeface="Arial"/>
            </a:endParaRPr>
          </a:p>
        </p:txBody>
      </p:sp>
    </p:spTree>
  </p:cSld>
  <p:clrMap bg1="lt1" tx1="dk1" bg2="lt2" tx2="dk2" accent1="accent1" accent2="accent2" accent3="accent3" accent4="accent4" accent5="accent5" accent6="accent6" hlink="hlink" folHlink="folHlink"/>
  <p:sldLayoutIdLst>
    <p:sldLayoutId id="2147483655" r:id="rId3"/>
  </p:sldLayoutIdLst>
</p:sldMaster>
</file>

<file path=ppt/slideMasters/slideMaster5.xml><?xml version="1.0" encoding="utf-8"?>
<p:sldMaster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p:cSld>
    <p:bg>
      <p:bgPr>
        <a:solidFill>
          <a:srgbClr val="002060"/>
        </a:solidFill>
      </p:bgPr>
    </p:bg>
    <p:spTree>
      <p:nvGrpSpPr>
        <p:cNvPr id="1" name=""/>
        <p:cNvGrpSpPr/>
        <p:nvPr/>
      </p:nvGrpSpPr>
      <p:grpSpPr>
        <a:xfrm>
          <a:off x="0" y="0"/>
          <a:ext cx="0" cy="0"/>
          <a:chOff x="0" y="0"/>
          <a:chExt cx="0" cy="0"/>
        </a:xfrm>
      </p:grpSpPr>
      <p:sp>
        <p:nvSpPr>
          <p:cNvPr id="35" name="Textfeld 13"/>
          <p:cNvSpPr/>
          <p:nvPr/>
        </p:nvSpPr>
        <p:spPr>
          <a:xfrm>
            <a:off x="10848600" y="6580800"/>
            <a:ext cx="935280" cy="186480"/>
          </a:xfrm>
          <a:prstGeom prst="rect">
            <a:avLst/>
          </a:prstGeom>
          <a:noFill/>
          <a:ln w="0">
            <a:noFill/>
          </a:ln>
        </p:spPr>
        <p:style>
          <a:lnRef idx="0"/>
          <a:fillRef idx="0"/>
          <a:effectRef idx="0"/>
          <a:fontRef idx="minor"/>
        </p:style>
        <p:txBody>
          <a:bodyPr lIns="0" rIns="0" tIns="0" bIns="0" anchor="t">
            <a:noAutofit/>
          </a:bodyPr>
          <a:p>
            <a:pPr algn="r" defTabSz="457200">
              <a:lnSpc>
                <a:spcPct val="100000"/>
              </a:lnSpc>
            </a:pPr>
            <a:r>
              <a:rPr b="1" lang="de-DE" sz="1100" spc="-1" strike="noStrike">
                <a:solidFill>
                  <a:schemeClr val="dk1"/>
                </a:solidFill>
                <a:latin typeface="Arial"/>
                <a:ea typeface="Arial"/>
              </a:rPr>
              <a:t>Seite </a:t>
            </a:r>
            <a:fld id="{6EEE1E3A-A30E-4DB4-A138-E9EC781A4BD1}" type="slidenum">
              <a:rPr b="1" lang="de-DE" sz="1100" spc="-1" strike="noStrike">
                <a:solidFill>
                  <a:schemeClr val="dk1"/>
                </a:solidFill>
                <a:latin typeface="Arial"/>
                <a:ea typeface="Arial"/>
              </a:rPr>
              <a:t>&lt;number&gt;</a:t>
            </a:fld>
            <a:endParaRPr b="0" lang="en-US" sz="1100" spc="-1" strike="noStrike">
              <a:solidFill>
                <a:srgbClr val="ffffff"/>
              </a:solidFill>
              <a:latin typeface="Calibri"/>
            </a:endParaRPr>
          </a:p>
        </p:txBody>
      </p:sp>
      <p:pic>
        <p:nvPicPr>
          <p:cNvPr id="36" name="Grafik 6" descr=""/>
          <p:cNvPicPr/>
          <p:nvPr/>
        </p:nvPicPr>
        <p:blipFill>
          <a:blip r:embed="rId2"/>
          <a:stretch/>
        </p:blipFill>
        <p:spPr>
          <a:xfrm>
            <a:off x="403200" y="6613920"/>
            <a:ext cx="325080" cy="100440"/>
          </a:xfrm>
          <a:prstGeom prst="rect">
            <a:avLst/>
          </a:prstGeom>
          <a:ln w="0">
            <a:noFill/>
          </a:ln>
        </p:spPr>
      </p:pic>
      <p:sp>
        <p:nvSpPr>
          <p:cNvPr id="37" name="PlaceHolder 1"/>
          <p:cNvSpPr>
            <a:spLocks noGrp="1"/>
          </p:cNvSpPr>
          <p:nvPr>
            <p:ph type="title"/>
          </p:nvPr>
        </p:nvSpPr>
        <p:spPr>
          <a:xfrm>
            <a:off x="407880" y="349560"/>
            <a:ext cx="11375640" cy="450720"/>
          </a:xfrm>
          <a:prstGeom prst="rect">
            <a:avLst/>
          </a:prstGeom>
          <a:noFill/>
          <a:ln w="0">
            <a:noFill/>
          </a:ln>
        </p:spPr>
        <p:txBody>
          <a:bodyPr lIns="0" rIns="0" tIns="0" bIns="0" anchor="t">
            <a:noAutofit/>
          </a:bodyPr>
          <a:p>
            <a:pPr indent="0" defTabSz="914400">
              <a:lnSpc>
                <a:spcPct val="90000"/>
              </a:lnSpc>
              <a:buNone/>
            </a:pPr>
            <a:r>
              <a:rPr b="1" lang="de-DE" sz="3000" spc="-1" strike="noStrike">
                <a:solidFill>
                  <a:schemeClr val="accent1"/>
                </a:solidFill>
                <a:latin typeface="Arial"/>
                <a:ea typeface="Arial"/>
              </a:rPr>
              <a:t>Mastertitelformat bearbeiten</a:t>
            </a:r>
            <a:endParaRPr b="0" lang="en-US" sz="3000" spc="-1" strike="noStrike">
              <a:solidFill>
                <a:schemeClr val="dk1"/>
              </a:solidFill>
              <a:latin typeface="Arial"/>
            </a:endParaRPr>
          </a:p>
        </p:txBody>
      </p:sp>
      <p:sp>
        <p:nvSpPr>
          <p:cNvPr id="38" name="PlaceHolder 2"/>
          <p:cNvSpPr>
            <a:spLocks noGrp="1"/>
          </p:cNvSpPr>
          <p:nvPr>
            <p:ph type="ftr" idx="4"/>
          </p:nvPr>
        </p:nvSpPr>
        <p:spPr>
          <a:xfrm>
            <a:off x="791640" y="6580800"/>
            <a:ext cx="9948600" cy="186480"/>
          </a:xfrm>
          <a:prstGeom prst="rect">
            <a:avLst/>
          </a:prstGeom>
          <a:noFill/>
          <a:ln w="0">
            <a:noFill/>
          </a:ln>
        </p:spPr>
        <p:txBody>
          <a:bodyPr lIns="0" rIns="0" tIns="0" bIns="0" anchor="t">
            <a:noAutofit/>
          </a:bodyPr>
          <a:lstStyle>
            <a:lvl1pPr indent="0" defTabSz="457200">
              <a:lnSpc>
                <a:spcPct val="100000"/>
              </a:lnSpc>
              <a:buNone/>
              <a:defRPr b="0" lang="pt-BR" sz="1100" spc="-1" strike="noStrike">
                <a:solidFill>
                  <a:schemeClr val="lt1"/>
                </a:solidFill>
                <a:latin typeface="Arial"/>
                <a:ea typeface="Arial"/>
              </a:defRPr>
            </a:lvl1pPr>
          </a:lstStyle>
          <a:p>
            <a:pPr indent="0" defTabSz="457200">
              <a:lnSpc>
                <a:spcPct val="100000"/>
              </a:lnSpc>
              <a:buNone/>
            </a:pPr>
            <a:r>
              <a:rPr b="0" lang="pt-BR" sz="1100" spc="-1" strike="noStrike">
                <a:solidFill>
                  <a:schemeClr val="lt1"/>
                </a:solidFill>
                <a:latin typeface="Arial"/>
                <a:ea typeface="Arial"/>
              </a:rPr>
              <a:t>&lt;footer&gt;</a:t>
            </a:r>
            <a:endParaRPr b="0" lang="en-US" sz="1100" spc="-1" strike="noStrike">
              <a:solidFill>
                <a:srgbClr val="ffffff"/>
              </a:solidFill>
              <a:latin typeface="Calibri"/>
            </a:endParaRPr>
          </a:p>
        </p:txBody>
      </p:sp>
      <p:sp>
        <p:nvSpPr>
          <p:cNvPr id="39" name="PlaceHolder 3"/>
          <p:cNvSpPr>
            <a:spLocks noGrp="1"/>
          </p:cNvSpPr>
          <p:nvPr>
            <p:ph type="body"/>
          </p:nvPr>
        </p:nvSpPr>
        <p:spPr>
          <a:xfrm>
            <a:off x="407880" y="817560"/>
            <a:ext cx="11375640" cy="378720"/>
          </a:xfrm>
          <a:prstGeom prst="rect">
            <a:avLst/>
          </a:prstGeom>
          <a:noFill/>
          <a:ln w="0">
            <a:noFill/>
          </a:ln>
        </p:spPr>
        <p:txBody>
          <a:bodyPr lIns="0" rIns="0" tIns="0" bIns="0" anchor="t">
            <a:noAutofit/>
          </a:bodyPr>
          <a:p>
            <a:pPr indent="0" defTabSz="914400">
              <a:lnSpc>
                <a:spcPct val="110000"/>
              </a:lnSpc>
              <a:buNone/>
              <a:tabLst>
                <a:tab algn="l" pos="0"/>
              </a:tabLst>
            </a:pPr>
            <a:r>
              <a:rPr b="1" lang="de-DE" sz="1800" spc="-1" strike="noStrike">
                <a:solidFill>
                  <a:schemeClr val="accent2"/>
                </a:solidFill>
                <a:latin typeface="Arial"/>
                <a:ea typeface="Arial"/>
              </a:rPr>
              <a:t>Unterüberschrift</a:t>
            </a:r>
            <a:endParaRPr b="0" lang="en-US" sz="1800" spc="-1" strike="noStrike">
              <a:solidFill>
                <a:schemeClr val="lt1"/>
              </a:solidFill>
              <a:latin typeface="Arial"/>
            </a:endParaRPr>
          </a:p>
        </p:txBody>
      </p:sp>
      <p:sp>
        <p:nvSpPr>
          <p:cNvPr id="40" name="PlaceHolder 4"/>
          <p:cNvSpPr>
            <a:spLocks noGrp="1"/>
          </p:cNvSpPr>
          <p:nvPr>
            <p:ph type="body"/>
          </p:nvPr>
        </p:nvSpPr>
        <p:spPr>
          <a:xfrm>
            <a:off x="407880" y="1449360"/>
            <a:ext cx="11375640" cy="4966920"/>
          </a:xfrm>
          <a:prstGeom prst="rect">
            <a:avLst/>
          </a:prstGeom>
          <a:solidFill>
            <a:schemeClr val="lt1">
              <a:lumMod val="95000"/>
            </a:schemeClr>
          </a:solidFill>
          <a:ln w="0">
            <a:noFill/>
          </a:ln>
        </p:spPr>
        <p:txBody>
          <a:bodyPr lIns="90000" rIns="90000" tIns="45000" bIns="45000" anchor="ctr">
            <a:noAutofit/>
          </a:bodyPr>
          <a:p>
            <a:pPr indent="0" algn="ctr" defTabSz="457200">
              <a:lnSpc>
                <a:spcPct val="100000"/>
              </a:lnSpc>
              <a:buNone/>
              <a:tabLst>
                <a:tab algn="l" pos="0"/>
              </a:tabLst>
            </a:pPr>
            <a:r>
              <a:rPr b="0" lang="de-DE" sz="1900" spc="-1" strike="noStrike">
                <a:solidFill>
                  <a:schemeClr val="dk1"/>
                </a:solidFill>
                <a:latin typeface="Arial"/>
                <a:ea typeface="Arial"/>
              </a:rPr>
              <a:t>Bild auf Platzhalter ziehen oder durch Klicken auf Symbol hinzufügen</a:t>
            </a:r>
            <a:endParaRPr b="0" lang="en-US" sz="1900" spc="-1" strike="noStrike">
              <a:solidFill>
                <a:schemeClr val="lt1"/>
              </a:solidFill>
              <a:latin typeface="Arial"/>
            </a:endParaRPr>
          </a:p>
        </p:txBody>
      </p:sp>
    </p:spTree>
  </p:cSld>
  <p:clrMap bg1="lt1" tx1="dk1" bg2="lt2" tx2="dk2" accent1="accent1" accent2="accent2" accent3="accent3" accent4="accent4" accent5="accent5" accent6="accent6" hlink="hlink" folHlink="folHlink"/>
  <p:sldLayoutIdLst>
    <p:sldLayoutId id="2147483657" r:id="rId3"/>
  </p:sldLayoutIdLst>
</p:sldMaster>
</file>

<file path=ppt/slideMasters/slideMaster6.xml><?xml version="1.0" encoding="utf-8"?>
<p:sldMaster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p:cSld>
    <p:bg>
      <p:bgPr>
        <a:solidFill>
          <a:srgbClr val="002060"/>
        </a:solidFill>
      </p:bgPr>
    </p:bg>
    <p:spTree>
      <p:nvGrpSpPr>
        <p:cNvPr id="1" name=""/>
        <p:cNvGrpSpPr/>
        <p:nvPr/>
      </p:nvGrpSpPr>
      <p:grpSpPr>
        <a:xfrm>
          <a:off x="0" y="0"/>
          <a:ext cx="0" cy="0"/>
          <a:chOff x="0" y="0"/>
          <a:chExt cx="0" cy="0"/>
        </a:xfrm>
      </p:grpSpPr>
      <p:sp>
        <p:nvSpPr>
          <p:cNvPr id="41" name="Textfeld 13"/>
          <p:cNvSpPr/>
          <p:nvPr/>
        </p:nvSpPr>
        <p:spPr>
          <a:xfrm>
            <a:off x="10848600" y="6580800"/>
            <a:ext cx="935280" cy="186480"/>
          </a:xfrm>
          <a:prstGeom prst="rect">
            <a:avLst/>
          </a:prstGeom>
          <a:noFill/>
          <a:ln w="0">
            <a:noFill/>
          </a:ln>
        </p:spPr>
        <p:style>
          <a:lnRef idx="0"/>
          <a:fillRef idx="0"/>
          <a:effectRef idx="0"/>
          <a:fontRef idx="minor"/>
        </p:style>
        <p:txBody>
          <a:bodyPr lIns="0" rIns="0" tIns="0" bIns="0" anchor="t">
            <a:noAutofit/>
          </a:bodyPr>
          <a:p>
            <a:pPr algn="r" defTabSz="457200">
              <a:lnSpc>
                <a:spcPct val="100000"/>
              </a:lnSpc>
            </a:pPr>
            <a:r>
              <a:rPr b="1" lang="de-DE" sz="1100" spc="-1" strike="noStrike">
                <a:solidFill>
                  <a:schemeClr val="dk1"/>
                </a:solidFill>
                <a:latin typeface="Arial"/>
                <a:ea typeface="Arial"/>
              </a:rPr>
              <a:t>Seite </a:t>
            </a:r>
            <a:fld id="{2AC10AA6-8608-405B-9146-3D345523FACD}" type="slidenum">
              <a:rPr b="1" lang="de-DE" sz="1100" spc="-1" strike="noStrike">
                <a:solidFill>
                  <a:schemeClr val="dk1"/>
                </a:solidFill>
                <a:latin typeface="Arial"/>
                <a:ea typeface="Arial"/>
              </a:rPr>
              <a:t>&lt;number&gt;</a:t>
            </a:fld>
            <a:endParaRPr b="0" lang="en-US" sz="1100" spc="-1" strike="noStrike">
              <a:solidFill>
                <a:srgbClr val="ffffff"/>
              </a:solidFill>
              <a:latin typeface="Calibri"/>
            </a:endParaRPr>
          </a:p>
        </p:txBody>
      </p:sp>
      <p:pic>
        <p:nvPicPr>
          <p:cNvPr id="42" name="Grafik 6" descr=""/>
          <p:cNvPicPr/>
          <p:nvPr/>
        </p:nvPicPr>
        <p:blipFill>
          <a:blip r:embed="rId2"/>
          <a:stretch/>
        </p:blipFill>
        <p:spPr>
          <a:xfrm>
            <a:off x="403200" y="6613920"/>
            <a:ext cx="325080" cy="100440"/>
          </a:xfrm>
          <a:prstGeom prst="rect">
            <a:avLst/>
          </a:prstGeom>
          <a:ln w="0">
            <a:noFill/>
          </a:ln>
        </p:spPr>
      </p:pic>
      <p:sp>
        <p:nvSpPr>
          <p:cNvPr id="43" name="PlaceHolder 1"/>
          <p:cNvSpPr>
            <a:spLocks noGrp="1"/>
          </p:cNvSpPr>
          <p:nvPr>
            <p:ph type="title"/>
          </p:nvPr>
        </p:nvSpPr>
        <p:spPr>
          <a:xfrm>
            <a:off x="407880" y="349560"/>
            <a:ext cx="11375640" cy="450720"/>
          </a:xfrm>
          <a:prstGeom prst="rect">
            <a:avLst/>
          </a:prstGeom>
          <a:noFill/>
          <a:ln w="0">
            <a:noFill/>
          </a:ln>
        </p:spPr>
        <p:txBody>
          <a:bodyPr lIns="0" rIns="0" tIns="0" bIns="0" anchor="t">
            <a:noAutofit/>
          </a:bodyPr>
          <a:p>
            <a:pPr indent="0" defTabSz="914400">
              <a:lnSpc>
                <a:spcPct val="90000"/>
              </a:lnSpc>
              <a:buNone/>
            </a:pPr>
            <a:r>
              <a:rPr b="1" lang="de-DE" sz="3000" spc="-1" strike="noStrike">
                <a:solidFill>
                  <a:schemeClr val="accent1"/>
                </a:solidFill>
                <a:latin typeface="Arial"/>
                <a:ea typeface="Arial"/>
              </a:rPr>
              <a:t>Mastertitelformat bearbeiten</a:t>
            </a:r>
            <a:endParaRPr b="0" lang="en-US" sz="3000" spc="-1" strike="noStrike">
              <a:solidFill>
                <a:schemeClr val="dk1"/>
              </a:solidFill>
              <a:latin typeface="Arial"/>
            </a:endParaRPr>
          </a:p>
        </p:txBody>
      </p:sp>
      <p:sp>
        <p:nvSpPr>
          <p:cNvPr id="44" name="PlaceHolder 2"/>
          <p:cNvSpPr>
            <a:spLocks noGrp="1"/>
          </p:cNvSpPr>
          <p:nvPr>
            <p:ph type="ftr" idx="5"/>
          </p:nvPr>
        </p:nvSpPr>
        <p:spPr>
          <a:xfrm>
            <a:off x="791640" y="6580800"/>
            <a:ext cx="9948600" cy="186480"/>
          </a:xfrm>
          <a:prstGeom prst="rect">
            <a:avLst/>
          </a:prstGeom>
          <a:noFill/>
          <a:ln w="0">
            <a:noFill/>
          </a:ln>
        </p:spPr>
        <p:txBody>
          <a:bodyPr lIns="0" rIns="0" tIns="0" bIns="0" anchor="t">
            <a:noAutofit/>
          </a:bodyPr>
          <a:lstStyle>
            <a:lvl1pPr indent="0" defTabSz="457200">
              <a:lnSpc>
                <a:spcPct val="100000"/>
              </a:lnSpc>
              <a:buNone/>
              <a:defRPr b="0" lang="pt-BR" sz="1100" spc="-1" strike="noStrike">
                <a:solidFill>
                  <a:schemeClr val="lt1"/>
                </a:solidFill>
                <a:latin typeface="Arial"/>
                <a:ea typeface="Arial"/>
              </a:defRPr>
            </a:lvl1pPr>
          </a:lstStyle>
          <a:p>
            <a:pPr indent="0" defTabSz="457200">
              <a:lnSpc>
                <a:spcPct val="100000"/>
              </a:lnSpc>
              <a:buNone/>
            </a:pPr>
            <a:r>
              <a:rPr b="0" lang="pt-BR" sz="1100" spc="-1" strike="noStrike">
                <a:solidFill>
                  <a:schemeClr val="lt1"/>
                </a:solidFill>
                <a:latin typeface="Arial"/>
                <a:ea typeface="Arial"/>
              </a:rPr>
              <a:t>&lt;footer&gt;</a:t>
            </a:r>
            <a:endParaRPr b="0" lang="en-US" sz="1100" spc="-1" strike="noStrike">
              <a:solidFill>
                <a:srgbClr val="ffffff"/>
              </a:solidFill>
              <a:latin typeface="Calibri"/>
            </a:endParaRPr>
          </a:p>
        </p:txBody>
      </p:sp>
      <p:sp>
        <p:nvSpPr>
          <p:cNvPr id="45" name="PlaceHolder 3"/>
          <p:cNvSpPr>
            <a:spLocks noGrp="1"/>
          </p:cNvSpPr>
          <p:nvPr>
            <p:ph type="body"/>
          </p:nvPr>
        </p:nvSpPr>
        <p:spPr>
          <a:xfrm>
            <a:off x="407880" y="817560"/>
            <a:ext cx="11375640" cy="378720"/>
          </a:xfrm>
          <a:prstGeom prst="rect">
            <a:avLst/>
          </a:prstGeom>
          <a:noFill/>
          <a:ln w="0">
            <a:noFill/>
          </a:ln>
        </p:spPr>
        <p:txBody>
          <a:bodyPr lIns="0" rIns="0" tIns="0" bIns="0" anchor="t">
            <a:noAutofit/>
          </a:bodyPr>
          <a:p>
            <a:pPr indent="0" defTabSz="914400">
              <a:lnSpc>
                <a:spcPct val="110000"/>
              </a:lnSpc>
              <a:buNone/>
              <a:tabLst>
                <a:tab algn="l" pos="0"/>
              </a:tabLst>
            </a:pPr>
            <a:r>
              <a:rPr b="1" lang="de-DE" sz="1800" spc="-1" strike="noStrike">
                <a:solidFill>
                  <a:schemeClr val="accent2"/>
                </a:solidFill>
                <a:latin typeface="Arial"/>
                <a:ea typeface="Arial"/>
              </a:rPr>
              <a:t>Unterüberschrift</a:t>
            </a:r>
            <a:endParaRPr b="0" lang="en-US" sz="1800" spc="-1" strike="noStrike">
              <a:solidFill>
                <a:schemeClr val="lt1"/>
              </a:solidFill>
              <a:latin typeface="Arial"/>
            </a:endParaRPr>
          </a:p>
        </p:txBody>
      </p:sp>
      <p:sp>
        <p:nvSpPr>
          <p:cNvPr id="46" name="PlaceHolder 4"/>
          <p:cNvSpPr>
            <a:spLocks noGrp="1"/>
          </p:cNvSpPr>
          <p:nvPr>
            <p:ph type="body"/>
          </p:nvPr>
        </p:nvSpPr>
        <p:spPr>
          <a:xfrm>
            <a:off x="407880" y="1449360"/>
            <a:ext cx="5616360" cy="4966920"/>
          </a:xfrm>
          <a:prstGeom prst="rect">
            <a:avLst/>
          </a:prstGeom>
          <a:solidFill>
            <a:schemeClr val="lt1">
              <a:lumMod val="95000"/>
            </a:schemeClr>
          </a:solidFill>
          <a:ln w="0">
            <a:noFill/>
          </a:ln>
        </p:spPr>
        <p:txBody>
          <a:bodyPr lIns="90000" rIns="90000" tIns="45000" bIns="45000" anchor="ctr">
            <a:noAutofit/>
          </a:bodyPr>
          <a:p>
            <a:pPr indent="0" algn="ctr" defTabSz="457200">
              <a:lnSpc>
                <a:spcPct val="100000"/>
              </a:lnSpc>
              <a:buNone/>
              <a:tabLst>
                <a:tab algn="l" pos="0"/>
              </a:tabLst>
            </a:pPr>
            <a:r>
              <a:rPr b="0" lang="de-DE" sz="1900" spc="-1" strike="noStrike">
                <a:solidFill>
                  <a:schemeClr val="dk1"/>
                </a:solidFill>
                <a:latin typeface="Arial"/>
                <a:ea typeface="Arial"/>
              </a:rPr>
              <a:t>Bild auf Platzhalter ziehen oder durch Klicken auf Symbol hinzufügen</a:t>
            </a:r>
            <a:endParaRPr b="0" lang="en-US" sz="1900" spc="-1" strike="noStrike">
              <a:solidFill>
                <a:schemeClr val="lt1"/>
              </a:solidFill>
              <a:latin typeface="Arial"/>
            </a:endParaRPr>
          </a:p>
        </p:txBody>
      </p:sp>
      <p:sp>
        <p:nvSpPr>
          <p:cNvPr id="47" name="PlaceHolder 5"/>
          <p:cNvSpPr>
            <a:spLocks noGrp="1"/>
          </p:cNvSpPr>
          <p:nvPr>
            <p:ph type="body"/>
          </p:nvPr>
        </p:nvSpPr>
        <p:spPr>
          <a:xfrm>
            <a:off x="6167520" y="1449360"/>
            <a:ext cx="5616360" cy="4966920"/>
          </a:xfrm>
          <a:prstGeom prst="rect">
            <a:avLst/>
          </a:prstGeom>
          <a:solidFill>
            <a:schemeClr val="lt1">
              <a:lumMod val="95000"/>
            </a:schemeClr>
          </a:solidFill>
          <a:ln w="0">
            <a:noFill/>
          </a:ln>
        </p:spPr>
        <p:txBody>
          <a:bodyPr lIns="90000" rIns="90000" tIns="45000" bIns="45000" anchor="ctr">
            <a:noAutofit/>
          </a:bodyPr>
          <a:p>
            <a:pPr indent="0" algn="ctr" defTabSz="457200">
              <a:lnSpc>
                <a:spcPct val="100000"/>
              </a:lnSpc>
              <a:buNone/>
              <a:tabLst>
                <a:tab algn="l" pos="0"/>
              </a:tabLst>
            </a:pPr>
            <a:r>
              <a:rPr b="0" lang="de-DE" sz="1900" spc="-1" strike="noStrike">
                <a:solidFill>
                  <a:schemeClr val="dk1"/>
                </a:solidFill>
                <a:latin typeface="Arial"/>
                <a:ea typeface="Arial"/>
              </a:rPr>
              <a:t>Bild auf Platzhalter ziehen oder durch Klicken auf Symbol hinzufügen</a:t>
            </a:r>
            <a:endParaRPr b="0" lang="en-US" sz="1900" spc="-1" strike="noStrike">
              <a:solidFill>
                <a:schemeClr val="lt1"/>
              </a:solidFill>
              <a:latin typeface="Arial"/>
            </a:endParaRPr>
          </a:p>
        </p:txBody>
      </p:sp>
    </p:spTree>
  </p:cSld>
  <p:clrMap bg1="lt1" tx1="dk1" bg2="lt2" tx2="dk2" accent1="accent1" accent2="accent2" accent3="accent3" accent4="accent4" accent5="accent5" accent6="accent6" hlink="hlink" folHlink="folHlink"/>
  <p:sldLayoutIdLst>
    <p:sldLayoutId id="2147483659" r:id="rId3"/>
  </p:sldLayoutIdLst>
</p:sldMaster>
</file>

<file path=ppt/slideMasters/slideMaster7.xml><?xml version="1.0" encoding="utf-8"?>
<p:sldMaster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p:cSld>
    <p:bg>
      <p:bgPr>
        <a:solidFill>
          <a:srgbClr val="002060"/>
        </a:solidFill>
      </p:bgPr>
    </p:bg>
    <p:spTree>
      <p:nvGrpSpPr>
        <p:cNvPr id="1" name=""/>
        <p:cNvGrpSpPr/>
        <p:nvPr/>
      </p:nvGrpSpPr>
      <p:grpSpPr>
        <a:xfrm>
          <a:off x="0" y="0"/>
          <a:ext cx="0" cy="0"/>
          <a:chOff x="0" y="0"/>
          <a:chExt cx="0" cy="0"/>
        </a:xfrm>
      </p:grpSpPr>
      <p:sp>
        <p:nvSpPr>
          <p:cNvPr id="48" name="Textfeld 13"/>
          <p:cNvSpPr/>
          <p:nvPr/>
        </p:nvSpPr>
        <p:spPr>
          <a:xfrm>
            <a:off x="10848600" y="6580800"/>
            <a:ext cx="935280" cy="186480"/>
          </a:xfrm>
          <a:prstGeom prst="rect">
            <a:avLst/>
          </a:prstGeom>
          <a:noFill/>
          <a:ln w="0">
            <a:noFill/>
          </a:ln>
        </p:spPr>
        <p:style>
          <a:lnRef idx="0"/>
          <a:fillRef idx="0"/>
          <a:effectRef idx="0"/>
          <a:fontRef idx="minor"/>
        </p:style>
        <p:txBody>
          <a:bodyPr lIns="0" rIns="0" tIns="0" bIns="0" anchor="t">
            <a:noAutofit/>
          </a:bodyPr>
          <a:p>
            <a:pPr algn="r" defTabSz="457200">
              <a:lnSpc>
                <a:spcPct val="100000"/>
              </a:lnSpc>
            </a:pPr>
            <a:r>
              <a:rPr b="1" lang="de-DE" sz="1100" spc="-1" strike="noStrike">
                <a:solidFill>
                  <a:schemeClr val="dk1"/>
                </a:solidFill>
                <a:latin typeface="Arial"/>
                <a:ea typeface="Arial"/>
              </a:rPr>
              <a:t>Seite </a:t>
            </a:r>
            <a:fld id="{8959B655-15D4-4037-951E-F6E424D5EC0A}" type="slidenum">
              <a:rPr b="1" lang="de-DE" sz="1100" spc="-1" strike="noStrike">
                <a:solidFill>
                  <a:schemeClr val="dk1"/>
                </a:solidFill>
                <a:latin typeface="Arial"/>
                <a:ea typeface="Arial"/>
              </a:rPr>
              <a:t>&lt;number&gt;</a:t>
            </a:fld>
            <a:endParaRPr b="0" lang="en-US" sz="1100" spc="-1" strike="noStrike">
              <a:solidFill>
                <a:srgbClr val="ffffff"/>
              </a:solidFill>
              <a:latin typeface="Calibri"/>
            </a:endParaRPr>
          </a:p>
        </p:txBody>
      </p:sp>
      <p:pic>
        <p:nvPicPr>
          <p:cNvPr id="49" name="Grafik 6" descr=""/>
          <p:cNvPicPr/>
          <p:nvPr/>
        </p:nvPicPr>
        <p:blipFill>
          <a:blip r:embed="rId2"/>
          <a:stretch/>
        </p:blipFill>
        <p:spPr>
          <a:xfrm>
            <a:off x="403200" y="6613920"/>
            <a:ext cx="325080" cy="100440"/>
          </a:xfrm>
          <a:prstGeom prst="rect">
            <a:avLst/>
          </a:prstGeom>
          <a:ln w="0">
            <a:noFill/>
          </a:ln>
        </p:spPr>
      </p:pic>
      <p:sp>
        <p:nvSpPr>
          <p:cNvPr id="50" name="PlaceHolder 1"/>
          <p:cNvSpPr>
            <a:spLocks noGrp="1"/>
          </p:cNvSpPr>
          <p:nvPr>
            <p:ph type="title"/>
          </p:nvPr>
        </p:nvSpPr>
        <p:spPr>
          <a:xfrm>
            <a:off x="407880" y="349560"/>
            <a:ext cx="11375640" cy="450720"/>
          </a:xfrm>
          <a:prstGeom prst="rect">
            <a:avLst/>
          </a:prstGeom>
          <a:noFill/>
          <a:ln w="0">
            <a:noFill/>
          </a:ln>
        </p:spPr>
        <p:txBody>
          <a:bodyPr lIns="0" rIns="0" tIns="0" bIns="0" anchor="t">
            <a:noAutofit/>
          </a:bodyPr>
          <a:p>
            <a:pPr indent="0" defTabSz="914400">
              <a:lnSpc>
                <a:spcPct val="90000"/>
              </a:lnSpc>
              <a:buNone/>
            </a:pPr>
            <a:r>
              <a:rPr b="1" lang="de-DE" sz="3000" spc="-1" strike="noStrike">
                <a:solidFill>
                  <a:schemeClr val="accent1"/>
                </a:solidFill>
                <a:latin typeface="Arial"/>
                <a:ea typeface="Arial"/>
              </a:rPr>
              <a:t>Mastertitelformat bearbeiten</a:t>
            </a:r>
            <a:endParaRPr b="0" lang="en-US" sz="3000" spc="-1" strike="noStrike">
              <a:solidFill>
                <a:schemeClr val="dk1"/>
              </a:solidFill>
              <a:latin typeface="Arial"/>
            </a:endParaRPr>
          </a:p>
        </p:txBody>
      </p:sp>
      <p:sp>
        <p:nvSpPr>
          <p:cNvPr id="51" name="PlaceHolder 2"/>
          <p:cNvSpPr>
            <a:spLocks noGrp="1"/>
          </p:cNvSpPr>
          <p:nvPr>
            <p:ph type="ftr" idx="6"/>
          </p:nvPr>
        </p:nvSpPr>
        <p:spPr>
          <a:xfrm>
            <a:off x="791640" y="6580800"/>
            <a:ext cx="9948600" cy="186480"/>
          </a:xfrm>
          <a:prstGeom prst="rect">
            <a:avLst/>
          </a:prstGeom>
          <a:noFill/>
          <a:ln w="0">
            <a:noFill/>
          </a:ln>
        </p:spPr>
        <p:txBody>
          <a:bodyPr lIns="0" rIns="0" tIns="0" bIns="0" anchor="t">
            <a:noAutofit/>
          </a:bodyPr>
          <a:lstStyle>
            <a:lvl1pPr indent="0" defTabSz="457200">
              <a:lnSpc>
                <a:spcPct val="100000"/>
              </a:lnSpc>
              <a:buNone/>
              <a:defRPr b="0" lang="pt-BR" sz="1100" spc="-1" strike="noStrike">
                <a:solidFill>
                  <a:schemeClr val="lt1"/>
                </a:solidFill>
                <a:latin typeface="Arial"/>
                <a:ea typeface="Arial"/>
              </a:defRPr>
            </a:lvl1pPr>
          </a:lstStyle>
          <a:p>
            <a:pPr indent="0" defTabSz="457200">
              <a:lnSpc>
                <a:spcPct val="100000"/>
              </a:lnSpc>
              <a:buNone/>
            </a:pPr>
            <a:r>
              <a:rPr b="0" lang="pt-BR" sz="1100" spc="-1" strike="noStrike">
                <a:solidFill>
                  <a:schemeClr val="lt1"/>
                </a:solidFill>
                <a:latin typeface="Arial"/>
                <a:ea typeface="Arial"/>
              </a:rPr>
              <a:t>&lt;footer&gt;</a:t>
            </a:r>
            <a:endParaRPr b="0" lang="en-US" sz="1100" spc="-1" strike="noStrike">
              <a:solidFill>
                <a:srgbClr val="ffffff"/>
              </a:solidFill>
              <a:latin typeface="Calibri"/>
            </a:endParaRPr>
          </a:p>
        </p:txBody>
      </p:sp>
      <p:sp>
        <p:nvSpPr>
          <p:cNvPr id="52" name="PlaceHolder 3"/>
          <p:cNvSpPr>
            <a:spLocks noGrp="1"/>
          </p:cNvSpPr>
          <p:nvPr>
            <p:ph type="body"/>
          </p:nvPr>
        </p:nvSpPr>
        <p:spPr>
          <a:xfrm>
            <a:off x="407880" y="817560"/>
            <a:ext cx="11375640" cy="378720"/>
          </a:xfrm>
          <a:prstGeom prst="rect">
            <a:avLst/>
          </a:prstGeom>
          <a:noFill/>
          <a:ln w="0">
            <a:noFill/>
          </a:ln>
        </p:spPr>
        <p:txBody>
          <a:bodyPr lIns="0" rIns="0" tIns="0" bIns="0" anchor="t">
            <a:noAutofit/>
          </a:bodyPr>
          <a:p>
            <a:pPr indent="0" defTabSz="914400">
              <a:lnSpc>
                <a:spcPct val="110000"/>
              </a:lnSpc>
              <a:buNone/>
              <a:tabLst>
                <a:tab algn="l" pos="0"/>
              </a:tabLst>
            </a:pPr>
            <a:r>
              <a:rPr b="1" lang="de-DE" sz="1800" spc="-1" strike="noStrike">
                <a:solidFill>
                  <a:schemeClr val="accent2"/>
                </a:solidFill>
                <a:latin typeface="Arial"/>
                <a:ea typeface="Arial"/>
              </a:rPr>
              <a:t>Unterüberschrift</a:t>
            </a:r>
            <a:endParaRPr b="0" lang="en-US" sz="1800" spc="-1" strike="noStrike">
              <a:solidFill>
                <a:schemeClr val="lt1"/>
              </a:solidFill>
              <a:latin typeface="Arial"/>
            </a:endParaRPr>
          </a:p>
        </p:txBody>
      </p:sp>
      <p:sp>
        <p:nvSpPr>
          <p:cNvPr id="53" name="PlaceHolder 4"/>
          <p:cNvSpPr>
            <a:spLocks noGrp="1"/>
          </p:cNvSpPr>
          <p:nvPr>
            <p:ph type="body"/>
          </p:nvPr>
        </p:nvSpPr>
        <p:spPr>
          <a:xfrm>
            <a:off x="407880" y="1449360"/>
            <a:ext cx="3708000" cy="4966920"/>
          </a:xfrm>
          <a:prstGeom prst="rect">
            <a:avLst/>
          </a:prstGeom>
          <a:solidFill>
            <a:schemeClr val="lt1">
              <a:lumMod val="95000"/>
            </a:schemeClr>
          </a:solidFill>
          <a:ln w="0">
            <a:noFill/>
          </a:ln>
        </p:spPr>
        <p:txBody>
          <a:bodyPr lIns="90000" rIns="90000" tIns="45000" bIns="45000" anchor="ctr">
            <a:noAutofit/>
          </a:bodyPr>
          <a:p>
            <a:pPr indent="0" algn="ctr" defTabSz="457200">
              <a:lnSpc>
                <a:spcPct val="100000"/>
              </a:lnSpc>
              <a:buNone/>
              <a:tabLst>
                <a:tab algn="l" pos="0"/>
              </a:tabLst>
            </a:pPr>
            <a:r>
              <a:rPr b="0" lang="de-DE" sz="1900" spc="-1" strike="noStrike">
                <a:solidFill>
                  <a:schemeClr val="dk1"/>
                </a:solidFill>
                <a:latin typeface="Arial"/>
                <a:ea typeface="Arial"/>
              </a:rPr>
              <a:t>Bild auf Platzhalter ziehen oder durch Klicken auf Symbol hinzufügen</a:t>
            </a:r>
            <a:endParaRPr b="0" lang="en-US" sz="1900" spc="-1" strike="noStrike">
              <a:solidFill>
                <a:schemeClr val="lt1"/>
              </a:solidFill>
              <a:latin typeface="Arial"/>
            </a:endParaRPr>
          </a:p>
        </p:txBody>
      </p:sp>
      <p:sp>
        <p:nvSpPr>
          <p:cNvPr id="54" name="PlaceHolder 5"/>
          <p:cNvSpPr>
            <a:spLocks noGrp="1"/>
          </p:cNvSpPr>
          <p:nvPr>
            <p:ph type="body"/>
          </p:nvPr>
        </p:nvSpPr>
        <p:spPr>
          <a:xfrm>
            <a:off x="4259160" y="1449360"/>
            <a:ext cx="7524360" cy="4966920"/>
          </a:xfrm>
          <a:prstGeom prst="rect">
            <a:avLst/>
          </a:prstGeom>
          <a:solidFill>
            <a:schemeClr val="lt1">
              <a:lumMod val="95000"/>
            </a:schemeClr>
          </a:solidFill>
          <a:ln w="0">
            <a:noFill/>
          </a:ln>
        </p:spPr>
        <p:txBody>
          <a:bodyPr lIns="90000" rIns="90000" tIns="45000" bIns="45000" anchor="ctr">
            <a:noAutofit/>
          </a:bodyPr>
          <a:p>
            <a:pPr indent="0" algn="ctr" defTabSz="457200">
              <a:lnSpc>
                <a:spcPct val="100000"/>
              </a:lnSpc>
              <a:buNone/>
              <a:tabLst>
                <a:tab algn="l" pos="0"/>
              </a:tabLst>
            </a:pPr>
            <a:r>
              <a:rPr b="0" lang="de-DE" sz="1900" spc="-1" strike="noStrike">
                <a:solidFill>
                  <a:schemeClr val="dk1"/>
                </a:solidFill>
                <a:latin typeface="Arial"/>
                <a:ea typeface="Arial"/>
              </a:rPr>
              <a:t>Bild auf Platzhalter ziehen oder durch Klicken auf Symbol hinzufügen</a:t>
            </a:r>
            <a:endParaRPr b="0" lang="en-US" sz="1900" spc="-1" strike="noStrike">
              <a:solidFill>
                <a:schemeClr val="lt1"/>
              </a:solidFill>
              <a:latin typeface="Arial"/>
            </a:endParaRPr>
          </a:p>
        </p:txBody>
      </p:sp>
    </p:spTree>
  </p:cSld>
  <p:clrMap bg1="lt1" tx1="dk1" bg2="lt2" tx2="dk2" accent1="accent1" accent2="accent2" accent3="accent3" accent4="accent4" accent5="accent5" accent6="accent6" hlink="hlink" folHlink="folHlink"/>
  <p:sldLayoutIdLst>
    <p:sldLayoutId id="2147483661" r:id="rId3"/>
  </p:sldLayoutIdLst>
</p:sldMaster>
</file>

<file path=ppt/slideMasters/slideMaster8.xml><?xml version="1.0" encoding="utf-8"?>
<p:sldMaster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p:cSld>
    <p:bg>
      <p:bgPr>
        <a:solidFill>
          <a:srgbClr val="002060"/>
        </a:solidFill>
      </p:bgPr>
    </p:bg>
    <p:spTree>
      <p:nvGrpSpPr>
        <p:cNvPr id="1" name=""/>
        <p:cNvGrpSpPr/>
        <p:nvPr/>
      </p:nvGrpSpPr>
      <p:grpSpPr>
        <a:xfrm>
          <a:off x="0" y="0"/>
          <a:ext cx="0" cy="0"/>
          <a:chOff x="0" y="0"/>
          <a:chExt cx="0" cy="0"/>
        </a:xfrm>
      </p:grpSpPr>
      <p:sp>
        <p:nvSpPr>
          <p:cNvPr id="55" name="Textfeld 13"/>
          <p:cNvSpPr/>
          <p:nvPr/>
        </p:nvSpPr>
        <p:spPr>
          <a:xfrm>
            <a:off x="10848600" y="6580800"/>
            <a:ext cx="935280" cy="186480"/>
          </a:xfrm>
          <a:prstGeom prst="rect">
            <a:avLst/>
          </a:prstGeom>
          <a:noFill/>
          <a:ln w="0">
            <a:noFill/>
          </a:ln>
        </p:spPr>
        <p:style>
          <a:lnRef idx="0"/>
          <a:fillRef idx="0"/>
          <a:effectRef idx="0"/>
          <a:fontRef idx="minor"/>
        </p:style>
        <p:txBody>
          <a:bodyPr lIns="0" rIns="0" tIns="0" bIns="0" anchor="t">
            <a:noAutofit/>
          </a:bodyPr>
          <a:p>
            <a:pPr algn="r" defTabSz="457200">
              <a:lnSpc>
                <a:spcPct val="100000"/>
              </a:lnSpc>
            </a:pPr>
            <a:r>
              <a:rPr b="1" lang="de-DE" sz="1100" spc="-1" strike="noStrike">
                <a:solidFill>
                  <a:schemeClr val="dk1"/>
                </a:solidFill>
                <a:latin typeface="Arial"/>
                <a:ea typeface="Arial"/>
              </a:rPr>
              <a:t>Seite </a:t>
            </a:r>
            <a:fld id="{F9A868C9-8E72-4A46-A243-C0F37BE50EF5}" type="slidenum">
              <a:rPr b="1" lang="de-DE" sz="1100" spc="-1" strike="noStrike">
                <a:solidFill>
                  <a:schemeClr val="dk1"/>
                </a:solidFill>
                <a:latin typeface="Arial"/>
                <a:ea typeface="Arial"/>
              </a:rPr>
              <a:t>&lt;number&gt;</a:t>
            </a:fld>
            <a:endParaRPr b="0" lang="en-US" sz="1100" spc="-1" strike="noStrike">
              <a:solidFill>
                <a:srgbClr val="ffffff"/>
              </a:solidFill>
              <a:latin typeface="Calibri"/>
            </a:endParaRPr>
          </a:p>
        </p:txBody>
      </p:sp>
      <p:pic>
        <p:nvPicPr>
          <p:cNvPr id="56" name="Grafik 6" descr=""/>
          <p:cNvPicPr/>
          <p:nvPr/>
        </p:nvPicPr>
        <p:blipFill>
          <a:blip r:embed="rId2"/>
          <a:stretch/>
        </p:blipFill>
        <p:spPr>
          <a:xfrm>
            <a:off x="403200" y="6613920"/>
            <a:ext cx="325080" cy="100440"/>
          </a:xfrm>
          <a:prstGeom prst="rect">
            <a:avLst/>
          </a:prstGeom>
          <a:ln w="0">
            <a:noFill/>
          </a:ln>
        </p:spPr>
      </p:pic>
      <p:sp>
        <p:nvSpPr>
          <p:cNvPr id="57" name="PlaceHolder 1"/>
          <p:cNvSpPr>
            <a:spLocks noGrp="1"/>
          </p:cNvSpPr>
          <p:nvPr>
            <p:ph type="title"/>
          </p:nvPr>
        </p:nvSpPr>
        <p:spPr>
          <a:xfrm>
            <a:off x="407880" y="349560"/>
            <a:ext cx="11375640" cy="450720"/>
          </a:xfrm>
          <a:prstGeom prst="rect">
            <a:avLst/>
          </a:prstGeom>
          <a:noFill/>
          <a:ln w="0">
            <a:noFill/>
          </a:ln>
        </p:spPr>
        <p:txBody>
          <a:bodyPr lIns="0" rIns="0" tIns="0" bIns="0" anchor="t">
            <a:noAutofit/>
          </a:bodyPr>
          <a:p>
            <a:pPr indent="0" defTabSz="914400">
              <a:lnSpc>
                <a:spcPct val="90000"/>
              </a:lnSpc>
              <a:buNone/>
            </a:pPr>
            <a:r>
              <a:rPr b="1" lang="de-DE" sz="3000" spc="-1" strike="noStrike">
                <a:solidFill>
                  <a:schemeClr val="accent1"/>
                </a:solidFill>
                <a:latin typeface="Arial"/>
                <a:ea typeface="Arial"/>
              </a:rPr>
              <a:t>Mastertitelformat bearbeiten</a:t>
            </a:r>
            <a:endParaRPr b="0" lang="en-US" sz="3000" spc="-1" strike="noStrike">
              <a:solidFill>
                <a:schemeClr val="dk1"/>
              </a:solidFill>
              <a:latin typeface="Arial"/>
            </a:endParaRPr>
          </a:p>
        </p:txBody>
      </p:sp>
      <p:sp>
        <p:nvSpPr>
          <p:cNvPr id="58" name="PlaceHolder 2"/>
          <p:cNvSpPr>
            <a:spLocks noGrp="1"/>
          </p:cNvSpPr>
          <p:nvPr>
            <p:ph type="ftr" idx="7"/>
          </p:nvPr>
        </p:nvSpPr>
        <p:spPr>
          <a:xfrm>
            <a:off x="791640" y="6580800"/>
            <a:ext cx="9948600" cy="186480"/>
          </a:xfrm>
          <a:prstGeom prst="rect">
            <a:avLst/>
          </a:prstGeom>
          <a:noFill/>
          <a:ln w="0">
            <a:noFill/>
          </a:ln>
        </p:spPr>
        <p:txBody>
          <a:bodyPr lIns="0" rIns="0" tIns="0" bIns="0" anchor="t">
            <a:noAutofit/>
          </a:bodyPr>
          <a:lstStyle>
            <a:lvl1pPr indent="0" defTabSz="457200">
              <a:lnSpc>
                <a:spcPct val="100000"/>
              </a:lnSpc>
              <a:buNone/>
              <a:defRPr b="0" lang="pt-BR" sz="1100" spc="-1" strike="noStrike">
                <a:solidFill>
                  <a:schemeClr val="lt1"/>
                </a:solidFill>
                <a:latin typeface="Arial"/>
                <a:ea typeface="Arial"/>
              </a:defRPr>
            </a:lvl1pPr>
          </a:lstStyle>
          <a:p>
            <a:pPr indent="0" defTabSz="457200">
              <a:lnSpc>
                <a:spcPct val="100000"/>
              </a:lnSpc>
              <a:buNone/>
            </a:pPr>
            <a:r>
              <a:rPr b="0" lang="pt-BR" sz="1100" spc="-1" strike="noStrike">
                <a:solidFill>
                  <a:schemeClr val="lt1"/>
                </a:solidFill>
                <a:latin typeface="Arial"/>
                <a:ea typeface="Arial"/>
              </a:rPr>
              <a:t>&lt;footer&gt;</a:t>
            </a:r>
            <a:endParaRPr b="0" lang="en-US" sz="1100" spc="-1" strike="noStrike">
              <a:solidFill>
                <a:srgbClr val="ffffff"/>
              </a:solidFill>
              <a:latin typeface="Calibri"/>
            </a:endParaRPr>
          </a:p>
        </p:txBody>
      </p:sp>
      <p:sp>
        <p:nvSpPr>
          <p:cNvPr id="59" name="PlaceHolder 3"/>
          <p:cNvSpPr>
            <a:spLocks noGrp="1"/>
          </p:cNvSpPr>
          <p:nvPr>
            <p:ph type="body"/>
          </p:nvPr>
        </p:nvSpPr>
        <p:spPr>
          <a:xfrm>
            <a:off x="407880" y="817560"/>
            <a:ext cx="11375640" cy="378720"/>
          </a:xfrm>
          <a:prstGeom prst="rect">
            <a:avLst/>
          </a:prstGeom>
          <a:noFill/>
          <a:ln w="0">
            <a:noFill/>
          </a:ln>
        </p:spPr>
        <p:txBody>
          <a:bodyPr lIns="0" rIns="0" tIns="0" bIns="0" anchor="t">
            <a:noAutofit/>
          </a:bodyPr>
          <a:p>
            <a:pPr indent="0" defTabSz="914400">
              <a:lnSpc>
                <a:spcPct val="110000"/>
              </a:lnSpc>
              <a:buNone/>
              <a:tabLst>
                <a:tab algn="l" pos="0"/>
              </a:tabLst>
            </a:pPr>
            <a:r>
              <a:rPr b="1" lang="de-DE" sz="1800" spc="-1" strike="noStrike">
                <a:solidFill>
                  <a:schemeClr val="accent2"/>
                </a:solidFill>
                <a:latin typeface="Arial"/>
                <a:ea typeface="Arial"/>
              </a:rPr>
              <a:t>Unterüberschrift</a:t>
            </a:r>
            <a:endParaRPr b="0" lang="en-US" sz="1800" spc="-1" strike="noStrike">
              <a:solidFill>
                <a:schemeClr val="lt1"/>
              </a:solidFill>
              <a:latin typeface="Arial"/>
            </a:endParaRPr>
          </a:p>
        </p:txBody>
      </p:sp>
    </p:spTree>
  </p:cSld>
  <p:clrMap bg1="lt1" tx1="dk1" bg2="lt2" tx2="dk2" accent1="accent1" accent2="accent2" accent3="accent3" accent4="accent4" accent5="accent5" accent6="accent6" hlink="hlink" folHlink="folHlink"/>
  <p:sldLayoutIdLst>
    <p:sldLayoutId id="2147483663" r:id="rId3"/>
  </p:sldLayoutIdLst>
</p:sldMaster>
</file>

<file path=ppt/slideMasters/slideMaster9.xml><?xml version="1.0" encoding="utf-8"?>
<p:sldMaster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p:cSld>
    <p:bg>
      <p:bgPr>
        <a:solidFill>
          <a:srgbClr val="002060"/>
        </a:solidFill>
      </p:bgPr>
    </p:bg>
    <p:spTree>
      <p:nvGrpSpPr>
        <p:cNvPr id="1" name=""/>
        <p:cNvGrpSpPr/>
        <p:nvPr/>
      </p:nvGrpSpPr>
      <p:grpSpPr>
        <a:xfrm>
          <a:off x="0" y="0"/>
          <a:ext cx="0" cy="0"/>
          <a:chOff x="0" y="0"/>
          <a:chExt cx="0" cy="0"/>
        </a:xfrm>
      </p:grpSpPr>
      <p:sp>
        <p:nvSpPr>
          <p:cNvPr id="60" name="Textfeld 13"/>
          <p:cNvSpPr/>
          <p:nvPr/>
        </p:nvSpPr>
        <p:spPr>
          <a:xfrm>
            <a:off x="10848600" y="6580800"/>
            <a:ext cx="935280" cy="186480"/>
          </a:xfrm>
          <a:prstGeom prst="rect">
            <a:avLst/>
          </a:prstGeom>
          <a:noFill/>
          <a:ln w="0">
            <a:noFill/>
          </a:ln>
        </p:spPr>
        <p:style>
          <a:lnRef idx="0"/>
          <a:fillRef idx="0"/>
          <a:effectRef idx="0"/>
          <a:fontRef idx="minor"/>
        </p:style>
        <p:txBody>
          <a:bodyPr lIns="0" rIns="0" tIns="0" bIns="0" anchor="t">
            <a:noAutofit/>
          </a:bodyPr>
          <a:p>
            <a:pPr algn="r" defTabSz="457200">
              <a:lnSpc>
                <a:spcPct val="100000"/>
              </a:lnSpc>
            </a:pPr>
            <a:r>
              <a:rPr b="1" lang="de-DE" sz="1100" spc="-1" strike="noStrike">
                <a:solidFill>
                  <a:schemeClr val="dk1"/>
                </a:solidFill>
                <a:latin typeface="Arial"/>
                <a:ea typeface="Arial"/>
              </a:rPr>
              <a:t>Seite </a:t>
            </a:r>
            <a:fld id="{ABBC728B-B622-449D-90C5-EF6D0E0D2C22}" type="slidenum">
              <a:rPr b="1" lang="de-DE" sz="1100" spc="-1" strike="noStrike">
                <a:solidFill>
                  <a:schemeClr val="dk1"/>
                </a:solidFill>
                <a:latin typeface="Arial"/>
                <a:ea typeface="Arial"/>
              </a:rPr>
              <a:t>&lt;number&gt;</a:t>
            </a:fld>
            <a:endParaRPr b="0" lang="en-US" sz="1100" spc="-1" strike="noStrike">
              <a:solidFill>
                <a:srgbClr val="ffffff"/>
              </a:solidFill>
              <a:latin typeface="Calibri"/>
            </a:endParaRPr>
          </a:p>
        </p:txBody>
      </p:sp>
      <p:pic>
        <p:nvPicPr>
          <p:cNvPr id="61" name="Grafik 6" descr=""/>
          <p:cNvPicPr/>
          <p:nvPr/>
        </p:nvPicPr>
        <p:blipFill>
          <a:blip r:embed="rId2"/>
          <a:stretch/>
        </p:blipFill>
        <p:spPr>
          <a:xfrm>
            <a:off x="403200" y="6613920"/>
            <a:ext cx="325080" cy="100440"/>
          </a:xfrm>
          <a:prstGeom prst="rect">
            <a:avLst/>
          </a:prstGeom>
          <a:ln w="0">
            <a:noFill/>
          </a:ln>
        </p:spPr>
      </p:pic>
      <p:sp>
        <p:nvSpPr>
          <p:cNvPr id="62" name="PlaceHolder 1"/>
          <p:cNvSpPr>
            <a:spLocks noGrp="1"/>
          </p:cNvSpPr>
          <p:nvPr>
            <p:ph type="ftr" idx="8"/>
          </p:nvPr>
        </p:nvSpPr>
        <p:spPr>
          <a:xfrm>
            <a:off x="791640" y="6580800"/>
            <a:ext cx="9948600" cy="186480"/>
          </a:xfrm>
          <a:prstGeom prst="rect">
            <a:avLst/>
          </a:prstGeom>
          <a:noFill/>
          <a:ln w="0">
            <a:noFill/>
          </a:ln>
        </p:spPr>
        <p:txBody>
          <a:bodyPr lIns="0" rIns="0" tIns="0" bIns="0" anchor="t">
            <a:noAutofit/>
          </a:bodyPr>
          <a:lstStyle>
            <a:lvl1pPr indent="0" defTabSz="457200">
              <a:lnSpc>
                <a:spcPct val="100000"/>
              </a:lnSpc>
              <a:buNone/>
              <a:defRPr b="0" lang="pt-BR" sz="1100" spc="-1" strike="noStrike">
                <a:solidFill>
                  <a:schemeClr val="lt1"/>
                </a:solidFill>
                <a:latin typeface="Arial"/>
                <a:ea typeface="Arial"/>
              </a:defRPr>
            </a:lvl1pPr>
          </a:lstStyle>
          <a:p>
            <a:pPr indent="0" defTabSz="457200">
              <a:lnSpc>
                <a:spcPct val="100000"/>
              </a:lnSpc>
              <a:buNone/>
            </a:pPr>
            <a:r>
              <a:rPr b="0" lang="pt-BR" sz="1100" spc="-1" strike="noStrike">
                <a:solidFill>
                  <a:schemeClr val="lt1"/>
                </a:solidFill>
                <a:latin typeface="Arial"/>
                <a:ea typeface="Arial"/>
              </a:rPr>
              <a:t>&lt;footer&gt;</a:t>
            </a:r>
            <a:endParaRPr b="0" lang="en-US" sz="1100" spc="-1" strike="noStrike">
              <a:solidFill>
                <a:srgbClr val="ffffff"/>
              </a:solidFill>
              <a:latin typeface="Calibri"/>
            </a:endParaRPr>
          </a:p>
        </p:txBody>
      </p:sp>
    </p:spTree>
  </p:cSld>
  <p:clrMap bg1="lt1" tx1="dk1" bg2="lt2" tx2="dk2" accent1="accent1" accent2="accent2" accent3="accent3" accent4="accent4" accent5="accent5" accent6="accent6" hlink="hlink" folHlink="folHlink"/>
  <p:sldLayoutIdLst>
    <p:sldLayoutId id="2147483665" r:id="rId3"/>
  </p:sldLayoutIdLst>
</p:sldMaster>
</file>

<file path=ppt/slides/_rels/slide1.xml.rels><?xml version="1.0" encoding="UTF-8"?>
<Relationships xmlns="http://schemas.openxmlformats.org/package/2006/relationships"><Relationship Id="rId1" Type="http://schemas.openxmlformats.org/officeDocument/2006/relationships/image" Target="../media/image4.png"/><Relationship Id="rId2" Type="http://schemas.openxmlformats.org/officeDocument/2006/relationships/image" Target="../media/image3.wmf"/><Relationship Id="rId3" Type="http://schemas.openxmlformats.org/officeDocument/2006/relationships/image" Target="../media/image5.jpeg"/><Relationship Id="rId4" Type="http://schemas.openxmlformats.org/officeDocument/2006/relationships/slideLayout" Target="../slideLayouts/slideLayout16.xml"/>
</Relationships>
</file>

<file path=ppt/slides/_rels/slide10.xml.rels><?xml version="1.0" encoding="UTF-8"?>
<Relationships xmlns="http://schemas.openxmlformats.org/package/2006/relationships"><Relationship Id="rId1" Type="http://schemas.openxmlformats.org/officeDocument/2006/relationships/image" Target="../media/image49.jpeg"/><Relationship Id="rId2" Type="http://schemas.openxmlformats.org/officeDocument/2006/relationships/image" Target="../media/image50.png"/><Relationship Id="rId3" Type="http://schemas.openxmlformats.org/officeDocument/2006/relationships/image" Target="../media/image51.jpeg"/><Relationship Id="rId4" Type="http://schemas.openxmlformats.org/officeDocument/2006/relationships/image" Target="../media/image52.jpeg"/><Relationship Id="rId5" Type="http://schemas.openxmlformats.org/officeDocument/2006/relationships/image" Target="../media/image53.jpeg"/><Relationship Id="rId6" Type="http://schemas.openxmlformats.org/officeDocument/2006/relationships/image" Target="../media/image54.jpeg"/><Relationship Id="rId7" Type="http://schemas.openxmlformats.org/officeDocument/2006/relationships/slideLayout" Target="../slideLayouts/slideLayout31.xml"/>
</Relationships>
</file>

<file path=ppt/slides/_rels/slide11.xml.rels><?xml version="1.0" encoding="UTF-8"?>
<Relationships xmlns="http://schemas.openxmlformats.org/package/2006/relationships"><Relationship Id="rId1" Type="http://schemas.openxmlformats.org/officeDocument/2006/relationships/image" Target="../media/image55.png"/><Relationship Id="rId2" Type="http://schemas.openxmlformats.org/officeDocument/2006/relationships/image" Target="../media/image56.png"/><Relationship Id="rId3" Type="http://schemas.openxmlformats.org/officeDocument/2006/relationships/image" Target="../media/image57.png"/><Relationship Id="rId4" Type="http://schemas.openxmlformats.org/officeDocument/2006/relationships/slideLayout" Target="../slideLayouts/slideLayout31.xml"/>
</Relationships>
</file>

<file path=ppt/slides/_rels/slide12.xml.rels><?xml version="1.0" encoding="UTF-8"?>
<Relationships xmlns="http://schemas.openxmlformats.org/package/2006/relationships"><Relationship Id="rId1" Type="http://schemas.openxmlformats.org/officeDocument/2006/relationships/image" Target="../media/image58.png"/><Relationship Id="rId2" Type="http://schemas.openxmlformats.org/officeDocument/2006/relationships/slideLayout" Target="../slideLayouts/slideLayout31.xml"/>
</Relationships>
</file>

<file path=ppt/slides/_rels/slide2.xml.rels><?xml version="1.0" encoding="UTF-8"?>
<Relationships xmlns="http://schemas.openxmlformats.org/package/2006/relationships"><Relationship Id="rId1" Type="http://schemas.openxmlformats.org/officeDocument/2006/relationships/image" Target="../media/image5.jpeg"/><Relationship Id="rId2" Type="http://schemas.openxmlformats.org/officeDocument/2006/relationships/slideLayout" Target="../slideLayouts/slideLayout10.xml"/><Relationship Id="rId3" Type="http://schemas.openxmlformats.org/officeDocument/2006/relationships/notesSlide" Target="../notesSlides/notesSlide2.xml"/>
</Relationships>
</file>

<file path=ppt/slides/_rels/slide3.xml.rels><?xml version="1.0" encoding="UTF-8"?>
<Relationships xmlns="http://schemas.openxmlformats.org/package/2006/relationships"><Relationship Id="rId1" Type="http://schemas.openxmlformats.org/officeDocument/2006/relationships/image" Target="../media/image6.png"/><Relationship Id="rId2" Type="http://schemas.openxmlformats.org/officeDocument/2006/relationships/image" Target="../media/image7.jpeg"/><Relationship Id="rId3" Type="http://schemas.openxmlformats.org/officeDocument/2006/relationships/image" Target="../media/image8.jpeg"/><Relationship Id="rId4" Type="http://schemas.openxmlformats.org/officeDocument/2006/relationships/image" Target="../media/image9.jpeg"/><Relationship Id="rId5" Type="http://schemas.openxmlformats.org/officeDocument/2006/relationships/image" Target="../media/image10.png"/><Relationship Id="rId6" Type="http://schemas.openxmlformats.org/officeDocument/2006/relationships/image" Target="../media/image11.png"/><Relationship Id="rId7" Type="http://schemas.openxmlformats.org/officeDocument/2006/relationships/image" Target="../media/image12.png"/><Relationship Id="rId8" Type="http://schemas.openxmlformats.org/officeDocument/2006/relationships/image" Target="../media/image13.jpeg"/><Relationship Id="rId9" Type="http://schemas.openxmlformats.org/officeDocument/2006/relationships/image" Target="../media/image14.png"/><Relationship Id="rId10" Type="http://schemas.openxmlformats.org/officeDocument/2006/relationships/image" Target="../media/image15.png"/><Relationship Id="rId11" Type="http://schemas.openxmlformats.org/officeDocument/2006/relationships/slideLayout" Target="../slideLayouts/slideLayout13.xml"/><Relationship Id="rId12" Type="http://schemas.openxmlformats.org/officeDocument/2006/relationships/notesSlide" Target="../notesSlides/notesSlide3.xml"/>
</Relationships>
</file>

<file path=ppt/slides/_rels/slide4.xml.rels><?xml version="1.0" encoding="UTF-8"?>
<Relationships xmlns="http://schemas.openxmlformats.org/package/2006/relationships"><Relationship Id="rId1" Type="http://schemas.openxmlformats.org/officeDocument/2006/relationships/image" Target="../media/image16.jpeg"/><Relationship Id="rId2" Type="http://schemas.openxmlformats.org/officeDocument/2006/relationships/image" Target="../media/image17.jpeg"/><Relationship Id="rId3" Type="http://schemas.openxmlformats.org/officeDocument/2006/relationships/image" Target="../media/image18.jpeg"/><Relationship Id="rId4" Type="http://schemas.openxmlformats.org/officeDocument/2006/relationships/image" Target="../media/image19.jpeg"/><Relationship Id="rId5" Type="http://schemas.openxmlformats.org/officeDocument/2006/relationships/image" Target="../media/image20.png"/><Relationship Id="rId6" Type="http://schemas.openxmlformats.org/officeDocument/2006/relationships/slideLayout" Target="../slideLayouts/slideLayout10.xml"/><Relationship Id="rId7" Type="http://schemas.openxmlformats.org/officeDocument/2006/relationships/notesSlide" Target="../notesSlides/notesSlide4.xml"/>
</Relationships>
</file>

<file path=ppt/slides/_rels/slide5.xml.rels><?xml version="1.0" encoding="UTF-8"?>
<Relationships xmlns="http://schemas.openxmlformats.org/package/2006/relationships"><Relationship Id="rId1" Type="http://schemas.openxmlformats.org/officeDocument/2006/relationships/oleObject" Target="../embeddings/oleObject1.bin"/><Relationship Id="rId2" Type="http://schemas.openxmlformats.org/officeDocument/2006/relationships/image" Target="../media/image21.wmf"/><Relationship Id="rId3" Type="http://schemas.openxmlformats.org/officeDocument/2006/relationships/hyperlink" Target="https://www.google.de/url?sa=i&amp;rct=j&amp;q=&amp;esrc=s&amp;source=images&amp;cd=&amp;cad=rja&amp;uact=8&amp;ved=0ahUKEwiZibqf8qzYAhUMY1AKHc1wDBcQjRwIBw&amp;url=https://www.ingenieur.de/technik/fachbereiche/optoelektronik/startschuss-fuer-roentgenlaser-xfel-in-hamburg/&amp;psig=AOvVaw0u87Y_pyrXgYRQsRZg8Q39&amp;ust=1514556889642480" TargetMode="External"/><Relationship Id="rId4" Type="http://schemas.openxmlformats.org/officeDocument/2006/relationships/image" Target="../media/image22.jpeg"/><Relationship Id="rId5" Type="http://schemas.openxmlformats.org/officeDocument/2006/relationships/image" Target="../media/image23.png"/><Relationship Id="rId6" Type="http://schemas.openxmlformats.org/officeDocument/2006/relationships/image" Target="../media/image24.jpeg"/><Relationship Id="rId7" Type="http://schemas.openxmlformats.org/officeDocument/2006/relationships/image" Target="../media/image25.jpeg"/><Relationship Id="rId8" Type="http://schemas.openxmlformats.org/officeDocument/2006/relationships/image" Target="../media/image26.jpeg"/><Relationship Id="rId9" Type="http://schemas.openxmlformats.org/officeDocument/2006/relationships/image" Target="../media/image27.jpeg"/><Relationship Id="rId10" Type="http://schemas.openxmlformats.org/officeDocument/2006/relationships/slideLayout" Target="../slideLayouts/slideLayout11.xml"/><Relationship Id="rId11" Type="http://schemas.openxmlformats.org/officeDocument/2006/relationships/notesSlide" Target="../notesSlides/notesSlide5.xml"/>
</Relationships>
</file>

<file path=ppt/slides/_rels/slide6.xml.rels><?xml version="1.0" encoding="UTF-8"?>
<Relationships xmlns="http://schemas.openxmlformats.org/package/2006/relationships"><Relationship Id="rId1" Type="http://schemas.openxmlformats.org/officeDocument/2006/relationships/image" Target="../media/image28.png"/><Relationship Id="rId2" Type="http://schemas.openxmlformats.org/officeDocument/2006/relationships/image" Target="../media/image28.png"/><Relationship Id="rId3" Type="http://schemas.openxmlformats.org/officeDocument/2006/relationships/image" Target="../media/image28.png"/><Relationship Id="rId4" Type="http://schemas.openxmlformats.org/officeDocument/2006/relationships/image" Target="../media/image29.png"/><Relationship Id="rId5" Type="http://schemas.openxmlformats.org/officeDocument/2006/relationships/image" Target="../media/image28.png"/><Relationship Id="rId6" Type="http://schemas.openxmlformats.org/officeDocument/2006/relationships/image" Target="../media/image29.png"/><Relationship Id="rId7" Type="http://schemas.openxmlformats.org/officeDocument/2006/relationships/image" Target="../media/image29.png"/><Relationship Id="rId8" Type="http://schemas.openxmlformats.org/officeDocument/2006/relationships/image" Target="../media/image29.png"/><Relationship Id="rId9" Type="http://schemas.openxmlformats.org/officeDocument/2006/relationships/image" Target="../media/image29.png"/><Relationship Id="rId10" Type="http://schemas.openxmlformats.org/officeDocument/2006/relationships/image" Target="../media/image28.png"/><Relationship Id="rId11" Type="http://schemas.openxmlformats.org/officeDocument/2006/relationships/image" Target="../media/image29.png"/><Relationship Id="rId12" Type="http://schemas.openxmlformats.org/officeDocument/2006/relationships/image" Target="../media/image29.png"/><Relationship Id="rId13" Type="http://schemas.openxmlformats.org/officeDocument/2006/relationships/image" Target="../media/image29.png"/><Relationship Id="rId14" Type="http://schemas.openxmlformats.org/officeDocument/2006/relationships/image" Target="../media/image29.png"/><Relationship Id="rId15" Type="http://schemas.openxmlformats.org/officeDocument/2006/relationships/image" Target="../media/image29.png"/><Relationship Id="rId16" Type="http://schemas.openxmlformats.org/officeDocument/2006/relationships/image" Target="../media/image29.png"/><Relationship Id="rId17" Type="http://schemas.openxmlformats.org/officeDocument/2006/relationships/image" Target="../media/image30.png"/><Relationship Id="rId18" Type="http://schemas.openxmlformats.org/officeDocument/2006/relationships/image" Target="../media/image29.png"/><Relationship Id="rId19" Type="http://schemas.openxmlformats.org/officeDocument/2006/relationships/image" Target="../media/image29.png"/><Relationship Id="rId20" Type="http://schemas.openxmlformats.org/officeDocument/2006/relationships/image" Target="../media/image29.png"/><Relationship Id="rId21" Type="http://schemas.openxmlformats.org/officeDocument/2006/relationships/image" Target="../media/image29.png"/><Relationship Id="rId22" Type="http://schemas.openxmlformats.org/officeDocument/2006/relationships/image" Target="../media/image28.png"/><Relationship Id="rId23" Type="http://schemas.openxmlformats.org/officeDocument/2006/relationships/image" Target="../media/image29.png"/><Relationship Id="rId24" Type="http://schemas.openxmlformats.org/officeDocument/2006/relationships/image" Target="../media/image29.png"/><Relationship Id="rId25" Type="http://schemas.openxmlformats.org/officeDocument/2006/relationships/image" Target="../media/image28.png"/><Relationship Id="rId26" Type="http://schemas.openxmlformats.org/officeDocument/2006/relationships/image" Target="../media/image30.png"/><Relationship Id="rId27" Type="http://schemas.openxmlformats.org/officeDocument/2006/relationships/image" Target="../media/image29.png"/><Relationship Id="rId28" Type="http://schemas.openxmlformats.org/officeDocument/2006/relationships/image" Target="../media/image29.png"/><Relationship Id="rId29" Type="http://schemas.openxmlformats.org/officeDocument/2006/relationships/image" Target="../media/image29.png"/><Relationship Id="rId30" Type="http://schemas.openxmlformats.org/officeDocument/2006/relationships/image" Target="../media/image29.png"/><Relationship Id="rId31" Type="http://schemas.openxmlformats.org/officeDocument/2006/relationships/image" Target="../media/image29.png"/><Relationship Id="rId32" Type="http://schemas.openxmlformats.org/officeDocument/2006/relationships/image" Target="../media/image29.png"/><Relationship Id="rId33" Type="http://schemas.openxmlformats.org/officeDocument/2006/relationships/image" Target="../media/image29.png"/><Relationship Id="rId34" Type="http://schemas.openxmlformats.org/officeDocument/2006/relationships/image" Target="../media/image29.png"/><Relationship Id="rId35" Type="http://schemas.openxmlformats.org/officeDocument/2006/relationships/image" Target="../media/image30.png"/><Relationship Id="rId36" Type="http://schemas.openxmlformats.org/officeDocument/2006/relationships/image" Target="../media/image29.png"/><Relationship Id="rId37" Type="http://schemas.openxmlformats.org/officeDocument/2006/relationships/image" Target="../media/image30.png"/><Relationship Id="rId38" Type="http://schemas.openxmlformats.org/officeDocument/2006/relationships/image" Target="../media/image28.png"/><Relationship Id="rId39" Type="http://schemas.openxmlformats.org/officeDocument/2006/relationships/image" Target="../media/image29.png"/><Relationship Id="rId40" Type="http://schemas.openxmlformats.org/officeDocument/2006/relationships/image" Target="../media/image29.png"/><Relationship Id="rId41" Type="http://schemas.openxmlformats.org/officeDocument/2006/relationships/image" Target="../media/image28.png"/><Relationship Id="rId42" Type="http://schemas.openxmlformats.org/officeDocument/2006/relationships/image" Target="../media/image30.png"/><Relationship Id="rId43" Type="http://schemas.openxmlformats.org/officeDocument/2006/relationships/image" Target="../media/image30.png"/><Relationship Id="rId44" Type="http://schemas.openxmlformats.org/officeDocument/2006/relationships/image" Target="../media/image30.png"/><Relationship Id="rId45" Type="http://schemas.openxmlformats.org/officeDocument/2006/relationships/image" Target="../media/image30.png"/><Relationship Id="rId46" Type="http://schemas.openxmlformats.org/officeDocument/2006/relationships/image" Target="../media/image30.png"/><Relationship Id="rId47" Type="http://schemas.openxmlformats.org/officeDocument/2006/relationships/image" Target="../media/image28.png"/><Relationship Id="rId48" Type="http://schemas.openxmlformats.org/officeDocument/2006/relationships/image" Target="../media/image28.png"/><Relationship Id="rId49" Type="http://schemas.openxmlformats.org/officeDocument/2006/relationships/image" Target="../media/image28.png"/><Relationship Id="rId50" Type="http://schemas.openxmlformats.org/officeDocument/2006/relationships/image" Target="../media/image28.png"/><Relationship Id="rId51" Type="http://schemas.openxmlformats.org/officeDocument/2006/relationships/image" Target="../media/image28.png"/><Relationship Id="rId52" Type="http://schemas.openxmlformats.org/officeDocument/2006/relationships/image" Target="../media/image28.png"/><Relationship Id="rId53" Type="http://schemas.openxmlformats.org/officeDocument/2006/relationships/image" Target="../media/image28.png"/><Relationship Id="rId54" Type="http://schemas.openxmlformats.org/officeDocument/2006/relationships/image" Target="../media/image28.png"/><Relationship Id="rId55" Type="http://schemas.openxmlformats.org/officeDocument/2006/relationships/image" Target="../media/image28.png"/><Relationship Id="rId56" Type="http://schemas.openxmlformats.org/officeDocument/2006/relationships/image" Target="../media/image29.png"/><Relationship Id="rId57" Type="http://schemas.openxmlformats.org/officeDocument/2006/relationships/image" Target="../media/image29.png"/><Relationship Id="rId58" Type="http://schemas.openxmlformats.org/officeDocument/2006/relationships/image" Target="../media/image28.png"/><Relationship Id="rId59" Type="http://schemas.openxmlformats.org/officeDocument/2006/relationships/image" Target="../media/image29.png"/><Relationship Id="rId60" Type="http://schemas.openxmlformats.org/officeDocument/2006/relationships/image" Target="../media/image28.png"/><Relationship Id="rId61" Type="http://schemas.openxmlformats.org/officeDocument/2006/relationships/image" Target="../media/image28.png"/><Relationship Id="rId62" Type="http://schemas.openxmlformats.org/officeDocument/2006/relationships/image" Target="../media/image28.png"/><Relationship Id="rId63" Type="http://schemas.openxmlformats.org/officeDocument/2006/relationships/image" Target="../media/image28.png"/><Relationship Id="rId64" Type="http://schemas.openxmlformats.org/officeDocument/2006/relationships/image" Target="../media/image30.png"/><Relationship Id="rId65" Type="http://schemas.openxmlformats.org/officeDocument/2006/relationships/image" Target="../media/image28.png"/><Relationship Id="rId66" Type="http://schemas.openxmlformats.org/officeDocument/2006/relationships/image" Target="../media/image28.png"/><Relationship Id="rId67" Type="http://schemas.openxmlformats.org/officeDocument/2006/relationships/image" Target="../media/image28.png"/><Relationship Id="rId68" Type="http://schemas.openxmlformats.org/officeDocument/2006/relationships/image" Target="../media/image28.png"/><Relationship Id="rId69" Type="http://schemas.openxmlformats.org/officeDocument/2006/relationships/image" Target="../media/image31.jpeg"/><Relationship Id="rId70" Type="http://schemas.openxmlformats.org/officeDocument/2006/relationships/image" Target="../media/image32.jpeg"/><Relationship Id="rId71" Type="http://schemas.openxmlformats.org/officeDocument/2006/relationships/image" Target="../media/image33.jpeg"/><Relationship Id="rId72" Type="http://schemas.openxmlformats.org/officeDocument/2006/relationships/image" Target="../media/image34.jpeg"/><Relationship Id="rId73" Type="http://schemas.openxmlformats.org/officeDocument/2006/relationships/image" Target="../media/image35.jpeg"/><Relationship Id="rId74" Type="http://schemas.openxmlformats.org/officeDocument/2006/relationships/image" Target="../media/image36.jpeg"/><Relationship Id="rId75" Type="http://schemas.openxmlformats.org/officeDocument/2006/relationships/image" Target="../media/image37.jpeg"/><Relationship Id="rId76" Type="http://schemas.openxmlformats.org/officeDocument/2006/relationships/image" Target="../media/image38.jpeg"/><Relationship Id="rId77" Type="http://schemas.openxmlformats.org/officeDocument/2006/relationships/image" Target="../media/image39.jpeg"/><Relationship Id="rId78" Type="http://schemas.openxmlformats.org/officeDocument/2006/relationships/image" Target="../media/image40.png"/><Relationship Id="rId79" Type="http://schemas.openxmlformats.org/officeDocument/2006/relationships/slideLayout" Target="../slideLayouts/slideLayout11.xml"/>
</Relationships>
</file>

<file path=ppt/slides/_rels/slide7.xml.rels><?xml version="1.0" encoding="UTF-8"?>
<Relationships xmlns="http://schemas.openxmlformats.org/package/2006/relationships"><Relationship Id="rId1" Type="http://schemas.openxmlformats.org/officeDocument/2006/relationships/oleObject" Target="../embeddings/oleObject1.bin"/><Relationship Id="rId2" Type="http://schemas.openxmlformats.org/officeDocument/2006/relationships/image" Target="../media/image21.wmf"/><Relationship Id="rId3" Type="http://schemas.openxmlformats.org/officeDocument/2006/relationships/image" Target="../media/image41.png"/><Relationship Id="rId4" Type="http://schemas.openxmlformats.org/officeDocument/2006/relationships/image" Target="../media/image42.png"/><Relationship Id="rId5" Type="http://schemas.openxmlformats.org/officeDocument/2006/relationships/slideLayout" Target="../slideLayouts/slideLayout11.xml"/>
</Relationships>
</file>

<file path=ppt/slides/_rels/slide8.xml.rels><?xml version="1.0" encoding="UTF-8"?>
<Relationships xmlns="http://schemas.openxmlformats.org/package/2006/relationships"><Relationship Id="rId1" Type="http://schemas.openxmlformats.org/officeDocument/2006/relationships/image" Target="../media/image43.jpeg"/><Relationship Id="rId2" Type="http://schemas.openxmlformats.org/officeDocument/2006/relationships/image" Target="../media/image44.jpeg"/><Relationship Id="rId3" Type="http://schemas.openxmlformats.org/officeDocument/2006/relationships/image" Target="../media/image45.png"/><Relationship Id="rId4" Type="http://schemas.openxmlformats.org/officeDocument/2006/relationships/slideLayout" Target="../slideLayouts/slideLayout31.xml"/><Relationship Id="rId5" Type="http://schemas.openxmlformats.org/officeDocument/2006/relationships/notesSlide" Target="../notesSlides/notesSlide8.xml"/>
</Relationships>
</file>

<file path=ppt/slides/_rels/slide9.xml.rels><?xml version="1.0" encoding="UTF-8"?>
<Relationships xmlns="http://schemas.openxmlformats.org/package/2006/relationships"><Relationship Id="rId1" Type="http://schemas.openxmlformats.org/officeDocument/2006/relationships/image" Target="../media/image46.jpeg"/><Relationship Id="rId2" Type="http://schemas.openxmlformats.org/officeDocument/2006/relationships/image" Target="../media/image47.png"/><Relationship Id="rId3" Type="http://schemas.openxmlformats.org/officeDocument/2006/relationships/image" Target="../media/image48.jpeg"/><Relationship Id="rId4" Type="http://schemas.openxmlformats.org/officeDocument/2006/relationships/slideLayout" Target="../slideLayouts/slideLayout31.xml"/>
</Relationships>
</file>

<file path=ppt/slides/slide1.xml><?xml version="1.0" encoding="utf-8"?>
<p:sld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p:cSld>
    <p:bg>
      <p:bgPr>
        <a:solidFill>
          <a:srgbClr val="000000"/>
        </a:solidFill>
      </p:bgPr>
    </p:bg>
    <p:spTree>
      <p:nvGrpSpPr>
        <p:cNvPr id="1" name=""/>
        <p:cNvGrpSpPr/>
        <p:nvPr/>
      </p:nvGrpSpPr>
      <p:grpSpPr>
        <a:xfrm>
          <a:off x="0" y="0"/>
          <a:ext cx="0" cy="0"/>
          <a:chOff x="0" y="0"/>
          <a:chExt cx="0" cy="0"/>
        </a:xfrm>
      </p:grpSpPr>
      <p:pic>
        <p:nvPicPr>
          <p:cNvPr id="268" name="Bildplatzhalter 6" descr=""/>
          <p:cNvPicPr/>
          <p:nvPr/>
        </p:nvPicPr>
        <p:blipFill>
          <a:blip r:embed="rId1"/>
          <a:srcRect l="0" t="33638" r="2948" b="32724"/>
          <a:stretch/>
        </p:blipFill>
        <p:spPr>
          <a:xfrm>
            <a:off x="0" y="-27360"/>
            <a:ext cx="12191760" cy="1944000"/>
          </a:xfrm>
          <a:prstGeom prst="rect">
            <a:avLst/>
          </a:prstGeom>
          <a:ln w="0">
            <a:noFill/>
          </a:ln>
        </p:spPr>
      </p:pic>
      <p:pic>
        <p:nvPicPr>
          <p:cNvPr id="269" name="Grafik 9" descr=""/>
          <p:cNvPicPr/>
          <p:nvPr/>
        </p:nvPicPr>
        <p:blipFill>
          <a:blip r:embed="rId2"/>
          <a:stretch/>
        </p:blipFill>
        <p:spPr>
          <a:xfrm>
            <a:off x="11001240" y="255600"/>
            <a:ext cx="793440" cy="793800"/>
          </a:xfrm>
          <a:prstGeom prst="rect">
            <a:avLst/>
          </a:prstGeom>
          <a:ln w="0">
            <a:noFill/>
          </a:ln>
        </p:spPr>
      </p:pic>
      <p:sp>
        <p:nvSpPr>
          <p:cNvPr id="270" name="PlaceHolder 1"/>
          <p:cNvSpPr>
            <a:spLocks noGrp="1"/>
          </p:cNvSpPr>
          <p:nvPr>
            <p:ph type="title"/>
          </p:nvPr>
        </p:nvSpPr>
        <p:spPr>
          <a:xfrm>
            <a:off x="119160" y="349560"/>
            <a:ext cx="11375640" cy="450720"/>
          </a:xfrm>
          <a:prstGeom prst="rect">
            <a:avLst/>
          </a:prstGeom>
          <a:noFill/>
          <a:ln w="0">
            <a:noFill/>
          </a:ln>
        </p:spPr>
        <p:txBody>
          <a:bodyPr lIns="0" rIns="0" tIns="0" bIns="0" anchor="t">
            <a:noAutofit/>
          </a:bodyPr>
          <a:p>
            <a:pPr indent="0" defTabSz="914400">
              <a:lnSpc>
                <a:spcPct val="90000"/>
              </a:lnSpc>
              <a:buNone/>
            </a:pPr>
            <a:r>
              <a:rPr b="1" lang="de-DE" sz="3000" spc="-1" strike="noStrike">
                <a:solidFill>
                  <a:schemeClr val="accent1"/>
                </a:solidFill>
                <a:latin typeface="Arial"/>
                <a:ea typeface="Arial"/>
              </a:rPr>
              <a:t>DESY</a:t>
            </a:r>
            <a:r>
              <a:rPr b="1" lang="de-DE" sz="3000" spc="-1" strike="noStrike">
                <a:solidFill>
                  <a:schemeClr val="accent2"/>
                </a:solidFill>
                <a:latin typeface="Arial"/>
                <a:ea typeface="Arial"/>
              </a:rPr>
              <a:t>.</a:t>
            </a:r>
            <a:r>
              <a:rPr b="1" lang="de-DE" sz="3000" spc="-1" strike="noStrike">
                <a:solidFill>
                  <a:schemeClr val="accent1"/>
                </a:solidFill>
                <a:latin typeface="Arial"/>
                <a:ea typeface="Arial"/>
              </a:rPr>
              <a:t> The Decoding of Matter</a:t>
            </a:r>
            <a:br>
              <a:rPr sz="3000"/>
            </a:br>
            <a:endParaRPr b="0" lang="en-US" sz="3000" spc="-1" strike="noStrike">
              <a:solidFill>
                <a:schemeClr val="dk1"/>
              </a:solidFill>
              <a:latin typeface="Arial"/>
            </a:endParaRPr>
          </a:p>
        </p:txBody>
      </p:sp>
      <p:sp>
        <p:nvSpPr>
          <p:cNvPr id="271" name="Textfeld 1"/>
          <p:cNvSpPr/>
          <p:nvPr/>
        </p:nvSpPr>
        <p:spPr>
          <a:xfrm>
            <a:off x="13680" y="1146240"/>
            <a:ext cx="5022720" cy="699480"/>
          </a:xfrm>
          <a:prstGeom prst="rect">
            <a:avLst/>
          </a:prstGeom>
          <a:noFill/>
          <a:ln w="0">
            <a:noFill/>
          </a:ln>
        </p:spPr>
        <p:style>
          <a:lnRef idx="0"/>
          <a:fillRef idx="0"/>
          <a:effectRef idx="0"/>
          <a:fontRef idx="minor"/>
        </p:style>
        <p:txBody>
          <a:bodyPr lIns="90000" rIns="90000" tIns="45000" bIns="45000" anchor="t">
            <a:spAutoFit/>
          </a:bodyPr>
          <a:p>
            <a:pPr defTabSz="457200">
              <a:lnSpc>
                <a:spcPct val="100000"/>
              </a:lnSpc>
            </a:pPr>
            <a:r>
              <a:rPr b="1" lang="de-DE" sz="2000" spc="-1" strike="noStrike">
                <a:solidFill>
                  <a:schemeClr val="lt1"/>
                </a:solidFill>
                <a:latin typeface="Arial"/>
                <a:ea typeface="Arial"/>
              </a:rPr>
              <a:t>Beate Heinemann</a:t>
            </a:r>
            <a:endParaRPr b="0" lang="en-US" sz="2000" spc="-1" strike="noStrike">
              <a:solidFill>
                <a:srgbClr val="ffffff"/>
              </a:solidFill>
              <a:latin typeface="Calibri"/>
            </a:endParaRPr>
          </a:p>
          <a:p>
            <a:pPr defTabSz="457200">
              <a:lnSpc>
                <a:spcPct val="100000"/>
              </a:lnSpc>
            </a:pPr>
            <a:r>
              <a:rPr b="1" lang="de-DE" sz="2000" spc="-1" strike="noStrike">
                <a:solidFill>
                  <a:schemeClr val="lt1"/>
                </a:solidFill>
                <a:latin typeface="Arial"/>
                <a:ea typeface="Arial"/>
              </a:rPr>
              <a:t>Director in charge of Particle Physics</a:t>
            </a:r>
            <a:endParaRPr b="0" lang="en-US" sz="2000" spc="-1" strike="noStrike">
              <a:solidFill>
                <a:srgbClr val="ffffff"/>
              </a:solidFill>
              <a:latin typeface="Calibri"/>
            </a:endParaRPr>
          </a:p>
        </p:txBody>
      </p:sp>
      <p:sp>
        <p:nvSpPr>
          <p:cNvPr id="272" name="PlaceHolder 2"/>
          <p:cNvSpPr>
            <a:spLocks noGrp="1"/>
          </p:cNvSpPr>
          <p:nvPr>
            <p:ph type="ftr" idx="35"/>
          </p:nvPr>
        </p:nvSpPr>
        <p:spPr>
          <a:xfrm>
            <a:off x="791640" y="6580800"/>
            <a:ext cx="9948600" cy="186480"/>
          </a:xfrm>
          <a:prstGeom prst="rect">
            <a:avLst/>
          </a:prstGeom>
          <a:noFill/>
          <a:ln w="0">
            <a:noFill/>
          </a:ln>
        </p:spPr>
        <p:txBody>
          <a:bodyPr lIns="0" rIns="0" tIns="0" bIns="0" anchor="t">
            <a:noAutofit/>
          </a:bodyPr>
          <a:lstStyle>
            <a:lvl1pPr indent="0" defTabSz="457200">
              <a:lnSpc>
                <a:spcPct val="100000"/>
              </a:lnSpc>
              <a:buNone/>
              <a:defRPr b="0" lang="pt-BR" sz="1100" spc="-1" strike="noStrike">
                <a:solidFill>
                  <a:schemeClr val="lt1"/>
                </a:solidFill>
                <a:latin typeface="Arial"/>
                <a:ea typeface="Arial"/>
              </a:defRPr>
            </a:lvl1pPr>
          </a:lstStyle>
          <a:p>
            <a:pPr indent="0" defTabSz="457200">
              <a:lnSpc>
                <a:spcPct val="100000"/>
              </a:lnSpc>
              <a:buNone/>
            </a:pPr>
            <a:r>
              <a:rPr b="0" lang="pt-BR" sz="1100" spc="-1" strike="noStrike">
                <a:solidFill>
                  <a:schemeClr val="lt1"/>
                </a:solidFill>
                <a:latin typeface="Arial"/>
                <a:ea typeface="Arial"/>
              </a:rPr>
              <a:t>Beate Heinemann, microTCA workshop in Hamburg, 12/2024</a:t>
            </a:r>
            <a:endParaRPr b="0" lang="en-US" sz="1100" spc="-1" strike="noStrike">
              <a:solidFill>
                <a:srgbClr val="ffffff"/>
              </a:solidFill>
              <a:latin typeface="Calibri"/>
            </a:endParaRPr>
          </a:p>
        </p:txBody>
      </p:sp>
      <p:pic>
        <p:nvPicPr>
          <p:cNvPr id="273" name="Picture 2" descr="Luftaufnahme des DESY"/>
          <p:cNvPicPr/>
          <p:nvPr/>
        </p:nvPicPr>
        <p:blipFill>
          <a:blip r:embed="rId3"/>
          <a:srcRect l="0" t="10910" r="0" b="0"/>
          <a:stretch/>
        </p:blipFill>
        <p:spPr>
          <a:xfrm>
            <a:off x="0" y="1854000"/>
            <a:ext cx="12191760" cy="4654080"/>
          </a:xfrm>
          <a:prstGeom prst="rect">
            <a:avLst/>
          </a:prstGeom>
          <a:ln w="0">
            <a:noFill/>
          </a:ln>
        </p:spPr>
      </p:pic>
    </p:spTree>
  </p:cSld>
  <mc:AlternateContent>
    <mc:Choice Requires="p14">
      <p:transition spd="med" p14:dur="700">
        <p:fade/>
      </p:transition>
    </mc:Choice>
    <mc:Fallback>
      <p:transition spd="med">
        <p:fade/>
      </p:transition>
    </mc:Fallback>
  </mc:AlternateContent>
</p:sld>
</file>

<file path=ppt/slides/slide10.xml><?xml version="1.0" encoding="utf-8"?>
<p:sld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p:cSld>
    <p:spTree>
      <p:nvGrpSpPr>
        <p:cNvPr id="1" name=""/>
        <p:cNvGrpSpPr/>
        <p:nvPr/>
      </p:nvGrpSpPr>
      <p:grpSpPr>
        <a:xfrm>
          <a:off x="0" y="0"/>
          <a:ext cx="0" cy="0"/>
          <a:chOff x="0" y="0"/>
          <a:chExt cx="0" cy="0"/>
        </a:xfrm>
      </p:grpSpPr>
      <p:pic>
        <p:nvPicPr>
          <p:cNvPr id="846" name="Grafik 24" descr=""/>
          <p:cNvPicPr/>
          <p:nvPr/>
        </p:nvPicPr>
        <p:blipFill>
          <a:blip r:embed="rId1"/>
          <a:stretch/>
        </p:blipFill>
        <p:spPr>
          <a:xfrm>
            <a:off x="3318120" y="3975120"/>
            <a:ext cx="4507920" cy="2532600"/>
          </a:xfrm>
          <a:prstGeom prst="rect">
            <a:avLst/>
          </a:prstGeom>
          <a:ln w="0">
            <a:noFill/>
          </a:ln>
        </p:spPr>
      </p:pic>
      <p:sp>
        <p:nvSpPr>
          <p:cNvPr id="847" name="PlaceHolder 1"/>
          <p:cNvSpPr>
            <a:spLocks noGrp="1"/>
          </p:cNvSpPr>
          <p:nvPr>
            <p:ph type="title"/>
          </p:nvPr>
        </p:nvSpPr>
        <p:spPr>
          <a:xfrm>
            <a:off x="407880" y="349560"/>
            <a:ext cx="11375640" cy="450720"/>
          </a:xfrm>
          <a:prstGeom prst="rect">
            <a:avLst/>
          </a:prstGeom>
          <a:noFill/>
          <a:ln w="0">
            <a:noFill/>
          </a:ln>
        </p:spPr>
        <p:txBody>
          <a:bodyPr lIns="0" rIns="0" tIns="0" bIns="0" anchor="t">
            <a:noAutofit/>
          </a:bodyPr>
          <a:p>
            <a:pPr indent="0" defTabSz="914400">
              <a:lnSpc>
                <a:spcPct val="90000"/>
              </a:lnSpc>
              <a:buNone/>
            </a:pPr>
            <a:r>
              <a:rPr b="1" lang="en-GB" sz="3000" spc="-1" strike="noStrike">
                <a:solidFill>
                  <a:schemeClr val="accent1"/>
                </a:solidFill>
                <a:latin typeface="Arial"/>
                <a:ea typeface="Arial"/>
              </a:rPr>
              <a:t>An innovation ecosystem is developing</a:t>
            </a:r>
            <a:endParaRPr b="0" lang="en-US" sz="3000" spc="-1" strike="noStrike">
              <a:solidFill>
                <a:schemeClr val="dk1"/>
              </a:solidFill>
              <a:latin typeface="Arial"/>
            </a:endParaRPr>
          </a:p>
        </p:txBody>
      </p:sp>
      <p:sp>
        <p:nvSpPr>
          <p:cNvPr id="848" name="PlaceHolder 2"/>
          <p:cNvSpPr>
            <a:spLocks noGrp="1"/>
          </p:cNvSpPr>
          <p:nvPr>
            <p:ph/>
          </p:nvPr>
        </p:nvSpPr>
        <p:spPr>
          <a:xfrm>
            <a:off x="442800" y="911880"/>
            <a:ext cx="11305800" cy="378720"/>
          </a:xfrm>
          <a:prstGeom prst="rect">
            <a:avLst/>
          </a:prstGeom>
          <a:noFill/>
          <a:ln w="0">
            <a:noFill/>
          </a:ln>
        </p:spPr>
        <p:txBody>
          <a:bodyPr lIns="0" rIns="0" tIns="0" bIns="0" anchor="t">
            <a:noAutofit/>
          </a:bodyPr>
          <a:p>
            <a:pPr indent="0" defTabSz="914400">
              <a:lnSpc>
                <a:spcPct val="100000"/>
              </a:lnSpc>
              <a:buNone/>
              <a:tabLst>
                <a:tab algn="l" pos="0"/>
              </a:tabLst>
            </a:pPr>
            <a:r>
              <a:rPr b="1" lang="en-GB" sz="2000" spc="-1" strike="noStrike">
                <a:solidFill>
                  <a:schemeClr val="accent2"/>
                </a:solidFill>
                <a:latin typeface="Arial"/>
                <a:ea typeface="Arial"/>
              </a:rPr>
              <a:t>At DESY and in the Science City Hamburg Bahrenfeld</a:t>
            </a:r>
            <a:endParaRPr b="0" lang="en-US" sz="2000" spc="-1" strike="noStrike">
              <a:solidFill>
                <a:schemeClr val="dk1"/>
              </a:solidFill>
              <a:latin typeface="Arial"/>
            </a:endParaRPr>
          </a:p>
        </p:txBody>
      </p:sp>
      <p:sp>
        <p:nvSpPr>
          <p:cNvPr id="849" name="TextBox 7"/>
          <p:cNvSpPr/>
          <p:nvPr/>
        </p:nvSpPr>
        <p:spPr>
          <a:xfrm>
            <a:off x="372240" y="4987440"/>
            <a:ext cx="2698920" cy="1536840"/>
          </a:xfrm>
          <a:prstGeom prst="rect">
            <a:avLst/>
          </a:prstGeom>
          <a:noFill/>
          <a:ln w="0">
            <a:noFill/>
          </a:ln>
        </p:spPr>
        <p:style>
          <a:lnRef idx="0"/>
          <a:fillRef idx="0"/>
          <a:effectRef idx="0"/>
          <a:fontRef idx="minor"/>
        </p:style>
        <p:txBody>
          <a:bodyPr lIns="90000" rIns="90000" tIns="45000" bIns="45000" anchor="t">
            <a:spAutoFit/>
          </a:bodyPr>
          <a:p>
            <a:pPr defTabSz="457200">
              <a:lnSpc>
                <a:spcPct val="100000"/>
              </a:lnSpc>
            </a:pPr>
            <a:r>
              <a:rPr b="0" lang="en-GB" sz="1900" spc="-1" strike="noStrike">
                <a:solidFill>
                  <a:srgbClr val="b1eed5"/>
                </a:solidFill>
                <a:latin typeface="Arial"/>
                <a:ea typeface="Arial"/>
              </a:rPr>
              <a:t>Since 9/2021:”Start-up Labs Hamburg” for hightech start-ups adjacent to campus (2700 m</a:t>
            </a:r>
            <a:r>
              <a:rPr b="0" lang="en-GB" sz="1900" spc="-1" strike="noStrike" baseline="30000">
                <a:solidFill>
                  <a:srgbClr val="b1eed5"/>
                </a:solidFill>
                <a:latin typeface="Arial"/>
                <a:ea typeface="Arial"/>
              </a:rPr>
              <a:t>2</a:t>
            </a:r>
            <a:r>
              <a:rPr b="0" lang="en-GB" sz="1900" spc="-1" strike="noStrike">
                <a:solidFill>
                  <a:srgbClr val="b1eed5"/>
                </a:solidFill>
                <a:latin typeface="Arial"/>
                <a:ea typeface="Arial"/>
              </a:rPr>
              <a:t>)</a:t>
            </a:r>
            <a:endParaRPr b="0" lang="en-US" sz="1900" spc="-1" strike="noStrike">
              <a:solidFill>
                <a:srgbClr val="ffffff"/>
              </a:solidFill>
              <a:latin typeface="Calibri"/>
            </a:endParaRPr>
          </a:p>
        </p:txBody>
      </p:sp>
      <p:pic>
        <p:nvPicPr>
          <p:cNvPr id="850" name="Picture 2" descr="Start-up Labs Logo"/>
          <p:cNvPicPr/>
          <p:nvPr/>
        </p:nvPicPr>
        <p:blipFill>
          <a:blip r:embed="rId2"/>
          <a:stretch/>
        </p:blipFill>
        <p:spPr>
          <a:xfrm>
            <a:off x="3144960" y="3864240"/>
            <a:ext cx="1244160" cy="1244160"/>
          </a:xfrm>
          <a:prstGeom prst="rect">
            <a:avLst/>
          </a:prstGeom>
          <a:ln w="0">
            <a:noFill/>
          </a:ln>
        </p:spPr>
      </p:pic>
      <p:pic>
        <p:nvPicPr>
          <p:cNvPr id="851" name="Picture 3" descr="N:\intern\TT Akten\MKT - Marketing\2013-093 Bilder\DESY Campus\Innovation Village\csm__M0A4127-HDR_01caf70a29.jpg"/>
          <p:cNvPicPr/>
          <p:nvPr/>
        </p:nvPicPr>
        <p:blipFill>
          <a:blip r:embed="rId3"/>
          <a:stretch/>
        </p:blipFill>
        <p:spPr>
          <a:xfrm>
            <a:off x="414720" y="1568880"/>
            <a:ext cx="3726360" cy="1546200"/>
          </a:xfrm>
          <a:prstGeom prst="rect">
            <a:avLst/>
          </a:prstGeom>
          <a:ln w="0">
            <a:noFill/>
          </a:ln>
        </p:spPr>
      </p:pic>
      <p:sp>
        <p:nvSpPr>
          <p:cNvPr id="852" name="TextBox 9"/>
          <p:cNvSpPr/>
          <p:nvPr/>
        </p:nvSpPr>
        <p:spPr>
          <a:xfrm>
            <a:off x="370800" y="3141000"/>
            <a:ext cx="3770280" cy="668520"/>
          </a:xfrm>
          <a:prstGeom prst="rect">
            <a:avLst/>
          </a:prstGeom>
          <a:noFill/>
          <a:ln w="0">
            <a:noFill/>
          </a:ln>
        </p:spPr>
        <p:style>
          <a:lnRef idx="0"/>
          <a:fillRef idx="0"/>
          <a:effectRef idx="0"/>
          <a:fontRef idx="minor"/>
        </p:style>
        <p:txBody>
          <a:bodyPr lIns="90000" rIns="90000" tIns="45000" bIns="45000" anchor="t">
            <a:spAutoFit/>
          </a:bodyPr>
          <a:p>
            <a:pPr defTabSz="457200">
              <a:lnSpc>
                <a:spcPct val="100000"/>
              </a:lnSpc>
            </a:pPr>
            <a:r>
              <a:rPr b="0" lang="en-GB" sz="1900" spc="-1" strike="noStrike">
                <a:solidFill>
                  <a:srgbClr val="eca4ca"/>
                </a:solidFill>
                <a:latin typeface="Arial"/>
                <a:ea typeface="Arial"/>
              </a:rPr>
              <a:t>Since 02/2019: Innovation Village on campus for startups</a:t>
            </a:r>
            <a:endParaRPr b="0" lang="en-US" sz="1900" spc="-1" strike="noStrike">
              <a:solidFill>
                <a:srgbClr val="ffffff"/>
              </a:solidFill>
              <a:latin typeface="Calibri"/>
            </a:endParaRPr>
          </a:p>
        </p:txBody>
      </p:sp>
      <p:grpSp>
        <p:nvGrpSpPr>
          <p:cNvPr id="853" name="Group 11"/>
          <p:cNvGrpSpPr/>
          <p:nvPr/>
        </p:nvGrpSpPr>
        <p:grpSpPr>
          <a:xfrm>
            <a:off x="5982840" y="869040"/>
            <a:ext cx="6022080" cy="4116600"/>
            <a:chOff x="5982840" y="869040"/>
            <a:chExt cx="6022080" cy="4116600"/>
          </a:xfrm>
        </p:grpSpPr>
        <p:pic>
          <p:nvPicPr>
            <p:cNvPr id="854" name="Picture 4" descr="Architecture visualization"/>
            <p:cNvPicPr/>
            <p:nvPr/>
          </p:nvPicPr>
          <p:blipFill>
            <a:blip r:embed="rId4"/>
            <a:stretch/>
          </p:blipFill>
          <p:spPr>
            <a:xfrm>
              <a:off x="8050320" y="869040"/>
              <a:ext cx="3954600" cy="2772720"/>
            </a:xfrm>
            <a:prstGeom prst="rect">
              <a:avLst/>
            </a:prstGeom>
            <a:ln w="0">
              <a:noFill/>
            </a:ln>
          </p:spPr>
        </p:pic>
        <p:pic>
          <p:nvPicPr>
            <p:cNvPr id="855" name="Picture 6" descr=""/>
            <p:cNvPicPr/>
            <p:nvPr/>
          </p:nvPicPr>
          <p:blipFill>
            <a:blip r:embed="rId5"/>
            <a:stretch/>
          </p:blipFill>
          <p:spPr>
            <a:xfrm>
              <a:off x="5982840" y="2583360"/>
              <a:ext cx="3058560" cy="2091960"/>
            </a:xfrm>
            <a:prstGeom prst="rect">
              <a:avLst/>
            </a:prstGeom>
            <a:ln w="0">
              <a:noFill/>
            </a:ln>
          </p:spPr>
        </p:pic>
        <p:sp>
          <p:nvSpPr>
            <p:cNvPr id="856" name="TextBox 10"/>
            <p:cNvSpPr/>
            <p:nvPr/>
          </p:nvSpPr>
          <p:spPr>
            <a:xfrm>
              <a:off x="9063720" y="3738240"/>
              <a:ext cx="2852640" cy="1247400"/>
            </a:xfrm>
            <a:prstGeom prst="rect">
              <a:avLst/>
            </a:prstGeom>
            <a:noFill/>
            <a:ln w="0">
              <a:noFill/>
            </a:ln>
          </p:spPr>
          <p:style>
            <a:lnRef idx="0"/>
            <a:fillRef idx="0"/>
            <a:effectRef idx="0"/>
            <a:fontRef idx="minor"/>
          </p:style>
          <p:txBody>
            <a:bodyPr wrap="none" lIns="90000" rIns="90000" tIns="45000" bIns="45000" anchor="t">
              <a:spAutoFit/>
            </a:bodyPr>
            <a:p>
              <a:pPr defTabSz="457200">
                <a:lnSpc>
                  <a:spcPct val="100000"/>
                </a:lnSpc>
              </a:pPr>
              <a:r>
                <a:rPr b="0" lang="en-GB" sz="1900" spc="-1" strike="noStrike">
                  <a:solidFill>
                    <a:srgbClr val="ebebeb"/>
                  </a:solidFill>
                  <a:latin typeface="Arial"/>
                  <a:ea typeface="Arial"/>
                </a:rPr>
                <a:t>DESY innovation factory:</a:t>
              </a:r>
              <a:endParaRPr b="0" lang="en-US" sz="1900" spc="-1" strike="noStrike">
                <a:solidFill>
                  <a:srgbClr val="ffffff"/>
                </a:solidFill>
                <a:latin typeface="Calibri"/>
              </a:endParaRPr>
            </a:p>
            <a:p>
              <a:pPr defTabSz="457200">
                <a:lnSpc>
                  <a:spcPct val="100000"/>
                </a:lnSpc>
              </a:pPr>
              <a:r>
                <a:rPr b="0" lang="en-GB" sz="1900" spc="-1" strike="noStrike">
                  <a:solidFill>
                    <a:srgbClr val="ebebeb"/>
                  </a:solidFill>
                  <a:latin typeface="Arial"/>
                  <a:ea typeface="Arial"/>
                </a:rPr>
                <a:t>8500 m</a:t>
              </a:r>
              <a:r>
                <a:rPr b="0" lang="en-GB" sz="1900" spc="-1" strike="noStrike" baseline="30000">
                  <a:solidFill>
                    <a:srgbClr val="ebebeb"/>
                  </a:solidFill>
                  <a:latin typeface="Arial"/>
                  <a:ea typeface="Arial"/>
                </a:rPr>
                <a:t>2</a:t>
              </a:r>
              <a:r>
                <a:rPr b="0" lang="en-GB" sz="1900" spc="-1" strike="noStrike">
                  <a:solidFill>
                    <a:srgbClr val="ebebeb"/>
                  </a:solidFill>
                  <a:latin typeface="Arial"/>
                  <a:ea typeface="Arial"/>
                </a:rPr>
                <a:t> starting 2027</a:t>
              </a:r>
              <a:endParaRPr b="0" lang="en-US" sz="1900" spc="-1" strike="noStrike">
                <a:solidFill>
                  <a:srgbClr val="ffffff"/>
                </a:solidFill>
                <a:latin typeface="Calibri"/>
              </a:endParaRPr>
            </a:p>
            <a:p>
              <a:pPr defTabSz="457200">
                <a:lnSpc>
                  <a:spcPct val="100000"/>
                </a:lnSpc>
              </a:pPr>
              <a:r>
                <a:rPr b="0" lang="en-GB" sz="1900" spc="-1" strike="noStrike">
                  <a:solidFill>
                    <a:srgbClr val="ebebeb"/>
                  </a:solidFill>
                  <a:latin typeface="Arial"/>
                  <a:ea typeface="Arial"/>
                </a:rPr>
                <a:t>(groundbreaking 11/24)</a:t>
              </a:r>
              <a:endParaRPr b="0" lang="en-US" sz="1900" spc="-1" strike="noStrike">
                <a:solidFill>
                  <a:srgbClr val="ffffff"/>
                </a:solidFill>
                <a:latin typeface="Calibri"/>
              </a:endParaRPr>
            </a:p>
            <a:p>
              <a:pPr defTabSz="457200">
                <a:lnSpc>
                  <a:spcPct val="100000"/>
                </a:lnSpc>
              </a:pPr>
              <a:endParaRPr b="0" lang="en-US" sz="1900" spc="-1" strike="noStrike">
                <a:solidFill>
                  <a:srgbClr val="ffffff"/>
                </a:solidFill>
                <a:latin typeface="Calibri"/>
              </a:endParaRPr>
            </a:p>
          </p:txBody>
        </p:sp>
      </p:grpSp>
      <p:pic>
        <p:nvPicPr>
          <p:cNvPr id="857" name="Picture 2" descr="Dr. Arik Willner - Chief Technology Officer (CTO) - DESY | XING"/>
          <p:cNvPicPr/>
          <p:nvPr/>
        </p:nvPicPr>
        <p:blipFill>
          <a:blip r:embed="rId6"/>
          <a:stretch/>
        </p:blipFill>
        <p:spPr>
          <a:xfrm>
            <a:off x="10749240" y="5169600"/>
            <a:ext cx="1189080" cy="1189080"/>
          </a:xfrm>
          <a:prstGeom prst="rect">
            <a:avLst/>
          </a:prstGeom>
          <a:ln w="0">
            <a:noFill/>
          </a:ln>
        </p:spPr>
      </p:pic>
      <p:sp>
        <p:nvSpPr>
          <p:cNvPr id="858" name="Textfeld 10"/>
          <p:cNvSpPr/>
          <p:nvPr/>
        </p:nvSpPr>
        <p:spPr>
          <a:xfrm>
            <a:off x="8481240" y="5887080"/>
            <a:ext cx="2268000" cy="577080"/>
          </a:xfrm>
          <a:prstGeom prst="rect">
            <a:avLst/>
          </a:prstGeom>
          <a:noFill/>
          <a:ln w="0">
            <a:noFill/>
          </a:ln>
        </p:spPr>
        <p:style>
          <a:lnRef idx="0"/>
          <a:fillRef idx="0"/>
          <a:effectRef idx="0"/>
          <a:fontRef idx="minor"/>
        </p:style>
        <p:txBody>
          <a:bodyPr lIns="90000" rIns="90000" tIns="45000" bIns="45000" anchor="t">
            <a:spAutoFit/>
          </a:bodyPr>
          <a:p>
            <a:pPr algn="r" defTabSz="457200">
              <a:lnSpc>
                <a:spcPct val="100000"/>
              </a:lnSpc>
            </a:pPr>
            <a:r>
              <a:rPr b="0" lang="de-DE" sz="1600" spc="-1" strike="noStrike">
                <a:solidFill>
                  <a:schemeClr val="lt1"/>
                </a:solidFill>
                <a:latin typeface="Arial"/>
                <a:ea typeface="Arial"/>
              </a:rPr>
              <a:t>Dr. Arik Willner</a:t>
            </a:r>
            <a:endParaRPr b="0" lang="en-US" sz="1600" spc="-1" strike="noStrike">
              <a:solidFill>
                <a:srgbClr val="ffffff"/>
              </a:solidFill>
              <a:latin typeface="Calibri"/>
            </a:endParaRPr>
          </a:p>
          <a:p>
            <a:pPr algn="r" defTabSz="457200">
              <a:lnSpc>
                <a:spcPct val="100000"/>
              </a:lnSpc>
            </a:pPr>
            <a:r>
              <a:rPr b="0" lang="de-DE" sz="1600" spc="-1" strike="noStrike">
                <a:solidFill>
                  <a:schemeClr val="lt1"/>
                </a:solidFill>
                <a:latin typeface="Arial"/>
                <a:ea typeface="Arial"/>
              </a:rPr>
              <a:t>CTO</a:t>
            </a:r>
            <a:endParaRPr b="0" lang="en-US" sz="1600" spc="-1" strike="noStrike">
              <a:solidFill>
                <a:srgbClr val="ffffff"/>
              </a:solidFill>
              <a:latin typeface="Calibri"/>
            </a:endParaRPr>
          </a:p>
        </p:txBody>
      </p:sp>
      <p:sp>
        <p:nvSpPr>
          <p:cNvPr id="4" name="PlaceHolder 3"/>
          <p:cNvSpPr>
            <a:spLocks noGrp="1"/>
          </p:cNvSpPr>
          <p:nvPr>
            <p:ph type="ftr" idx="26"/>
          </p:nvPr>
        </p:nvSpPr>
        <p:spPr/>
        <p:txBody>
          <a:bodyPr/>
          <a:p>
            <a:r>
              <a:t>Beate Heinemann, microTCA workshop in Hamburg, 12/2024</a:t>
            </a:r>
          </a:p>
        </p:txBody>
      </p:sp>
    </p:spTree>
  </p:cSld>
  <mc:AlternateContent>
    <mc:Choice Requires="p14">
      <p:transition spd="slow" p14:dur="2000"/>
    </mc:Choice>
    <mc:Fallback>
      <p:transition spd="slow"/>
    </mc:Fallback>
  </mc:AlternateContent>
  <p:timing>
    <p:tnLst>
      <p:par>
        <p:cTn id="166" dur="indefinite" restart="never" nodeType="tmRoot">
          <p:childTnLst>
            <p:seq>
              <p:cTn id="167" dur="indefinite" nodeType="mainSeq">
                <p:childTnLst>
                  <p:par>
                    <p:cTn id="168" fill="hold">
                      <p:stCondLst>
                        <p:cond delay="indefinite"/>
                      </p:stCondLst>
                      <p:childTnLst>
                        <p:par>
                          <p:cTn id="169" fill="hold">
                            <p:stCondLst>
                              <p:cond delay="0"/>
                            </p:stCondLst>
                            <p:childTnLst>
                              <p:par>
                                <p:cTn id="170" nodeType="clickEffect" fill="hold" presetClass="entr" presetID="1">
                                  <p:stCondLst>
                                    <p:cond delay="0"/>
                                  </p:stCondLst>
                                  <p:childTnLst>
                                    <p:set>
                                      <p:cBhvr>
                                        <p:cTn id="171" dur="1" fill="hold">
                                          <p:stCondLst>
                                            <p:cond delay="0"/>
                                          </p:stCondLst>
                                        </p:cTn>
                                        <p:tgtEl>
                                          <p:spTgt spid="853"/>
                                        </p:tgtEl>
                                        <p:attrNameLst>
                                          <p:attrName>style.visibility</p:attrName>
                                        </p:attrNameLst>
                                      </p:cBhvr>
                                      <p:to>
                                        <p:strVal val="visible"/>
                                      </p:to>
                                    </p:set>
                                  </p:childTnLst>
                                </p:cTn>
                              </p:par>
                            </p:childTnLst>
                          </p:cTn>
                        </p:par>
                      </p:childTnLst>
                    </p:cTn>
                  </p:par>
                </p:childTnLst>
              </p:cTn>
              <p:prevCondLst>
                <p:cond evt="onPrev">
                  <p:tgtEl>
                    <p:sldTgt/>
                  </p:tgtEl>
                </p:cond>
              </p:prevCondLst>
              <p:nextCondLst>
                <p:cond evt="onNext">
                  <p:tgtEl>
                    <p:sldTgt/>
                  </p:tgtEl>
                </p:cond>
              </p:nextCondLst>
            </p:seq>
          </p:childTnLst>
        </p:cTn>
      </p:par>
    </p:tnLst>
  </p:timing>
</p:sld>
</file>

<file path=ppt/slides/slide11.xml><?xml version="1.0" encoding="utf-8"?>
<p:sld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p:cSld>
    <p:spTree>
      <p:nvGrpSpPr>
        <p:cNvPr id="1" name=""/>
        <p:cNvGrpSpPr/>
        <p:nvPr/>
      </p:nvGrpSpPr>
      <p:grpSpPr>
        <a:xfrm>
          <a:off x="0" y="0"/>
          <a:ext cx="0" cy="0"/>
          <a:chOff x="0" y="0"/>
          <a:chExt cx="0" cy="0"/>
        </a:xfrm>
      </p:grpSpPr>
      <p:pic>
        <p:nvPicPr>
          <p:cNvPr id="859" name="Picture 15" descr=""/>
          <p:cNvPicPr/>
          <p:nvPr/>
        </p:nvPicPr>
        <p:blipFill>
          <a:blip r:embed="rId1"/>
          <a:stretch/>
        </p:blipFill>
        <p:spPr>
          <a:xfrm>
            <a:off x="407880" y="1272240"/>
            <a:ext cx="11423160" cy="5286960"/>
          </a:xfrm>
          <a:prstGeom prst="rect">
            <a:avLst/>
          </a:prstGeom>
          <a:ln w="0">
            <a:noFill/>
          </a:ln>
        </p:spPr>
      </p:pic>
      <p:sp>
        <p:nvSpPr>
          <p:cNvPr id="860" name="PlaceHolder 1"/>
          <p:cNvSpPr>
            <a:spLocks noGrp="1"/>
          </p:cNvSpPr>
          <p:nvPr>
            <p:ph type="title"/>
          </p:nvPr>
        </p:nvSpPr>
        <p:spPr>
          <a:xfrm>
            <a:off x="407880" y="349560"/>
            <a:ext cx="11375640" cy="450720"/>
          </a:xfrm>
          <a:prstGeom prst="rect">
            <a:avLst/>
          </a:prstGeom>
          <a:solidFill>
            <a:srgbClr val="000000">
              <a:alpha val="52000"/>
            </a:srgbClr>
          </a:solidFill>
          <a:ln w="0">
            <a:noFill/>
          </a:ln>
        </p:spPr>
        <p:txBody>
          <a:bodyPr lIns="0" rIns="0" tIns="0" bIns="0" anchor="t">
            <a:noAutofit/>
          </a:bodyPr>
          <a:p>
            <a:pPr indent="0" defTabSz="914400">
              <a:lnSpc>
                <a:spcPct val="90000"/>
              </a:lnSpc>
              <a:buNone/>
            </a:pPr>
            <a:r>
              <a:rPr b="1" lang="en-GB" sz="3000" spc="-1" strike="noStrike">
                <a:solidFill>
                  <a:schemeClr val="accent1"/>
                </a:solidFill>
                <a:latin typeface="Arial"/>
                <a:ea typeface="Arial"/>
              </a:rPr>
              <a:t>A Vision for the Science City Hamburg Bahrenfeld</a:t>
            </a:r>
            <a:endParaRPr b="0" lang="en-US" sz="3000" spc="-1" strike="noStrike">
              <a:solidFill>
                <a:schemeClr val="dk1"/>
              </a:solidFill>
              <a:latin typeface="Arial"/>
            </a:endParaRPr>
          </a:p>
        </p:txBody>
      </p:sp>
      <p:sp>
        <p:nvSpPr>
          <p:cNvPr id="861" name="PlaceHolder 2"/>
          <p:cNvSpPr>
            <a:spLocks noGrp="1"/>
          </p:cNvSpPr>
          <p:nvPr>
            <p:ph/>
          </p:nvPr>
        </p:nvSpPr>
        <p:spPr>
          <a:xfrm>
            <a:off x="442800" y="817560"/>
            <a:ext cx="11305800" cy="378720"/>
          </a:xfrm>
          <a:prstGeom prst="rect">
            <a:avLst/>
          </a:prstGeom>
          <a:solidFill>
            <a:srgbClr val="000000">
              <a:alpha val="46000"/>
            </a:srgbClr>
          </a:solidFill>
          <a:ln w="0">
            <a:noFill/>
          </a:ln>
        </p:spPr>
        <p:txBody>
          <a:bodyPr lIns="0" rIns="0" tIns="0" bIns="0" anchor="t">
            <a:noAutofit/>
          </a:bodyPr>
          <a:p>
            <a:pPr indent="0" defTabSz="914400">
              <a:lnSpc>
                <a:spcPct val="100000"/>
              </a:lnSpc>
              <a:buNone/>
              <a:tabLst>
                <a:tab algn="l" pos="0"/>
              </a:tabLst>
            </a:pPr>
            <a:r>
              <a:rPr b="1" lang="en-GB" sz="2000" spc="-1" strike="noStrike">
                <a:solidFill>
                  <a:schemeClr val="accent2"/>
                </a:solidFill>
                <a:latin typeface="Arial"/>
                <a:ea typeface="Arial"/>
              </a:rPr>
              <a:t>Science, Technology, Education and modern sustainable Urban Living</a:t>
            </a:r>
            <a:endParaRPr b="0" lang="en-US" sz="2000" spc="-1" strike="noStrike">
              <a:solidFill>
                <a:schemeClr val="dk1"/>
              </a:solidFill>
              <a:latin typeface="Arial"/>
            </a:endParaRPr>
          </a:p>
        </p:txBody>
      </p:sp>
      <p:grpSp>
        <p:nvGrpSpPr>
          <p:cNvPr id="862" name="Group 21"/>
          <p:cNvGrpSpPr/>
          <p:nvPr/>
        </p:nvGrpSpPr>
        <p:grpSpPr>
          <a:xfrm>
            <a:off x="407880" y="1227240"/>
            <a:ext cx="11675520" cy="5309640"/>
            <a:chOff x="407880" y="1227240"/>
            <a:chExt cx="11675520" cy="5309640"/>
          </a:xfrm>
        </p:grpSpPr>
        <p:pic>
          <p:nvPicPr>
            <p:cNvPr id="863" name="Picture 17" descr=""/>
            <p:cNvPicPr/>
            <p:nvPr/>
          </p:nvPicPr>
          <p:blipFill>
            <a:blip r:embed="rId2"/>
            <a:srcRect l="0" t="0" r="-2209" b="0"/>
            <a:stretch/>
          </p:blipFill>
          <p:spPr>
            <a:xfrm>
              <a:off x="407880" y="1227240"/>
              <a:ext cx="11675520" cy="5286960"/>
            </a:xfrm>
            <a:prstGeom prst="rect">
              <a:avLst/>
            </a:prstGeom>
            <a:ln w="0">
              <a:noFill/>
            </a:ln>
          </p:spPr>
        </p:pic>
        <p:pic>
          <p:nvPicPr>
            <p:cNvPr id="864" name="Picture 19" descr=""/>
            <p:cNvPicPr/>
            <p:nvPr/>
          </p:nvPicPr>
          <p:blipFill>
            <a:blip r:embed="rId3"/>
            <a:stretch/>
          </p:blipFill>
          <p:spPr>
            <a:xfrm>
              <a:off x="4059000" y="6366960"/>
              <a:ext cx="7772040" cy="169920"/>
            </a:xfrm>
            <a:prstGeom prst="rect">
              <a:avLst/>
            </a:prstGeom>
            <a:ln w="0">
              <a:noFill/>
            </a:ln>
          </p:spPr>
        </p:pic>
      </p:grpSp>
      <p:sp>
        <p:nvSpPr>
          <p:cNvPr id="4" name="PlaceHolder 3"/>
          <p:cNvSpPr>
            <a:spLocks noGrp="1"/>
          </p:cNvSpPr>
          <p:nvPr>
            <p:ph type="ftr" idx="26"/>
          </p:nvPr>
        </p:nvSpPr>
        <p:spPr/>
        <p:txBody>
          <a:bodyPr/>
          <a:p>
            <a:r>
              <a:t>Beate Heinemann, microTCA workshop in Hamburg, 12/2024</a:t>
            </a:r>
          </a:p>
        </p:txBody>
      </p:sp>
    </p:spTree>
  </p:cSld>
  <mc:AlternateContent>
    <mc:Choice Requires="p14">
      <p:transition spd="slow" p14:dur="2000"/>
    </mc:Choice>
    <mc:Fallback>
      <p:transition spd="slow"/>
    </mc:Fallback>
  </mc:AlternateContent>
  <p:timing>
    <p:tnLst>
      <p:par>
        <p:cTn id="172" dur="indefinite" restart="never" nodeType="tmRoot">
          <p:childTnLst>
            <p:seq>
              <p:cTn id="173" dur="indefinite" nodeType="mainSeq">
                <p:childTnLst>
                  <p:par>
                    <p:cTn id="174" fill="hold">
                      <p:stCondLst>
                        <p:cond delay="indefinite"/>
                      </p:stCondLst>
                      <p:childTnLst>
                        <p:par>
                          <p:cTn id="175" fill="hold">
                            <p:stCondLst>
                              <p:cond delay="0"/>
                            </p:stCondLst>
                            <p:childTnLst>
                              <p:par>
                                <p:cTn id="176" nodeType="clickEffect" fill="hold" presetClass="entr" presetID="1">
                                  <p:stCondLst>
                                    <p:cond delay="0"/>
                                  </p:stCondLst>
                                  <p:childTnLst>
                                    <p:set>
                                      <p:cBhvr>
                                        <p:cTn id="177" dur="1" fill="hold">
                                          <p:stCondLst>
                                            <p:cond delay="0"/>
                                          </p:stCondLst>
                                        </p:cTn>
                                        <p:tgtEl>
                                          <p:spTgt spid="862"/>
                                        </p:tgtEl>
                                        <p:attrNameLst>
                                          <p:attrName>style.visibility</p:attrName>
                                        </p:attrNameLst>
                                      </p:cBhvr>
                                      <p:to>
                                        <p:strVal val="visible"/>
                                      </p:to>
                                    </p:set>
                                  </p:childTnLst>
                                </p:cTn>
                              </p:par>
                            </p:childTnLst>
                          </p:cTn>
                        </p:par>
                      </p:childTnLst>
                    </p:cTn>
                  </p:par>
                </p:childTnLst>
              </p:cTn>
              <p:prevCondLst>
                <p:cond evt="onPrev">
                  <p:tgtEl>
                    <p:sldTgt/>
                  </p:tgtEl>
                </p:cond>
              </p:prevCondLst>
              <p:nextCondLst>
                <p:cond evt="onNext">
                  <p:tgtEl>
                    <p:sldTgt/>
                  </p:tgtEl>
                </p:cond>
              </p:nextCondLst>
            </p:seq>
          </p:childTnLst>
        </p:cTn>
      </p:par>
    </p:tnLst>
  </p:timing>
</p:sld>
</file>

<file path=ppt/slides/slide12.xml><?xml version="1.0" encoding="utf-8"?>
<p:sld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p:cSld>
    <p:spTree>
      <p:nvGrpSpPr>
        <p:cNvPr id="1" name=""/>
        <p:cNvGrpSpPr/>
        <p:nvPr/>
      </p:nvGrpSpPr>
      <p:grpSpPr>
        <a:xfrm>
          <a:off x="0" y="0"/>
          <a:ext cx="0" cy="0"/>
          <a:chOff x="0" y="0"/>
          <a:chExt cx="0" cy="0"/>
        </a:xfrm>
      </p:grpSpPr>
      <p:sp>
        <p:nvSpPr>
          <p:cNvPr id="865" name="PlaceHolder 1"/>
          <p:cNvSpPr>
            <a:spLocks noGrp="1"/>
          </p:cNvSpPr>
          <p:nvPr>
            <p:ph type="title"/>
          </p:nvPr>
        </p:nvSpPr>
        <p:spPr>
          <a:xfrm>
            <a:off x="407880" y="349560"/>
            <a:ext cx="11375640" cy="450720"/>
          </a:xfrm>
          <a:prstGeom prst="rect">
            <a:avLst/>
          </a:prstGeom>
          <a:noFill/>
          <a:ln w="0">
            <a:noFill/>
          </a:ln>
        </p:spPr>
        <p:txBody>
          <a:bodyPr lIns="0" rIns="0" tIns="0" bIns="0" anchor="t">
            <a:noAutofit/>
          </a:bodyPr>
          <a:p>
            <a:pPr indent="0" defTabSz="914400">
              <a:lnSpc>
                <a:spcPct val="90000"/>
              </a:lnSpc>
              <a:buNone/>
            </a:pPr>
            <a:r>
              <a:rPr b="1" lang="en-GB" sz="3000" spc="-1" strike="noStrike">
                <a:solidFill>
                  <a:schemeClr val="accent1"/>
                </a:solidFill>
                <a:latin typeface="Arial"/>
                <a:ea typeface="Arial"/>
              </a:rPr>
              <a:t>Welcome to DESY and enjoy the microTCA workshop!!</a:t>
            </a:r>
            <a:endParaRPr b="0" lang="en-US" sz="3000" spc="-1" strike="noStrike">
              <a:solidFill>
                <a:schemeClr val="dk1"/>
              </a:solidFill>
              <a:latin typeface="Arial"/>
            </a:endParaRPr>
          </a:p>
        </p:txBody>
      </p:sp>
      <p:pic>
        <p:nvPicPr>
          <p:cNvPr id="866" name="Picture 5" descr=""/>
          <p:cNvPicPr/>
          <p:nvPr/>
        </p:nvPicPr>
        <p:blipFill>
          <a:blip r:embed="rId1"/>
          <a:stretch/>
        </p:blipFill>
        <p:spPr>
          <a:xfrm>
            <a:off x="407880" y="1156680"/>
            <a:ext cx="11466720" cy="4752000"/>
          </a:xfrm>
          <a:prstGeom prst="rect">
            <a:avLst/>
          </a:prstGeom>
          <a:ln w="0">
            <a:noFill/>
          </a:ln>
        </p:spPr>
      </p:pic>
      <p:sp>
        <p:nvSpPr>
          <p:cNvPr id="3" name="PlaceHolder 2"/>
          <p:cNvSpPr>
            <a:spLocks noGrp="1"/>
          </p:cNvSpPr>
          <p:nvPr>
            <p:ph type="ftr" idx="26"/>
          </p:nvPr>
        </p:nvSpPr>
        <p:spPr/>
        <p:txBody>
          <a:bodyPr/>
          <a:p>
            <a:r>
              <a:t>Beate Heinemann, microTCA workshop in Hamburg, 12/2024</a:t>
            </a:r>
          </a:p>
        </p:txBody>
      </p:sp>
    </p:spTree>
  </p:cSld>
  <mc:AlternateContent>
    <mc:Choice Requires="p14">
      <p:transition spd="slow" p14:dur="2000"/>
    </mc:Choice>
    <mc:Fallback>
      <p:transition spd="slow"/>
    </mc:Fallback>
  </mc:AlternateContent>
</p:sld>
</file>

<file path=ppt/slides/slide2.xml><?xml version="1.0" encoding="utf-8"?>
<p:sld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p:cSld>
    <p:bg>
      <p:bgPr>
        <a:solidFill>
          <a:srgbClr val="002060"/>
        </a:solidFill>
      </p:bgPr>
    </p:bg>
    <p:spTree>
      <p:nvGrpSpPr>
        <p:cNvPr id="1" name=""/>
        <p:cNvGrpSpPr/>
        <p:nvPr/>
      </p:nvGrpSpPr>
      <p:grpSpPr>
        <a:xfrm>
          <a:off x="0" y="0"/>
          <a:ext cx="0" cy="0"/>
          <a:chOff x="0" y="0"/>
          <a:chExt cx="0" cy="0"/>
        </a:xfrm>
      </p:grpSpPr>
      <p:sp>
        <p:nvSpPr>
          <p:cNvPr id="274" name="PlaceHolder 1"/>
          <p:cNvSpPr>
            <a:spLocks noGrp="1"/>
          </p:cNvSpPr>
          <p:nvPr>
            <p:ph type="title"/>
          </p:nvPr>
        </p:nvSpPr>
        <p:spPr>
          <a:xfrm>
            <a:off x="442800" y="385560"/>
            <a:ext cx="11305800" cy="450720"/>
          </a:xfrm>
          <a:prstGeom prst="rect">
            <a:avLst/>
          </a:prstGeom>
          <a:noFill/>
          <a:ln w="0">
            <a:noFill/>
          </a:ln>
        </p:spPr>
        <p:txBody>
          <a:bodyPr lIns="0" rIns="0" tIns="0" bIns="0" anchor="t">
            <a:noAutofit/>
          </a:bodyPr>
          <a:p>
            <a:pPr indent="0" defTabSz="914400">
              <a:lnSpc>
                <a:spcPct val="90000"/>
              </a:lnSpc>
              <a:buNone/>
            </a:pPr>
            <a:r>
              <a:rPr b="1" lang="en-US" sz="3000" spc="-1" strike="noStrike">
                <a:solidFill>
                  <a:schemeClr val="accent1"/>
                </a:solidFill>
                <a:latin typeface="Arial"/>
                <a:ea typeface="Arial"/>
              </a:rPr>
              <a:t>What is DESY?</a:t>
            </a:r>
            <a:endParaRPr b="0" lang="en-US" sz="3000" spc="-1" strike="noStrike">
              <a:solidFill>
                <a:schemeClr val="dk1"/>
              </a:solidFill>
              <a:latin typeface="Arial"/>
            </a:endParaRPr>
          </a:p>
        </p:txBody>
      </p:sp>
      <p:sp>
        <p:nvSpPr>
          <p:cNvPr id="275" name="PlaceHolder 2"/>
          <p:cNvSpPr>
            <a:spLocks noGrp="1"/>
          </p:cNvSpPr>
          <p:nvPr>
            <p:ph type="ftr" idx="36"/>
          </p:nvPr>
        </p:nvSpPr>
        <p:spPr>
          <a:xfrm>
            <a:off x="791640" y="6580800"/>
            <a:ext cx="9948600" cy="186480"/>
          </a:xfrm>
          <a:prstGeom prst="rect">
            <a:avLst/>
          </a:prstGeom>
          <a:noFill/>
          <a:ln w="0">
            <a:noFill/>
          </a:ln>
        </p:spPr>
        <p:txBody>
          <a:bodyPr lIns="0" rIns="0" tIns="0" bIns="0" anchor="t">
            <a:noAutofit/>
          </a:bodyPr>
          <a:lstStyle>
            <a:lvl1pPr indent="0" defTabSz="457200">
              <a:lnSpc>
                <a:spcPct val="100000"/>
              </a:lnSpc>
              <a:buNone/>
              <a:defRPr b="0" lang="pt-BR" sz="1100" spc="-1" strike="noStrike">
                <a:solidFill>
                  <a:schemeClr val="lt1"/>
                </a:solidFill>
                <a:latin typeface="Arial"/>
                <a:ea typeface="Arial"/>
              </a:defRPr>
            </a:lvl1pPr>
          </a:lstStyle>
          <a:p>
            <a:pPr indent="0" defTabSz="457200">
              <a:lnSpc>
                <a:spcPct val="100000"/>
              </a:lnSpc>
              <a:buNone/>
            </a:pPr>
            <a:r>
              <a:rPr b="0" lang="pt-BR" sz="1100" spc="-1" strike="noStrike">
                <a:solidFill>
                  <a:schemeClr val="lt1"/>
                </a:solidFill>
                <a:latin typeface="Arial"/>
                <a:ea typeface="Arial"/>
              </a:rPr>
              <a:t>Beate Heinemann, microTCA workshop in Hamburg, 12/2024</a:t>
            </a:r>
            <a:endParaRPr b="0" lang="en-US" sz="1100" spc="-1" strike="noStrike">
              <a:solidFill>
                <a:srgbClr val="ffffff"/>
              </a:solidFill>
              <a:latin typeface="Calibri"/>
            </a:endParaRPr>
          </a:p>
        </p:txBody>
      </p:sp>
      <p:sp>
        <p:nvSpPr>
          <p:cNvPr id="276" name="PlaceHolder 3"/>
          <p:cNvSpPr>
            <a:spLocks noGrp="1"/>
          </p:cNvSpPr>
          <p:nvPr>
            <p:ph/>
          </p:nvPr>
        </p:nvSpPr>
        <p:spPr>
          <a:xfrm>
            <a:off x="442800" y="911880"/>
            <a:ext cx="11305800" cy="378720"/>
          </a:xfrm>
          <a:prstGeom prst="rect">
            <a:avLst/>
          </a:prstGeom>
          <a:noFill/>
          <a:ln w="0">
            <a:noFill/>
          </a:ln>
        </p:spPr>
        <p:txBody>
          <a:bodyPr lIns="0" rIns="0" tIns="0" bIns="0" anchor="t">
            <a:noAutofit/>
          </a:bodyPr>
          <a:p>
            <a:pPr indent="0" defTabSz="914400">
              <a:lnSpc>
                <a:spcPct val="100000"/>
              </a:lnSpc>
              <a:buNone/>
              <a:tabLst>
                <a:tab algn="l" pos="0"/>
              </a:tabLst>
            </a:pPr>
            <a:r>
              <a:rPr b="1" lang="en-GB" sz="2000" spc="-1" strike="noStrike">
                <a:solidFill>
                  <a:schemeClr val="accent2"/>
                </a:solidFill>
                <a:latin typeface="Arial"/>
                <a:ea typeface="Arial"/>
              </a:rPr>
              <a:t>A major German research laboratory</a:t>
            </a:r>
            <a:endParaRPr b="0" lang="en-US" sz="2000" spc="-1" strike="noStrike">
              <a:solidFill>
                <a:schemeClr val="lt1"/>
              </a:solidFill>
              <a:latin typeface="Arial"/>
            </a:endParaRPr>
          </a:p>
        </p:txBody>
      </p:sp>
      <p:sp>
        <p:nvSpPr>
          <p:cNvPr id="277" name="TextBox 20"/>
          <p:cNvSpPr/>
          <p:nvPr/>
        </p:nvSpPr>
        <p:spPr>
          <a:xfrm>
            <a:off x="315720" y="1491120"/>
            <a:ext cx="5803920" cy="2589840"/>
          </a:xfrm>
          <a:prstGeom prst="rect">
            <a:avLst/>
          </a:prstGeom>
          <a:noFill/>
          <a:ln w="0">
            <a:noFill/>
          </a:ln>
        </p:spPr>
        <p:style>
          <a:lnRef idx="0"/>
          <a:fillRef idx="0"/>
          <a:effectRef idx="0"/>
          <a:fontRef idx="minor"/>
        </p:style>
        <p:txBody>
          <a:bodyPr lIns="90000" rIns="90000" tIns="45000" bIns="45000" anchor="t">
            <a:spAutoFit/>
          </a:bodyPr>
          <a:p>
            <a:pPr defTabSz="457200">
              <a:lnSpc>
                <a:spcPct val="100000"/>
              </a:lnSpc>
            </a:pPr>
            <a:endParaRPr b="0" lang="en-US" sz="2000" spc="-1" strike="noStrike">
              <a:solidFill>
                <a:srgbClr val="ffffff"/>
              </a:solidFill>
              <a:latin typeface="Calibri"/>
            </a:endParaRPr>
          </a:p>
          <a:p>
            <a:pPr marL="343080" indent="-343080" defTabSz="457200">
              <a:lnSpc>
                <a:spcPct val="100000"/>
              </a:lnSpc>
              <a:buClr>
                <a:srgbClr val="f18f1f"/>
              </a:buClr>
              <a:buFont typeface="Wingdings" charset="2"/>
              <a:buChar char=""/>
            </a:pPr>
            <a:r>
              <a:rPr b="0" lang="en-GB" sz="2000" spc="-1" strike="noStrike">
                <a:solidFill>
                  <a:schemeClr val="lt1"/>
                </a:solidFill>
                <a:latin typeface="Arial"/>
                <a:ea typeface="Arial"/>
              </a:rPr>
              <a:t>Founded 1959</a:t>
            </a:r>
            <a:endParaRPr b="0" lang="en-US" sz="2000" spc="-1" strike="noStrike">
              <a:solidFill>
                <a:srgbClr val="ffffff"/>
              </a:solidFill>
              <a:latin typeface="Calibri"/>
            </a:endParaRPr>
          </a:p>
          <a:p>
            <a:pPr marL="343080" indent="-343080" defTabSz="457200">
              <a:lnSpc>
                <a:spcPct val="100000"/>
              </a:lnSpc>
              <a:buClr>
                <a:srgbClr val="f18f1f"/>
              </a:buClr>
              <a:buFont typeface="Wingdings" charset="2"/>
              <a:buChar char=""/>
            </a:pPr>
            <a:r>
              <a:rPr b="0" lang="en-GB" sz="2000" spc="-1" strike="noStrike">
                <a:solidFill>
                  <a:schemeClr val="lt1"/>
                </a:solidFill>
                <a:latin typeface="Arial"/>
                <a:ea typeface="Arial"/>
              </a:rPr>
              <a:t>350M Euro annual budget</a:t>
            </a:r>
            <a:endParaRPr b="0" lang="en-US" sz="2000" spc="-1" strike="noStrike">
              <a:solidFill>
                <a:srgbClr val="ffffff"/>
              </a:solidFill>
              <a:latin typeface="Calibri"/>
            </a:endParaRPr>
          </a:p>
          <a:p>
            <a:pPr marL="343080" indent="-343080" defTabSz="457200">
              <a:lnSpc>
                <a:spcPct val="100000"/>
              </a:lnSpc>
              <a:buClr>
                <a:srgbClr val="f18f1f"/>
              </a:buClr>
              <a:buFont typeface="Wingdings" charset="2"/>
              <a:buChar char=""/>
            </a:pPr>
            <a:r>
              <a:rPr b="0" lang="en-GB" sz="2000" spc="-1" strike="noStrike">
                <a:solidFill>
                  <a:schemeClr val="lt1"/>
                </a:solidFill>
                <a:latin typeface="Arial"/>
                <a:ea typeface="Arial"/>
              </a:rPr>
              <a:t>Nearly 3000 employees</a:t>
            </a:r>
            <a:endParaRPr b="0" lang="en-US" sz="2000" spc="-1" strike="noStrike">
              <a:solidFill>
                <a:srgbClr val="ffffff"/>
              </a:solidFill>
              <a:latin typeface="Calibri"/>
            </a:endParaRPr>
          </a:p>
          <a:p>
            <a:pPr marL="343080" indent="-343080" defTabSz="457200">
              <a:lnSpc>
                <a:spcPct val="100000"/>
              </a:lnSpc>
              <a:buClr>
                <a:srgbClr val="f18f1f"/>
              </a:buClr>
              <a:buFont typeface="Wingdings" charset="2"/>
              <a:buChar char=""/>
            </a:pPr>
            <a:r>
              <a:rPr b="0" lang="en-GB" sz="2000" spc="-1" strike="noStrike">
                <a:solidFill>
                  <a:schemeClr val="lt1"/>
                </a:solidFill>
                <a:latin typeface="Arial"/>
                <a:ea typeface="Arial"/>
              </a:rPr>
              <a:t>Powerful X-ray facilities: </a:t>
            </a:r>
            <a:endParaRPr b="0" lang="en-US" sz="2000" spc="-1" strike="noStrike">
              <a:solidFill>
                <a:srgbClr val="ffffff"/>
              </a:solidFill>
              <a:latin typeface="Calibri"/>
            </a:endParaRPr>
          </a:p>
          <a:p>
            <a:pPr lvl="1" marL="799920" indent="-343080" defTabSz="457200">
              <a:lnSpc>
                <a:spcPct val="100000"/>
              </a:lnSpc>
              <a:buClr>
                <a:srgbClr val="f18f1f"/>
              </a:buClr>
              <a:buFont typeface="Courier New"/>
              <a:buChar char="o"/>
            </a:pPr>
            <a:r>
              <a:rPr b="0" lang="en-GB" sz="2000" spc="-1" strike="noStrike">
                <a:solidFill>
                  <a:schemeClr val="lt1"/>
                </a:solidFill>
                <a:latin typeface="Arial"/>
                <a:ea typeface="Arial"/>
              </a:rPr>
              <a:t>PETRA III, FLASH, EU.XFEL</a:t>
            </a:r>
            <a:endParaRPr b="0" lang="en-US" sz="2000" spc="-1" strike="noStrike">
              <a:solidFill>
                <a:srgbClr val="ffffff"/>
              </a:solidFill>
              <a:latin typeface="Calibri"/>
            </a:endParaRPr>
          </a:p>
          <a:p>
            <a:pPr marL="343080" indent="-343080" defTabSz="457200">
              <a:lnSpc>
                <a:spcPct val="100000"/>
              </a:lnSpc>
              <a:buClr>
                <a:srgbClr val="f18f1f"/>
              </a:buClr>
              <a:buFont typeface="Wingdings" charset="2"/>
              <a:buChar char=""/>
            </a:pPr>
            <a:r>
              <a:rPr b="0" lang="en-GB" sz="2000" spc="-1" strike="noStrike">
                <a:solidFill>
                  <a:schemeClr val="lt1"/>
                </a:solidFill>
                <a:latin typeface="Arial"/>
                <a:ea typeface="Arial"/>
              </a:rPr>
              <a:t>About 10000 visitors per year</a:t>
            </a:r>
            <a:endParaRPr b="0" lang="en-US" sz="2000" spc="-1" strike="noStrike">
              <a:solidFill>
                <a:srgbClr val="ffffff"/>
              </a:solidFill>
              <a:latin typeface="Calibri"/>
            </a:endParaRPr>
          </a:p>
          <a:p>
            <a:pPr defTabSz="457200">
              <a:lnSpc>
                <a:spcPct val="100000"/>
              </a:lnSpc>
            </a:pPr>
            <a:endParaRPr b="0" lang="en-US" sz="2400" spc="-1" strike="noStrike">
              <a:solidFill>
                <a:srgbClr val="ffffff"/>
              </a:solidFill>
              <a:latin typeface="Calibri"/>
            </a:endParaRPr>
          </a:p>
        </p:txBody>
      </p:sp>
      <p:sp>
        <p:nvSpPr>
          <p:cNvPr id="278" name="Textplatzhalter 3"/>
          <p:cNvSpPr/>
          <p:nvPr/>
        </p:nvSpPr>
        <p:spPr>
          <a:xfrm>
            <a:off x="623520" y="5380560"/>
            <a:ext cx="10614600" cy="1018800"/>
          </a:xfrm>
          <a:prstGeom prst="rect">
            <a:avLst/>
          </a:prstGeom>
          <a:noFill/>
          <a:ln w="0">
            <a:noFill/>
          </a:ln>
        </p:spPr>
        <p:style>
          <a:lnRef idx="0"/>
          <a:fillRef idx="0"/>
          <a:effectRef idx="0"/>
          <a:fontRef idx="minor"/>
        </p:style>
        <p:txBody>
          <a:bodyPr lIns="0" rIns="0" tIns="0" bIns="0" anchor="t">
            <a:noAutofit/>
          </a:bodyPr>
          <a:p>
            <a:pPr defTabSz="914400">
              <a:lnSpc>
                <a:spcPct val="100000"/>
              </a:lnSpc>
              <a:tabLst>
                <a:tab algn="l" pos="0"/>
              </a:tabLst>
            </a:pPr>
            <a:r>
              <a:rPr b="1" lang="de-DE" sz="2400" spc="-1" strike="noStrike">
                <a:solidFill>
                  <a:schemeClr val="accent2"/>
                </a:solidFill>
                <a:latin typeface="Arial"/>
                <a:ea typeface="Arial"/>
              </a:rPr>
              <a:t>Large Scale Research Infrastructures enable </a:t>
            </a:r>
            <a:endParaRPr b="0" lang="en-US" sz="2400" spc="-1" strike="noStrike">
              <a:solidFill>
                <a:srgbClr val="ffffff"/>
              </a:solidFill>
              <a:latin typeface="Calibri"/>
            </a:endParaRPr>
          </a:p>
          <a:p>
            <a:pPr defTabSz="914400">
              <a:lnSpc>
                <a:spcPct val="100000"/>
              </a:lnSpc>
              <a:tabLst>
                <a:tab algn="l" pos="0"/>
              </a:tabLst>
            </a:pPr>
            <a:r>
              <a:rPr b="1" lang="de-DE" sz="2400" spc="-1" strike="noStrike">
                <a:solidFill>
                  <a:schemeClr val="accent2"/>
                </a:solidFill>
                <a:latin typeface="Arial"/>
                <a:ea typeface="Arial"/>
              </a:rPr>
              <a:t>science, technology, collaboration and train people </a:t>
            </a:r>
            <a:endParaRPr b="0" lang="en-US" sz="2400" spc="-1" strike="noStrike">
              <a:solidFill>
                <a:srgbClr val="ffffff"/>
              </a:solidFill>
              <a:latin typeface="Calibri"/>
            </a:endParaRPr>
          </a:p>
        </p:txBody>
      </p:sp>
      <p:pic>
        <p:nvPicPr>
          <p:cNvPr id="279" name="Picture 2" descr="Luftaufnahme des DESY"/>
          <p:cNvPicPr/>
          <p:nvPr/>
        </p:nvPicPr>
        <p:blipFill>
          <a:blip r:embed="rId1"/>
          <a:stretch/>
        </p:blipFill>
        <p:spPr>
          <a:xfrm>
            <a:off x="4871880" y="1700640"/>
            <a:ext cx="7175880" cy="3074760"/>
          </a:xfrm>
          <a:prstGeom prst="rect">
            <a:avLst/>
          </a:prstGeom>
          <a:ln w="0">
            <a:noFill/>
          </a:ln>
        </p:spPr>
      </p:pic>
    </p:spTree>
  </p:cSld>
  <mc:AlternateContent>
    <mc:Choice Requires="p14">
      <p:transition p14:dur="250">
        <p:fade/>
      </p:transition>
    </mc:Choice>
    <mc:Fallback>
      <p:transition>
        <p:fade/>
      </p:transition>
    </mc:Fallback>
  </mc:AlternateContent>
</p:sld>
</file>

<file path=ppt/slides/slide3.xml><?xml version="1.0" encoding="utf-8"?>
<p:sld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p:cSld>
    <p:spTree>
      <p:nvGrpSpPr>
        <p:cNvPr id="1" name=""/>
        <p:cNvGrpSpPr/>
        <p:nvPr/>
      </p:nvGrpSpPr>
      <p:grpSpPr>
        <a:xfrm>
          <a:off x="0" y="0"/>
          <a:ext cx="0" cy="0"/>
          <a:chOff x="0" y="0"/>
          <a:chExt cx="0" cy="0"/>
        </a:xfrm>
      </p:grpSpPr>
      <p:sp>
        <p:nvSpPr>
          <p:cNvPr id="280" name="Picture 2"/>
          <p:cNvSpPr/>
          <p:nvPr/>
        </p:nvSpPr>
        <p:spPr>
          <a:xfrm>
            <a:off x="8930880" y="3772440"/>
            <a:ext cx="1828440" cy="1076040"/>
          </a:xfrm>
          <a:prstGeom prst="ellipse">
            <a:avLst/>
          </a:prstGeom>
          <a:blipFill rotWithShape="0">
            <a:blip r:embed="rId1"/>
            <a:srcRect/>
            <a:stretch/>
          </a:blipFill>
          <a:ln w="0">
            <a:noFill/>
          </a:ln>
          <a:effectLst>
            <a:softEdge rad="112680"/>
          </a:effectLst>
        </p:spPr>
        <p:style>
          <a:lnRef idx="0"/>
          <a:fillRef idx="0"/>
          <a:effectRef idx="0"/>
          <a:fontRef idx="minor"/>
        </p:style>
        <p:txBody>
          <a:bodyPr lIns="90000" rIns="90000" tIns="45000" bIns="45000" anchor="t">
            <a:noAutofit/>
          </a:bodyPr>
          <a:p>
            <a:endParaRPr b="0" lang="en-US" sz="1800" spc="-1" strike="noStrike">
              <a:solidFill>
                <a:srgbClr val="000000"/>
              </a:solidFill>
              <a:latin typeface="Calibri"/>
            </a:endParaRPr>
          </a:p>
        </p:txBody>
      </p:sp>
      <p:pic>
        <p:nvPicPr>
          <p:cNvPr id="281" name="Picture 14" descr="http://www.desy.de/e409/e116959/e119238/media/4436/CpGV_granulin.jpg"/>
          <p:cNvPicPr/>
          <p:nvPr/>
        </p:nvPicPr>
        <p:blipFill>
          <a:blip r:embed="rId2"/>
          <a:srcRect l="33783" t="0" r="33108" b="0"/>
          <a:stretch/>
        </p:blipFill>
        <p:spPr>
          <a:xfrm>
            <a:off x="8971560" y="1381680"/>
            <a:ext cx="1076040" cy="1083600"/>
          </a:xfrm>
          <a:prstGeom prst="rect">
            <a:avLst/>
          </a:prstGeom>
          <a:ln w="0">
            <a:noFill/>
          </a:ln>
        </p:spPr>
      </p:pic>
      <p:sp>
        <p:nvSpPr>
          <p:cNvPr id="282" name="PlaceHolder 1"/>
          <p:cNvSpPr>
            <a:spLocks noGrp="1"/>
          </p:cNvSpPr>
          <p:nvPr>
            <p:ph type="title"/>
          </p:nvPr>
        </p:nvSpPr>
        <p:spPr>
          <a:xfrm>
            <a:off x="407880" y="349560"/>
            <a:ext cx="11375640" cy="450720"/>
          </a:xfrm>
          <a:prstGeom prst="rect">
            <a:avLst/>
          </a:prstGeom>
          <a:noFill/>
          <a:ln w="0">
            <a:noFill/>
          </a:ln>
        </p:spPr>
        <p:txBody>
          <a:bodyPr lIns="0" rIns="0" tIns="0" bIns="0" anchor="t">
            <a:noAutofit/>
          </a:bodyPr>
          <a:p>
            <a:pPr indent="0" defTabSz="914400">
              <a:lnSpc>
                <a:spcPct val="90000"/>
              </a:lnSpc>
              <a:buNone/>
            </a:pPr>
            <a:r>
              <a:rPr b="1" lang="de-DE" sz="3000" spc="-1" strike="noStrike">
                <a:solidFill>
                  <a:schemeClr val="accent1"/>
                </a:solidFill>
                <a:latin typeface="Arial"/>
                <a:ea typeface="Arial"/>
              </a:rPr>
              <a:t>The Decoding of Matter</a:t>
            </a:r>
            <a:endParaRPr b="0" lang="en-US" sz="3000" spc="-1" strike="noStrike">
              <a:solidFill>
                <a:schemeClr val="dk1"/>
              </a:solidFill>
              <a:latin typeface="Arial"/>
            </a:endParaRPr>
          </a:p>
        </p:txBody>
      </p:sp>
      <p:sp>
        <p:nvSpPr>
          <p:cNvPr id="283" name="PlaceHolder 2"/>
          <p:cNvSpPr>
            <a:spLocks noGrp="1"/>
          </p:cNvSpPr>
          <p:nvPr>
            <p:ph type="ftr" idx="37"/>
          </p:nvPr>
        </p:nvSpPr>
        <p:spPr>
          <a:xfrm>
            <a:off x="791640" y="6580800"/>
            <a:ext cx="9948600" cy="186480"/>
          </a:xfrm>
          <a:prstGeom prst="rect">
            <a:avLst/>
          </a:prstGeom>
          <a:noFill/>
          <a:ln w="0">
            <a:noFill/>
          </a:ln>
        </p:spPr>
        <p:txBody>
          <a:bodyPr lIns="0" rIns="0" tIns="0" bIns="0" anchor="t">
            <a:noAutofit/>
          </a:bodyPr>
          <a:lstStyle>
            <a:lvl1pPr indent="0" defTabSz="457200">
              <a:lnSpc>
                <a:spcPct val="100000"/>
              </a:lnSpc>
              <a:buNone/>
              <a:defRPr b="0" lang="en-US" sz="1100" spc="-1" strike="noStrike">
                <a:solidFill>
                  <a:schemeClr val="lt1"/>
                </a:solidFill>
                <a:latin typeface="Arial"/>
                <a:ea typeface="Arial"/>
              </a:defRPr>
            </a:lvl1pPr>
          </a:lstStyle>
          <a:p>
            <a:pPr indent="0" defTabSz="457200">
              <a:lnSpc>
                <a:spcPct val="100000"/>
              </a:lnSpc>
              <a:buNone/>
            </a:pPr>
            <a:r>
              <a:rPr b="0" lang="en-US" sz="1100" spc="-1" strike="noStrike">
                <a:solidFill>
                  <a:schemeClr val="lt1"/>
                </a:solidFill>
                <a:latin typeface="Arial"/>
                <a:ea typeface="Arial"/>
              </a:rPr>
              <a:t>Beate Heinemann, microTCA workshop in Hamburg, 12/2024</a:t>
            </a:r>
            <a:endParaRPr b="0" lang="en-US" sz="1100" spc="-1" strike="noStrike">
              <a:solidFill>
                <a:srgbClr val="ffffff"/>
              </a:solidFill>
              <a:latin typeface="Calibri"/>
            </a:endParaRPr>
          </a:p>
        </p:txBody>
      </p:sp>
      <p:pic>
        <p:nvPicPr>
          <p:cNvPr id="284" name="Picture 6" descr="C:\Users\nmueller\Desktop\ThumbnailServlet.jpg"/>
          <p:cNvPicPr/>
          <p:nvPr/>
        </p:nvPicPr>
        <p:blipFill>
          <a:blip r:embed="rId3"/>
          <a:stretch/>
        </p:blipFill>
        <p:spPr>
          <a:xfrm>
            <a:off x="1003320" y="5164200"/>
            <a:ext cx="1311840" cy="1196640"/>
          </a:xfrm>
          <a:prstGeom prst="rect">
            <a:avLst/>
          </a:prstGeom>
          <a:ln w="0">
            <a:noFill/>
          </a:ln>
        </p:spPr>
      </p:pic>
      <p:sp>
        <p:nvSpPr>
          <p:cNvPr id="285" name="Picture 11"/>
          <p:cNvSpPr/>
          <p:nvPr/>
        </p:nvSpPr>
        <p:spPr>
          <a:xfrm>
            <a:off x="7233480" y="2172600"/>
            <a:ext cx="1302120" cy="920520"/>
          </a:xfrm>
          <a:prstGeom prst="roundRect">
            <a:avLst>
              <a:gd name="adj" fmla="val 8594"/>
            </a:avLst>
          </a:prstGeom>
          <a:blipFill rotWithShape="0">
            <a:blip r:embed="rId4"/>
            <a:srcRect/>
            <a:stretch/>
          </a:blipFill>
          <a:ln w="0">
            <a:noFill/>
          </a:ln>
        </p:spPr>
        <p:style>
          <a:lnRef idx="0"/>
          <a:fillRef idx="0"/>
          <a:effectRef idx="0"/>
          <a:fontRef idx="minor"/>
        </p:style>
        <p:txBody>
          <a:bodyPr lIns="90000" rIns="90000" tIns="45000" bIns="45000" anchor="t">
            <a:noAutofit/>
          </a:bodyPr>
          <a:p>
            <a:endParaRPr b="0" lang="en-US" sz="1800" spc="-1" strike="noStrike">
              <a:solidFill>
                <a:srgbClr val="000000"/>
              </a:solidFill>
              <a:latin typeface="Calibri"/>
            </a:endParaRPr>
          </a:p>
        </p:txBody>
      </p:sp>
      <p:pic>
        <p:nvPicPr>
          <p:cNvPr id="286" name="Picture 16" descr="http://deacademic.com/pictures/dewiki/87/Water-elpot-transparent-3D-balls.png"/>
          <p:cNvPicPr/>
          <p:nvPr/>
        </p:nvPicPr>
        <p:blipFill>
          <a:blip r:embed="rId5"/>
          <a:stretch/>
        </p:blipFill>
        <p:spPr>
          <a:xfrm>
            <a:off x="5871600" y="2936160"/>
            <a:ext cx="920880" cy="775080"/>
          </a:xfrm>
          <a:prstGeom prst="rect">
            <a:avLst/>
          </a:prstGeom>
          <a:ln w="0">
            <a:noFill/>
          </a:ln>
        </p:spPr>
      </p:pic>
      <p:sp>
        <p:nvSpPr>
          <p:cNvPr id="287" name="Textfeld 17"/>
          <p:cNvSpPr/>
          <p:nvPr/>
        </p:nvSpPr>
        <p:spPr>
          <a:xfrm>
            <a:off x="9536040" y="2491200"/>
            <a:ext cx="1295640" cy="303120"/>
          </a:xfrm>
          <a:prstGeom prst="rect">
            <a:avLst/>
          </a:prstGeom>
          <a:noFill/>
          <a:ln w="0">
            <a:noFill/>
          </a:ln>
        </p:spPr>
        <p:style>
          <a:lnRef idx="0"/>
          <a:fillRef idx="0"/>
          <a:effectRef idx="0"/>
          <a:fontRef idx="minor"/>
        </p:style>
        <p:txBody>
          <a:bodyPr lIns="90000" rIns="90000" tIns="45000" bIns="45000" anchor="t">
            <a:spAutoFit/>
          </a:bodyPr>
          <a:p>
            <a:pPr defTabSz="457200">
              <a:lnSpc>
                <a:spcPct val="100000"/>
              </a:lnSpc>
            </a:pPr>
            <a:r>
              <a:rPr b="0" lang="de-DE" sz="1400" spc="-1" strike="noStrike">
                <a:solidFill>
                  <a:schemeClr val="lt1"/>
                </a:solidFill>
                <a:latin typeface="Arial"/>
                <a:ea typeface="Arial"/>
              </a:rPr>
              <a:t>Virus</a:t>
            </a:r>
            <a:endParaRPr b="0" lang="en-US" sz="1400" spc="-1" strike="noStrike">
              <a:solidFill>
                <a:srgbClr val="ffffff"/>
              </a:solidFill>
              <a:latin typeface="Calibri"/>
            </a:endParaRPr>
          </a:p>
        </p:txBody>
      </p:sp>
      <p:sp>
        <p:nvSpPr>
          <p:cNvPr id="288" name="Textfeld 34"/>
          <p:cNvSpPr/>
          <p:nvPr/>
        </p:nvSpPr>
        <p:spPr>
          <a:xfrm>
            <a:off x="10873080" y="1664640"/>
            <a:ext cx="1295640" cy="303120"/>
          </a:xfrm>
          <a:prstGeom prst="rect">
            <a:avLst/>
          </a:prstGeom>
          <a:noFill/>
          <a:ln w="0">
            <a:noFill/>
          </a:ln>
        </p:spPr>
        <p:style>
          <a:lnRef idx="0"/>
          <a:fillRef idx="0"/>
          <a:effectRef idx="0"/>
          <a:fontRef idx="minor"/>
        </p:style>
        <p:txBody>
          <a:bodyPr lIns="90000" rIns="90000" tIns="45000" bIns="45000" anchor="t">
            <a:spAutoFit/>
          </a:bodyPr>
          <a:p>
            <a:pPr defTabSz="457200">
              <a:lnSpc>
                <a:spcPct val="100000"/>
              </a:lnSpc>
            </a:pPr>
            <a:r>
              <a:rPr b="0" lang="de-DE" sz="1400" spc="-1" strike="noStrike">
                <a:solidFill>
                  <a:schemeClr val="lt1"/>
                </a:solidFill>
                <a:latin typeface="Arial"/>
                <a:ea typeface="Arial"/>
              </a:rPr>
              <a:t>Galaxy</a:t>
            </a:r>
            <a:endParaRPr b="0" lang="en-US" sz="1400" spc="-1" strike="noStrike">
              <a:solidFill>
                <a:srgbClr val="ffffff"/>
              </a:solidFill>
              <a:latin typeface="Calibri"/>
            </a:endParaRPr>
          </a:p>
        </p:txBody>
      </p:sp>
      <p:sp>
        <p:nvSpPr>
          <p:cNvPr id="289" name="Textfeld 35"/>
          <p:cNvSpPr/>
          <p:nvPr/>
        </p:nvSpPr>
        <p:spPr>
          <a:xfrm>
            <a:off x="7309800" y="3118320"/>
            <a:ext cx="1697040" cy="303120"/>
          </a:xfrm>
          <a:prstGeom prst="rect">
            <a:avLst/>
          </a:prstGeom>
          <a:noFill/>
          <a:ln w="0">
            <a:noFill/>
          </a:ln>
        </p:spPr>
        <p:style>
          <a:lnRef idx="0"/>
          <a:fillRef idx="0"/>
          <a:effectRef idx="0"/>
          <a:fontRef idx="minor"/>
        </p:style>
        <p:txBody>
          <a:bodyPr lIns="90000" rIns="90000" tIns="45000" bIns="45000" anchor="t">
            <a:spAutoFit/>
          </a:bodyPr>
          <a:p>
            <a:pPr defTabSz="457200">
              <a:lnSpc>
                <a:spcPct val="100000"/>
              </a:lnSpc>
            </a:pPr>
            <a:r>
              <a:rPr b="0" lang="de-DE" sz="1400" spc="-1" strike="noStrike">
                <a:solidFill>
                  <a:schemeClr val="lt1"/>
                </a:solidFill>
                <a:latin typeface="Arial"/>
                <a:ea typeface="Arial"/>
              </a:rPr>
              <a:t>Nanoparticle</a:t>
            </a:r>
            <a:endParaRPr b="0" lang="en-US" sz="1400" spc="-1" strike="noStrike">
              <a:solidFill>
                <a:srgbClr val="ffffff"/>
              </a:solidFill>
              <a:latin typeface="Calibri"/>
            </a:endParaRPr>
          </a:p>
        </p:txBody>
      </p:sp>
      <p:sp>
        <p:nvSpPr>
          <p:cNvPr id="290" name="Textfeld 36"/>
          <p:cNvSpPr/>
          <p:nvPr/>
        </p:nvSpPr>
        <p:spPr>
          <a:xfrm>
            <a:off x="6049440" y="3872520"/>
            <a:ext cx="1697040" cy="303120"/>
          </a:xfrm>
          <a:prstGeom prst="rect">
            <a:avLst/>
          </a:prstGeom>
          <a:noFill/>
          <a:ln w="0">
            <a:noFill/>
          </a:ln>
        </p:spPr>
        <p:style>
          <a:lnRef idx="0"/>
          <a:fillRef idx="0"/>
          <a:effectRef idx="0"/>
          <a:fontRef idx="minor"/>
        </p:style>
        <p:txBody>
          <a:bodyPr lIns="90000" rIns="90000" tIns="45000" bIns="45000" anchor="t">
            <a:spAutoFit/>
          </a:bodyPr>
          <a:p>
            <a:pPr defTabSz="457200">
              <a:lnSpc>
                <a:spcPct val="100000"/>
              </a:lnSpc>
            </a:pPr>
            <a:r>
              <a:rPr b="0" lang="de-DE" sz="1400" spc="-1" strike="noStrike">
                <a:solidFill>
                  <a:schemeClr val="lt1"/>
                </a:solidFill>
                <a:latin typeface="Arial"/>
                <a:ea typeface="Arial"/>
              </a:rPr>
              <a:t>Molecule</a:t>
            </a:r>
            <a:endParaRPr b="0" lang="en-US" sz="1400" spc="-1" strike="noStrike">
              <a:solidFill>
                <a:srgbClr val="ffffff"/>
              </a:solidFill>
              <a:latin typeface="Calibri"/>
            </a:endParaRPr>
          </a:p>
        </p:txBody>
      </p:sp>
      <p:grpSp>
        <p:nvGrpSpPr>
          <p:cNvPr id="291" name="Gruppieren 29"/>
          <p:cNvGrpSpPr/>
          <p:nvPr/>
        </p:nvGrpSpPr>
        <p:grpSpPr>
          <a:xfrm>
            <a:off x="4638960" y="3783240"/>
            <a:ext cx="766440" cy="756360"/>
            <a:chOff x="4638960" y="3783240"/>
            <a:chExt cx="766440" cy="756360"/>
          </a:xfrm>
        </p:grpSpPr>
        <p:sp>
          <p:nvSpPr>
            <p:cNvPr id="292" name="Ellipse 55"/>
            <p:cNvSpPr/>
            <p:nvPr/>
          </p:nvSpPr>
          <p:spPr>
            <a:xfrm rot="20156400">
              <a:off x="4674240" y="4032360"/>
              <a:ext cx="721800" cy="257760"/>
            </a:xfrm>
            <a:prstGeom prst="ellipse">
              <a:avLst/>
            </a:prstGeom>
            <a:noFill/>
            <a:ln w="38100">
              <a:solidFill>
                <a:srgbClr val="92d050"/>
              </a:solidFill>
              <a:round/>
            </a:ln>
            <a:scene3d>
              <a:camera prst="orthographicFront">
                <a:rot lat="0" lon="0" rev="20399999"/>
              </a:camera>
              <a:lightRig dir="t" rig="threePt"/>
            </a:scene3d>
          </p:spPr>
          <p:style>
            <a:lnRef idx="0"/>
            <a:fillRef idx="0"/>
            <a:effectRef idx="0"/>
            <a:fontRef idx="minor"/>
          </p:style>
          <p:txBody>
            <a:bodyPr numCol="1" spcCol="0" anchor="t">
              <a:noAutofit/>
            </a:bodyPr>
            <a:p>
              <a:pPr defTabSz="914400">
                <a:lnSpc>
                  <a:spcPct val="100000"/>
                </a:lnSpc>
                <a:tabLst>
                  <a:tab algn="l" pos="0"/>
                </a:tabLst>
              </a:pPr>
              <a:endParaRPr b="0" lang="de-DE" sz="1600" spc="-1" strike="noStrike">
                <a:solidFill>
                  <a:schemeClr val="dk1"/>
                </a:solidFill>
                <a:latin typeface="Arial"/>
                <a:ea typeface="Arial"/>
              </a:endParaRPr>
            </a:p>
          </p:txBody>
        </p:sp>
        <p:grpSp>
          <p:nvGrpSpPr>
            <p:cNvPr id="293" name="Gruppieren 18"/>
            <p:cNvGrpSpPr/>
            <p:nvPr/>
          </p:nvGrpSpPr>
          <p:grpSpPr>
            <a:xfrm>
              <a:off x="4638960" y="3783240"/>
              <a:ext cx="766440" cy="756360"/>
              <a:chOff x="4638960" y="3783240"/>
              <a:chExt cx="766440" cy="756360"/>
            </a:xfrm>
          </p:grpSpPr>
          <p:sp>
            <p:nvSpPr>
              <p:cNvPr id="294" name="Ellipse 42"/>
              <p:cNvSpPr/>
              <p:nvPr/>
            </p:nvSpPr>
            <p:spPr>
              <a:xfrm rot="-600">
                <a:off x="4661280" y="4018680"/>
                <a:ext cx="721800" cy="257760"/>
              </a:xfrm>
              <a:prstGeom prst="ellipse">
                <a:avLst/>
              </a:prstGeom>
              <a:noFill/>
              <a:ln w="38100">
                <a:solidFill>
                  <a:srgbClr val="92d050"/>
                </a:solidFill>
                <a:round/>
              </a:ln>
              <a:scene3d>
                <a:camera prst="orthographicFront">
                  <a:rot lat="0" lon="0" rev="20399999"/>
                </a:camera>
                <a:lightRig dir="t" rig="threePt"/>
              </a:scene3d>
            </p:spPr>
            <p:style>
              <a:lnRef idx="0"/>
              <a:fillRef idx="0"/>
              <a:effectRef idx="0"/>
              <a:fontRef idx="minor"/>
            </p:style>
            <p:txBody>
              <a:bodyPr numCol="1" spcCol="0" anchor="t">
                <a:noAutofit/>
              </a:bodyPr>
              <a:p>
                <a:pPr defTabSz="914400">
                  <a:lnSpc>
                    <a:spcPct val="100000"/>
                  </a:lnSpc>
                  <a:tabLst>
                    <a:tab algn="l" pos="0"/>
                  </a:tabLst>
                </a:pPr>
                <a:endParaRPr b="0" lang="de-DE" sz="1600" spc="-1" strike="noStrike">
                  <a:solidFill>
                    <a:schemeClr val="dk1"/>
                  </a:solidFill>
                  <a:latin typeface="Arial"/>
                  <a:ea typeface="Arial"/>
                </a:endParaRPr>
              </a:p>
            </p:txBody>
          </p:sp>
          <p:sp>
            <p:nvSpPr>
              <p:cNvPr id="295" name="Ellipse 43"/>
              <p:cNvSpPr/>
              <p:nvPr/>
            </p:nvSpPr>
            <p:spPr>
              <a:xfrm>
                <a:off x="5207760" y="4304520"/>
                <a:ext cx="34200" cy="34200"/>
              </a:xfrm>
              <a:prstGeom prst="ellipse">
                <a:avLst/>
              </a:prstGeom>
              <a:gradFill rotWithShape="0">
                <a:gsLst>
                  <a:gs pos="0">
                    <a:srgbClr val="00b050"/>
                  </a:gs>
                  <a:gs pos="45000">
                    <a:srgbClr val="92d050"/>
                  </a:gs>
                  <a:gs pos="100000">
                    <a:srgbClr val="e8f4e6"/>
                  </a:gs>
                </a:gsLst>
                <a:lin ang="13500000"/>
              </a:gradFill>
              <a:ln w="9525">
                <a:noFill/>
              </a:ln>
              <a:scene3d>
                <a:camera prst="orthographicFront"/>
                <a:lightRig dir="t" rig="threePt"/>
              </a:scene3d>
              <a:sp3d prstMaterial="matte"/>
            </p:spPr>
            <p:style>
              <a:lnRef idx="0"/>
              <a:fillRef idx="0"/>
              <a:effectRef idx="0"/>
              <a:fontRef idx="minor"/>
            </p:style>
            <p:txBody>
              <a:bodyPr numCol="1" spcCol="0" tIns="11880" bIns="11880" anchor="t">
                <a:noAutofit/>
              </a:bodyPr>
              <a:p>
                <a:pPr defTabSz="914400">
                  <a:lnSpc>
                    <a:spcPct val="100000"/>
                  </a:lnSpc>
                  <a:tabLst>
                    <a:tab algn="l" pos="0"/>
                  </a:tabLst>
                </a:pPr>
                <a:endParaRPr b="0" lang="de-DE" sz="1600" spc="-1" strike="noStrike">
                  <a:solidFill>
                    <a:schemeClr val="dk1"/>
                  </a:solidFill>
                  <a:latin typeface="Arial"/>
                  <a:ea typeface="Arial"/>
                </a:endParaRPr>
              </a:p>
            </p:txBody>
          </p:sp>
          <p:sp>
            <p:nvSpPr>
              <p:cNvPr id="296" name="Ellipse 53"/>
              <p:cNvSpPr/>
              <p:nvPr/>
            </p:nvSpPr>
            <p:spPr>
              <a:xfrm rot="16729800">
                <a:off x="4674240" y="4032360"/>
                <a:ext cx="721800" cy="257760"/>
              </a:xfrm>
              <a:prstGeom prst="ellipse">
                <a:avLst/>
              </a:prstGeom>
              <a:noFill/>
              <a:ln w="38100">
                <a:solidFill>
                  <a:srgbClr val="92d050"/>
                </a:solidFill>
                <a:round/>
              </a:ln>
              <a:scene3d>
                <a:camera prst="orthographicFront">
                  <a:rot lat="0" lon="0" rev="20399999"/>
                </a:camera>
                <a:lightRig dir="t" rig="threePt"/>
              </a:scene3d>
            </p:spPr>
            <p:style>
              <a:lnRef idx="0"/>
              <a:fillRef idx="0"/>
              <a:effectRef idx="0"/>
              <a:fontRef idx="minor"/>
            </p:style>
            <p:txBody>
              <a:bodyPr numCol="1" spcCol="0" anchor="t">
                <a:noAutofit/>
              </a:bodyPr>
              <a:p>
                <a:pPr defTabSz="914400">
                  <a:lnSpc>
                    <a:spcPct val="100000"/>
                  </a:lnSpc>
                  <a:tabLst>
                    <a:tab algn="l" pos="0"/>
                  </a:tabLst>
                </a:pPr>
                <a:endParaRPr b="0" lang="de-DE" sz="1600" spc="-1" strike="noStrike">
                  <a:solidFill>
                    <a:schemeClr val="dk1"/>
                  </a:solidFill>
                  <a:latin typeface="Arial"/>
                  <a:ea typeface="Arial"/>
                </a:endParaRPr>
              </a:p>
            </p:txBody>
          </p:sp>
          <p:sp>
            <p:nvSpPr>
              <p:cNvPr id="297" name="Ellipse 57"/>
              <p:cNvSpPr/>
              <p:nvPr/>
            </p:nvSpPr>
            <p:spPr>
              <a:xfrm>
                <a:off x="5301000" y="4047480"/>
                <a:ext cx="34200" cy="34200"/>
              </a:xfrm>
              <a:prstGeom prst="ellipse">
                <a:avLst/>
              </a:prstGeom>
              <a:gradFill rotWithShape="0">
                <a:gsLst>
                  <a:gs pos="0">
                    <a:srgbClr val="00b050"/>
                  </a:gs>
                  <a:gs pos="45000">
                    <a:srgbClr val="92d050"/>
                  </a:gs>
                  <a:gs pos="100000">
                    <a:srgbClr val="e8f4e6"/>
                  </a:gs>
                </a:gsLst>
                <a:lin ang="13500000"/>
              </a:gradFill>
              <a:ln w="9525">
                <a:noFill/>
              </a:ln>
              <a:scene3d>
                <a:camera prst="orthographicFront"/>
                <a:lightRig dir="t" rig="threePt"/>
              </a:scene3d>
              <a:sp3d prstMaterial="matte"/>
            </p:spPr>
            <p:style>
              <a:lnRef idx="0"/>
              <a:fillRef idx="0"/>
              <a:effectRef idx="0"/>
              <a:fontRef idx="minor"/>
            </p:style>
            <p:txBody>
              <a:bodyPr numCol="1" spcCol="0" tIns="11880" bIns="11880" anchor="t">
                <a:noAutofit/>
              </a:bodyPr>
              <a:p>
                <a:pPr defTabSz="914400">
                  <a:lnSpc>
                    <a:spcPct val="100000"/>
                  </a:lnSpc>
                  <a:tabLst>
                    <a:tab algn="l" pos="0"/>
                  </a:tabLst>
                </a:pPr>
                <a:endParaRPr b="0" lang="de-DE" sz="1600" spc="-1" strike="noStrike">
                  <a:solidFill>
                    <a:schemeClr val="dk1"/>
                  </a:solidFill>
                  <a:latin typeface="Arial"/>
                  <a:ea typeface="Arial"/>
                </a:endParaRPr>
              </a:p>
            </p:txBody>
          </p:sp>
          <p:sp>
            <p:nvSpPr>
              <p:cNvPr id="298" name="Ellipse 58"/>
              <p:cNvSpPr/>
              <p:nvPr/>
            </p:nvSpPr>
            <p:spPr>
              <a:xfrm>
                <a:off x="4806720" y="4362480"/>
                <a:ext cx="34200" cy="34200"/>
              </a:xfrm>
              <a:prstGeom prst="ellipse">
                <a:avLst/>
              </a:prstGeom>
              <a:gradFill rotWithShape="0">
                <a:gsLst>
                  <a:gs pos="0">
                    <a:srgbClr val="00b050"/>
                  </a:gs>
                  <a:gs pos="45000">
                    <a:srgbClr val="92d050"/>
                  </a:gs>
                  <a:gs pos="100000">
                    <a:srgbClr val="e8f4e6"/>
                  </a:gs>
                </a:gsLst>
                <a:lin ang="13500000"/>
              </a:gradFill>
              <a:ln w="9525">
                <a:noFill/>
              </a:ln>
              <a:scene3d>
                <a:camera prst="orthographicFront"/>
                <a:lightRig dir="t" rig="threePt"/>
              </a:scene3d>
              <a:sp3d prstMaterial="matte"/>
            </p:spPr>
            <p:style>
              <a:lnRef idx="0"/>
              <a:fillRef idx="0"/>
              <a:effectRef idx="0"/>
              <a:fontRef idx="minor"/>
            </p:style>
            <p:txBody>
              <a:bodyPr numCol="1" spcCol="0" tIns="11880" bIns="11880" anchor="t">
                <a:noAutofit/>
              </a:bodyPr>
              <a:p>
                <a:pPr defTabSz="914400">
                  <a:lnSpc>
                    <a:spcPct val="100000"/>
                  </a:lnSpc>
                  <a:tabLst>
                    <a:tab algn="l" pos="0"/>
                  </a:tabLst>
                </a:pPr>
                <a:endParaRPr b="0" lang="de-DE" sz="1600" spc="-1" strike="noStrike">
                  <a:solidFill>
                    <a:schemeClr val="dk1"/>
                  </a:solidFill>
                  <a:latin typeface="Arial"/>
                  <a:ea typeface="Arial"/>
                </a:endParaRPr>
              </a:p>
            </p:txBody>
          </p:sp>
        </p:grpSp>
        <p:grpSp>
          <p:nvGrpSpPr>
            <p:cNvPr id="299" name="Gruppieren 25"/>
            <p:cNvGrpSpPr/>
            <p:nvPr/>
          </p:nvGrpSpPr>
          <p:grpSpPr>
            <a:xfrm>
              <a:off x="4971240" y="4098600"/>
              <a:ext cx="128160" cy="124920"/>
              <a:chOff x="4971240" y="4098600"/>
              <a:chExt cx="128160" cy="124920"/>
            </a:xfrm>
          </p:grpSpPr>
          <p:sp>
            <p:nvSpPr>
              <p:cNvPr id="300" name="Picture 11"/>
              <p:cNvSpPr/>
              <p:nvPr/>
            </p:nvSpPr>
            <p:spPr>
              <a:xfrm>
                <a:off x="4971240" y="4098600"/>
                <a:ext cx="128160" cy="124920"/>
              </a:xfrm>
              <a:prstGeom prst="ellipse">
                <a:avLst/>
              </a:prstGeom>
              <a:blipFill rotWithShape="0">
                <a:blip r:embed="rId6"/>
                <a:srcRect/>
                <a:stretch/>
              </a:blipFill>
              <a:ln w="63500">
                <a:noFill/>
              </a:ln>
              <a:effectLst>
                <a:outerShdw blurRad="380880" dir="5400000" dist="291960" rotWithShape="0" sx="-80000" sy="-18000">
                  <a:srgbClr val="000000">
                    <a:alpha val="22000"/>
                  </a:srgbClr>
                </a:outerShdw>
              </a:effectLst>
              <a:scene3d>
                <a:camera prst="orthographicFront"/>
                <a:lightRig dir="t" rig="contrasting">
                  <a:rot lat="0" lon="0" rev="3000000"/>
                </a:lightRig>
              </a:scene3d>
              <a:sp3d contourW="7620">
                <a:bevelT w="95250" h="31750"/>
                <a:contourClr>
                  <a:srgbClr val="333333"/>
                </a:contourClr>
              </a:sp3d>
            </p:spPr>
            <p:style>
              <a:lnRef idx="0"/>
              <a:fillRef idx="0"/>
              <a:effectRef idx="0"/>
              <a:fontRef idx="minor"/>
            </p:style>
            <p:txBody>
              <a:bodyPr lIns="90000" rIns="90000" tIns="43920" bIns="43920" anchor="t">
                <a:noAutofit/>
              </a:bodyPr>
              <a:p>
                <a:endParaRPr b="0" lang="en-US" sz="1800" spc="-1" strike="noStrike">
                  <a:solidFill>
                    <a:srgbClr val="000000"/>
                  </a:solidFill>
                  <a:latin typeface="Calibri"/>
                </a:endParaRPr>
              </a:p>
            </p:txBody>
          </p:sp>
          <p:sp>
            <p:nvSpPr>
              <p:cNvPr id="301" name="Ellipse 24"/>
              <p:cNvSpPr/>
              <p:nvPr/>
            </p:nvSpPr>
            <p:spPr>
              <a:xfrm>
                <a:off x="4971240" y="4098600"/>
                <a:ext cx="128160" cy="124920"/>
              </a:xfrm>
              <a:prstGeom prst="ellipse">
                <a:avLst/>
              </a:prstGeom>
              <a:noFill/>
              <a:ln w="31750">
                <a:solidFill>
                  <a:srgbClr val="f0f0f0"/>
                </a:solidFill>
              </a:ln>
            </p:spPr>
            <p:style>
              <a:lnRef idx="2">
                <a:schemeClr val="accent1">
                  <a:shade val="50000"/>
                </a:schemeClr>
              </a:lnRef>
              <a:fillRef idx="1">
                <a:schemeClr val="accent1"/>
              </a:fillRef>
              <a:effectRef idx="0">
                <a:schemeClr val="accent1"/>
              </a:effectRef>
              <a:fontRef idx="minor"/>
            </p:style>
            <p:txBody>
              <a:bodyPr lIns="90000" rIns="90000" tIns="43920" bIns="43920" anchor="ctr">
                <a:noAutofit/>
              </a:bodyPr>
              <a:p>
                <a:pPr algn="ctr" defTabSz="457200">
                  <a:lnSpc>
                    <a:spcPct val="100000"/>
                  </a:lnSpc>
                </a:pPr>
                <a:endParaRPr b="0" lang="en-GB" sz="1600" spc="-1" strike="noStrike">
                  <a:solidFill>
                    <a:schemeClr val="dk1"/>
                  </a:solidFill>
                  <a:latin typeface="Arial"/>
                  <a:ea typeface="Arial"/>
                </a:endParaRPr>
              </a:p>
            </p:txBody>
          </p:sp>
        </p:grpSp>
      </p:grpSp>
      <p:grpSp>
        <p:nvGrpSpPr>
          <p:cNvPr id="302" name="Gruppieren 60"/>
          <p:cNvGrpSpPr/>
          <p:nvPr/>
        </p:nvGrpSpPr>
        <p:grpSpPr>
          <a:xfrm>
            <a:off x="2282040" y="4344120"/>
            <a:ext cx="1964160" cy="1418040"/>
            <a:chOff x="2282040" y="4344120"/>
            <a:chExt cx="1964160" cy="1418040"/>
          </a:xfrm>
        </p:grpSpPr>
        <p:pic>
          <p:nvPicPr>
            <p:cNvPr id="303" name="Picture 11" descr=""/>
            <p:cNvPicPr/>
            <p:nvPr/>
          </p:nvPicPr>
          <p:blipFill>
            <a:blip r:embed="rId7"/>
            <a:srcRect l="62911" t="51295" r="0" b="0"/>
            <a:stretch/>
          </p:blipFill>
          <p:spPr>
            <a:xfrm rot="3892800">
              <a:off x="2940480" y="4140000"/>
              <a:ext cx="647280" cy="1865880"/>
            </a:xfrm>
            <a:prstGeom prst="rect">
              <a:avLst/>
            </a:prstGeom>
            <a:ln w="0">
              <a:noFill/>
            </a:ln>
          </p:spPr>
        </p:pic>
        <p:sp>
          <p:nvSpPr>
            <p:cNvPr id="304" name="Rechteck 59"/>
            <p:cNvSpPr/>
            <p:nvPr/>
          </p:nvSpPr>
          <p:spPr>
            <a:xfrm rot="3733800">
              <a:off x="2763720" y="4817520"/>
              <a:ext cx="119160" cy="29844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defTabSz="457200">
                <a:lnSpc>
                  <a:spcPct val="100000"/>
                </a:lnSpc>
              </a:pPr>
              <a:endParaRPr b="0" lang="en-GB" sz="1600" spc="-1" strike="noStrike">
                <a:solidFill>
                  <a:schemeClr val="dk1"/>
                </a:solidFill>
                <a:latin typeface="Arial"/>
                <a:ea typeface="Arial"/>
              </a:endParaRPr>
            </a:p>
          </p:txBody>
        </p:sp>
        <p:sp>
          <p:nvSpPr>
            <p:cNvPr id="305" name="Rechteck 71"/>
            <p:cNvSpPr/>
            <p:nvPr/>
          </p:nvSpPr>
          <p:spPr>
            <a:xfrm rot="3733800">
              <a:off x="3930480" y="4330440"/>
              <a:ext cx="59400" cy="14904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defTabSz="457200">
                <a:lnSpc>
                  <a:spcPct val="100000"/>
                </a:lnSpc>
              </a:pPr>
              <a:endParaRPr b="0" lang="en-GB" sz="1600" spc="-1" strike="noStrike">
                <a:solidFill>
                  <a:schemeClr val="dk1"/>
                </a:solidFill>
                <a:latin typeface="Arial"/>
                <a:ea typeface="Arial"/>
              </a:endParaRPr>
            </a:p>
          </p:txBody>
        </p:sp>
      </p:grpSp>
      <p:sp>
        <p:nvSpPr>
          <p:cNvPr id="306" name="Picture 18"/>
          <p:cNvSpPr/>
          <p:nvPr/>
        </p:nvSpPr>
        <p:spPr>
          <a:xfrm>
            <a:off x="10312200" y="540000"/>
            <a:ext cx="1532520" cy="1078920"/>
          </a:xfrm>
          <a:prstGeom prst="ellipse">
            <a:avLst/>
          </a:prstGeom>
          <a:blipFill rotWithShape="0">
            <a:blip r:embed="rId8"/>
            <a:srcRect/>
            <a:stretch/>
          </a:blipFill>
          <a:ln w="63500">
            <a:noFill/>
          </a:ln>
          <a:scene3d>
            <a:camera prst="orthographicFront"/>
            <a:lightRig dir="t" rig="contrasting">
              <a:rot lat="0" lon="0" rev="3000000"/>
            </a:lightRig>
          </a:scene3d>
          <a:sp3d contourW="7620">
            <a:bevelT w="95250" h="31750"/>
            <a:contourClr>
              <a:srgbClr val="333333"/>
            </a:contourClr>
          </a:sp3d>
        </p:spPr>
        <p:style>
          <a:lnRef idx="0"/>
          <a:fillRef idx="0"/>
          <a:effectRef idx="0"/>
          <a:fontRef idx="minor"/>
        </p:style>
        <p:txBody>
          <a:bodyPr lIns="90000" rIns="90000" tIns="45000" bIns="45000" anchor="t">
            <a:noAutofit/>
          </a:bodyPr>
          <a:p>
            <a:endParaRPr b="0" lang="en-US" sz="1800" spc="-1" strike="noStrike">
              <a:solidFill>
                <a:srgbClr val="000000"/>
              </a:solidFill>
              <a:latin typeface="Calibri"/>
            </a:endParaRPr>
          </a:p>
        </p:txBody>
      </p:sp>
      <p:sp>
        <p:nvSpPr>
          <p:cNvPr id="307" name="Textfeld 76"/>
          <p:cNvSpPr/>
          <p:nvPr/>
        </p:nvSpPr>
        <p:spPr>
          <a:xfrm>
            <a:off x="4824000" y="4505040"/>
            <a:ext cx="1697040" cy="303120"/>
          </a:xfrm>
          <a:prstGeom prst="rect">
            <a:avLst/>
          </a:prstGeom>
          <a:noFill/>
          <a:ln w="0">
            <a:noFill/>
          </a:ln>
        </p:spPr>
        <p:style>
          <a:lnRef idx="0"/>
          <a:fillRef idx="0"/>
          <a:effectRef idx="0"/>
          <a:fontRef idx="minor"/>
        </p:style>
        <p:txBody>
          <a:bodyPr lIns="90000" rIns="90000" tIns="45000" bIns="45000" anchor="t">
            <a:spAutoFit/>
          </a:bodyPr>
          <a:p>
            <a:pPr defTabSz="457200">
              <a:lnSpc>
                <a:spcPct val="100000"/>
              </a:lnSpc>
            </a:pPr>
            <a:r>
              <a:rPr b="0" lang="de-DE" sz="1400" spc="-1" strike="noStrike">
                <a:solidFill>
                  <a:schemeClr val="lt1"/>
                </a:solidFill>
                <a:latin typeface="Arial"/>
                <a:ea typeface="Arial"/>
              </a:rPr>
              <a:t>Atom</a:t>
            </a:r>
            <a:endParaRPr b="0" lang="en-US" sz="1400" spc="-1" strike="noStrike">
              <a:solidFill>
                <a:srgbClr val="ffffff"/>
              </a:solidFill>
              <a:latin typeface="Calibri"/>
            </a:endParaRPr>
          </a:p>
        </p:txBody>
      </p:sp>
      <p:sp>
        <p:nvSpPr>
          <p:cNvPr id="308" name="Textfeld 77"/>
          <p:cNvSpPr/>
          <p:nvPr/>
        </p:nvSpPr>
        <p:spPr>
          <a:xfrm>
            <a:off x="3359520" y="5312520"/>
            <a:ext cx="1697040" cy="303120"/>
          </a:xfrm>
          <a:prstGeom prst="rect">
            <a:avLst/>
          </a:prstGeom>
          <a:noFill/>
          <a:ln w="0">
            <a:noFill/>
          </a:ln>
        </p:spPr>
        <p:style>
          <a:lnRef idx="0"/>
          <a:fillRef idx="0"/>
          <a:effectRef idx="0"/>
          <a:fontRef idx="minor"/>
        </p:style>
        <p:txBody>
          <a:bodyPr lIns="90000" rIns="90000" tIns="45000" bIns="45000" anchor="t">
            <a:spAutoFit/>
          </a:bodyPr>
          <a:p>
            <a:pPr defTabSz="457200">
              <a:lnSpc>
                <a:spcPct val="100000"/>
              </a:lnSpc>
            </a:pPr>
            <a:r>
              <a:rPr b="0" lang="de-DE" sz="1400" spc="-1" strike="noStrike">
                <a:solidFill>
                  <a:schemeClr val="lt1"/>
                </a:solidFill>
                <a:latin typeface="Arial"/>
                <a:ea typeface="Arial"/>
              </a:rPr>
              <a:t>Proton</a:t>
            </a:r>
            <a:endParaRPr b="0" lang="en-US" sz="1400" spc="-1" strike="noStrike">
              <a:solidFill>
                <a:srgbClr val="ffffff"/>
              </a:solidFill>
              <a:latin typeface="Calibri"/>
            </a:endParaRPr>
          </a:p>
        </p:txBody>
      </p:sp>
      <p:sp>
        <p:nvSpPr>
          <p:cNvPr id="309" name="Textfeld 78"/>
          <p:cNvSpPr/>
          <p:nvPr/>
        </p:nvSpPr>
        <p:spPr>
          <a:xfrm>
            <a:off x="2321280" y="5886360"/>
            <a:ext cx="848520" cy="303120"/>
          </a:xfrm>
          <a:prstGeom prst="rect">
            <a:avLst/>
          </a:prstGeom>
          <a:noFill/>
          <a:ln w="0">
            <a:noFill/>
          </a:ln>
        </p:spPr>
        <p:style>
          <a:lnRef idx="0"/>
          <a:fillRef idx="0"/>
          <a:effectRef idx="0"/>
          <a:fontRef idx="minor"/>
        </p:style>
        <p:txBody>
          <a:bodyPr lIns="90000" rIns="90000" tIns="45000" bIns="45000" anchor="t">
            <a:spAutoFit/>
          </a:bodyPr>
          <a:p>
            <a:pPr defTabSz="457200">
              <a:lnSpc>
                <a:spcPct val="100000"/>
              </a:lnSpc>
            </a:pPr>
            <a:r>
              <a:rPr b="0" lang="de-DE" sz="1400" spc="-1" strike="noStrike">
                <a:solidFill>
                  <a:schemeClr val="lt1"/>
                </a:solidFill>
                <a:latin typeface="Arial"/>
                <a:ea typeface="Arial"/>
              </a:rPr>
              <a:t>Quark</a:t>
            </a:r>
            <a:endParaRPr b="0" lang="en-US" sz="1400" spc="-1" strike="noStrike">
              <a:solidFill>
                <a:srgbClr val="ffffff"/>
              </a:solidFill>
              <a:latin typeface="Calibri"/>
            </a:endParaRPr>
          </a:p>
        </p:txBody>
      </p:sp>
      <p:sp>
        <p:nvSpPr>
          <p:cNvPr id="310" name="Rechteck 4096"/>
          <p:cNvSpPr/>
          <p:nvPr/>
        </p:nvSpPr>
        <p:spPr>
          <a:xfrm>
            <a:off x="416880" y="1437480"/>
            <a:ext cx="6095520" cy="820800"/>
          </a:xfrm>
          <a:prstGeom prst="rect">
            <a:avLst/>
          </a:prstGeom>
          <a:noFill/>
          <a:ln w="0">
            <a:noFill/>
          </a:ln>
        </p:spPr>
        <p:style>
          <a:lnRef idx="0"/>
          <a:fillRef idx="0"/>
          <a:effectRef idx="0"/>
          <a:fontRef idx="minor"/>
        </p:style>
        <p:txBody>
          <a:bodyPr lIns="90000" rIns="90000" tIns="45000" bIns="45000" anchor="t">
            <a:spAutoFit/>
          </a:bodyPr>
          <a:p>
            <a:pPr defTabSz="457200">
              <a:lnSpc>
                <a:spcPct val="100000"/>
              </a:lnSpc>
            </a:pPr>
            <a:endParaRPr b="0" lang="en-US" sz="1600" spc="-1" strike="noStrike">
              <a:solidFill>
                <a:srgbClr val="ffffff"/>
              </a:solidFill>
              <a:latin typeface="Calibri"/>
            </a:endParaRPr>
          </a:p>
          <a:p>
            <a:pPr defTabSz="457200">
              <a:lnSpc>
                <a:spcPct val="100000"/>
              </a:lnSpc>
            </a:pPr>
            <a:endParaRPr b="0" lang="en-US" sz="1600" spc="-1" strike="noStrike">
              <a:solidFill>
                <a:srgbClr val="ffffff"/>
              </a:solidFill>
              <a:latin typeface="Calibri"/>
            </a:endParaRPr>
          </a:p>
          <a:p>
            <a:pPr defTabSz="457200">
              <a:lnSpc>
                <a:spcPct val="100000"/>
              </a:lnSpc>
            </a:pPr>
            <a:endParaRPr b="0" lang="en-US" sz="1600" spc="-1" strike="noStrike">
              <a:solidFill>
                <a:srgbClr val="ffffff"/>
              </a:solidFill>
              <a:latin typeface="Calibri"/>
            </a:endParaRPr>
          </a:p>
        </p:txBody>
      </p:sp>
      <p:grpSp>
        <p:nvGrpSpPr>
          <p:cNvPr id="311" name="Group 3"/>
          <p:cNvGrpSpPr/>
          <p:nvPr/>
        </p:nvGrpSpPr>
        <p:grpSpPr>
          <a:xfrm>
            <a:off x="220320" y="204840"/>
            <a:ext cx="11191320" cy="4523400"/>
            <a:chOff x="220320" y="204840"/>
            <a:chExt cx="11191320" cy="4523400"/>
          </a:xfrm>
        </p:grpSpPr>
        <p:sp>
          <p:nvSpPr>
            <p:cNvPr id="312" name="Textfeld 12"/>
            <p:cNvSpPr/>
            <p:nvPr/>
          </p:nvSpPr>
          <p:spPr>
            <a:xfrm>
              <a:off x="8278560" y="204840"/>
              <a:ext cx="3133080" cy="516600"/>
            </a:xfrm>
            <a:prstGeom prst="rect">
              <a:avLst/>
            </a:prstGeom>
            <a:noFill/>
            <a:ln w="38100">
              <a:noFill/>
            </a:ln>
          </p:spPr>
          <p:style>
            <a:lnRef idx="0"/>
            <a:fillRef idx="0"/>
            <a:effectRef idx="0"/>
            <a:fontRef idx="minor"/>
          </p:style>
          <p:txBody>
            <a:bodyPr lIns="90000" rIns="90000" tIns="45000" bIns="45000" anchor="t">
              <a:spAutoFit/>
            </a:bodyPr>
            <a:p>
              <a:pPr defTabSz="457200">
                <a:lnSpc>
                  <a:spcPct val="100000"/>
                </a:lnSpc>
              </a:pPr>
              <a:r>
                <a:rPr b="0" lang="en-GB" sz="1400" spc="-1" strike="noStrike">
                  <a:solidFill>
                    <a:schemeClr val="lt1"/>
                  </a:solidFill>
                  <a:latin typeface="Arial"/>
                  <a:ea typeface="Arial"/>
                </a:rPr>
                <a:t>What role do high energy particles play in cosmic evolution?</a:t>
              </a:r>
              <a:endParaRPr b="0" lang="en-US" sz="1400" spc="-1" strike="noStrike">
                <a:solidFill>
                  <a:srgbClr val="ffffff"/>
                </a:solidFill>
                <a:latin typeface="Calibri"/>
              </a:endParaRPr>
            </a:p>
          </p:txBody>
        </p:sp>
        <p:sp>
          <p:nvSpPr>
            <p:cNvPr id="313" name="Textfeld 45"/>
            <p:cNvSpPr/>
            <p:nvPr/>
          </p:nvSpPr>
          <p:spPr>
            <a:xfrm>
              <a:off x="220320" y="4211640"/>
              <a:ext cx="3007080" cy="516600"/>
            </a:xfrm>
            <a:prstGeom prst="rect">
              <a:avLst/>
            </a:prstGeom>
            <a:noFill/>
            <a:ln w="38100">
              <a:noFill/>
            </a:ln>
          </p:spPr>
          <p:style>
            <a:lnRef idx="0"/>
            <a:fillRef idx="0"/>
            <a:effectRef idx="0"/>
            <a:fontRef idx="minor"/>
          </p:style>
          <p:txBody>
            <a:bodyPr lIns="90000" rIns="90000" tIns="45000" bIns="45000" anchor="t">
              <a:spAutoFit/>
            </a:bodyPr>
            <a:p>
              <a:pPr defTabSz="457200">
                <a:lnSpc>
                  <a:spcPct val="100000"/>
                </a:lnSpc>
              </a:pPr>
              <a:r>
                <a:rPr b="0" lang="en-GB" sz="1400" spc="-1" strike="noStrike">
                  <a:solidFill>
                    <a:schemeClr val="lt1"/>
                  </a:solidFill>
                  <a:latin typeface="Arial"/>
                  <a:ea typeface="Arial"/>
                </a:rPr>
                <a:t>What are the most fundamental particles and laws of Nature?</a:t>
              </a:r>
              <a:endParaRPr b="0" lang="en-US" sz="1400" spc="-1" strike="noStrike">
                <a:solidFill>
                  <a:srgbClr val="ffffff"/>
                </a:solidFill>
                <a:latin typeface="Calibri"/>
              </a:endParaRPr>
            </a:p>
          </p:txBody>
        </p:sp>
        <p:sp>
          <p:nvSpPr>
            <p:cNvPr id="314" name="Textfeld 46"/>
            <p:cNvSpPr/>
            <p:nvPr/>
          </p:nvSpPr>
          <p:spPr>
            <a:xfrm>
              <a:off x="3632400" y="2361600"/>
              <a:ext cx="3100680" cy="730080"/>
            </a:xfrm>
            <a:prstGeom prst="rect">
              <a:avLst/>
            </a:prstGeom>
            <a:noFill/>
            <a:ln w="38100">
              <a:noFill/>
            </a:ln>
          </p:spPr>
          <p:style>
            <a:lnRef idx="0"/>
            <a:fillRef idx="0"/>
            <a:effectRef idx="0"/>
            <a:fontRef idx="minor"/>
          </p:style>
          <p:txBody>
            <a:bodyPr lIns="90000" rIns="90000" tIns="45000" bIns="45000" anchor="t">
              <a:spAutoFit/>
            </a:bodyPr>
            <a:p>
              <a:pPr defTabSz="457200">
                <a:lnSpc>
                  <a:spcPct val="100000"/>
                </a:lnSpc>
              </a:pPr>
              <a:r>
                <a:rPr b="0" lang="en-GB" sz="1400" spc="-1" strike="noStrike">
                  <a:solidFill>
                    <a:schemeClr val="lt1"/>
                  </a:solidFill>
                  <a:latin typeface="Arial"/>
                  <a:ea typeface="Arial"/>
                </a:rPr>
                <a:t>How can we control the function of materials on the level of individual electrons and spins?</a:t>
              </a:r>
              <a:endParaRPr b="0" lang="en-US" sz="1400" spc="-1" strike="noStrike">
                <a:solidFill>
                  <a:srgbClr val="ffffff"/>
                </a:solidFill>
                <a:latin typeface="Calibri"/>
              </a:endParaRPr>
            </a:p>
          </p:txBody>
        </p:sp>
        <p:sp>
          <p:nvSpPr>
            <p:cNvPr id="315" name="Textfeld 47"/>
            <p:cNvSpPr/>
            <p:nvPr/>
          </p:nvSpPr>
          <p:spPr>
            <a:xfrm>
              <a:off x="6159960" y="1256040"/>
              <a:ext cx="2877120" cy="516600"/>
            </a:xfrm>
            <a:prstGeom prst="rect">
              <a:avLst/>
            </a:prstGeom>
            <a:noFill/>
            <a:ln w="38100">
              <a:noFill/>
            </a:ln>
          </p:spPr>
          <p:style>
            <a:lnRef idx="0"/>
            <a:fillRef idx="0"/>
            <a:effectRef idx="0"/>
            <a:fontRef idx="minor"/>
          </p:style>
          <p:txBody>
            <a:bodyPr lIns="90000" rIns="90000" tIns="45000" bIns="45000" anchor="t">
              <a:spAutoFit/>
            </a:bodyPr>
            <a:p>
              <a:pPr defTabSz="457200">
                <a:lnSpc>
                  <a:spcPct val="100000"/>
                </a:lnSpc>
              </a:pPr>
              <a:r>
                <a:rPr b="0" lang="en-GB" sz="1400" spc="-1" strike="noStrike">
                  <a:solidFill>
                    <a:schemeClr val="lt1"/>
                  </a:solidFill>
                  <a:latin typeface="Arial"/>
                  <a:ea typeface="Arial"/>
                </a:rPr>
                <a:t>Can we understand infection on the molecular level?</a:t>
              </a:r>
              <a:endParaRPr b="0" lang="en-US" sz="1400" spc="-1" strike="noStrike">
                <a:solidFill>
                  <a:srgbClr val="ffffff"/>
                </a:solidFill>
                <a:latin typeface="Calibri"/>
              </a:endParaRPr>
            </a:p>
          </p:txBody>
        </p:sp>
      </p:grpSp>
      <p:sp>
        <p:nvSpPr>
          <p:cNvPr id="316" name="Geschweifte Klammer links 13"/>
          <p:cNvSpPr/>
          <p:nvPr/>
        </p:nvSpPr>
        <p:spPr>
          <a:xfrm rot="14598000">
            <a:off x="7023600" y="-818280"/>
            <a:ext cx="335520" cy="10084680"/>
          </a:xfrm>
          <a:prstGeom prst="leftBrace">
            <a:avLst>
              <a:gd name="adj1" fmla="val 8333"/>
              <a:gd name="adj2" fmla="val 64867"/>
            </a:avLst>
          </a:prstGeom>
          <a:noFill/>
          <a:ln w="31750">
            <a:solidFill>
              <a:srgbClr val="009fdf"/>
            </a:solidFill>
          </a:ln>
        </p:spPr>
        <p:style>
          <a:lnRef idx="1">
            <a:schemeClr val="accent1"/>
          </a:lnRef>
          <a:fillRef idx="0">
            <a:schemeClr val="accent1"/>
          </a:fillRef>
          <a:effectRef idx="0">
            <a:schemeClr val="accent1"/>
          </a:effectRef>
          <a:fontRef idx="minor"/>
        </p:style>
        <p:txBody>
          <a:bodyPr lIns="90000" rIns="90000" tIns="45000" bIns="45000" anchor="ctr">
            <a:noAutofit/>
          </a:bodyPr>
          <a:p>
            <a:pPr algn="ctr" defTabSz="457200">
              <a:lnSpc>
                <a:spcPct val="100000"/>
              </a:lnSpc>
            </a:pPr>
            <a:endParaRPr b="0" lang="en-GB" sz="1900" spc="-1" strike="noStrike">
              <a:solidFill>
                <a:schemeClr val="dk1"/>
              </a:solidFill>
              <a:latin typeface="Arial"/>
              <a:ea typeface="Arial"/>
            </a:endParaRPr>
          </a:p>
        </p:txBody>
      </p:sp>
      <p:sp>
        <p:nvSpPr>
          <p:cNvPr id="317" name="Textfeld 14"/>
          <p:cNvSpPr/>
          <p:nvPr/>
        </p:nvSpPr>
        <p:spPr>
          <a:xfrm>
            <a:off x="10453680" y="3804840"/>
            <a:ext cx="1436760" cy="303120"/>
          </a:xfrm>
          <a:prstGeom prst="rect">
            <a:avLst/>
          </a:prstGeom>
          <a:noFill/>
          <a:ln w="0">
            <a:noFill/>
          </a:ln>
        </p:spPr>
        <p:style>
          <a:lnRef idx="0"/>
          <a:fillRef idx="0"/>
          <a:effectRef idx="0"/>
          <a:fontRef idx="minor"/>
        </p:style>
        <p:txBody>
          <a:bodyPr lIns="90000" rIns="90000" tIns="45000" bIns="45000" anchor="t">
            <a:spAutoFit/>
          </a:bodyPr>
          <a:p>
            <a:pPr defTabSz="457200">
              <a:lnSpc>
                <a:spcPct val="100000"/>
              </a:lnSpc>
            </a:pPr>
            <a:r>
              <a:rPr b="0" lang="de-DE" sz="1400" spc="-1" strike="noStrike">
                <a:solidFill>
                  <a:schemeClr val="lt1"/>
                </a:solidFill>
                <a:latin typeface="Arial"/>
                <a:ea typeface="Arial"/>
              </a:rPr>
              <a:t>Accelerators</a:t>
            </a:r>
            <a:endParaRPr b="0" lang="en-US" sz="1400" spc="-1" strike="noStrike">
              <a:solidFill>
                <a:srgbClr val="ffffff"/>
              </a:solidFill>
              <a:latin typeface="Calibri"/>
            </a:endParaRPr>
          </a:p>
        </p:txBody>
      </p:sp>
      <p:sp>
        <p:nvSpPr>
          <p:cNvPr id="318" name="Textfeld 49"/>
          <p:cNvSpPr/>
          <p:nvPr/>
        </p:nvSpPr>
        <p:spPr>
          <a:xfrm>
            <a:off x="7628400" y="5376960"/>
            <a:ext cx="1436760" cy="303120"/>
          </a:xfrm>
          <a:prstGeom prst="rect">
            <a:avLst/>
          </a:prstGeom>
          <a:noFill/>
          <a:ln w="0">
            <a:noFill/>
          </a:ln>
        </p:spPr>
        <p:style>
          <a:lnRef idx="0"/>
          <a:fillRef idx="0"/>
          <a:effectRef idx="0"/>
          <a:fontRef idx="minor"/>
        </p:style>
        <p:txBody>
          <a:bodyPr lIns="90000" rIns="90000" tIns="45000" bIns="45000" anchor="t">
            <a:spAutoFit/>
          </a:bodyPr>
          <a:p>
            <a:pPr defTabSz="457200">
              <a:lnSpc>
                <a:spcPct val="100000"/>
              </a:lnSpc>
            </a:pPr>
            <a:r>
              <a:rPr b="0" lang="de-DE" sz="1400" spc="-1" strike="noStrike">
                <a:solidFill>
                  <a:schemeClr val="lt1"/>
                </a:solidFill>
                <a:latin typeface="Arial"/>
                <a:ea typeface="Arial"/>
              </a:rPr>
              <a:t>Detectors</a:t>
            </a:r>
            <a:endParaRPr b="0" lang="en-US" sz="1400" spc="-1" strike="noStrike">
              <a:solidFill>
                <a:srgbClr val="ffffff"/>
              </a:solidFill>
              <a:latin typeface="Calibri"/>
            </a:endParaRPr>
          </a:p>
        </p:txBody>
      </p:sp>
      <p:sp>
        <p:nvSpPr>
          <p:cNvPr id="319" name="Textfeld 50"/>
          <p:cNvSpPr/>
          <p:nvPr/>
        </p:nvSpPr>
        <p:spPr>
          <a:xfrm>
            <a:off x="10165680" y="5771160"/>
            <a:ext cx="1436760" cy="303120"/>
          </a:xfrm>
          <a:prstGeom prst="rect">
            <a:avLst/>
          </a:prstGeom>
          <a:noFill/>
          <a:ln w="0">
            <a:noFill/>
          </a:ln>
        </p:spPr>
        <p:style>
          <a:lnRef idx="0"/>
          <a:fillRef idx="0"/>
          <a:effectRef idx="0"/>
          <a:fontRef idx="minor"/>
        </p:style>
        <p:txBody>
          <a:bodyPr lIns="90000" rIns="90000" tIns="45000" bIns="45000" anchor="t">
            <a:spAutoFit/>
          </a:bodyPr>
          <a:p>
            <a:pPr defTabSz="457200">
              <a:lnSpc>
                <a:spcPct val="100000"/>
              </a:lnSpc>
            </a:pPr>
            <a:r>
              <a:rPr b="0" lang="de-DE" sz="1400" spc="-1" strike="noStrike">
                <a:solidFill>
                  <a:schemeClr val="lt1"/>
                </a:solidFill>
                <a:latin typeface="Arial"/>
                <a:ea typeface="Arial"/>
              </a:rPr>
              <a:t>Computing</a:t>
            </a:r>
            <a:endParaRPr b="0" lang="en-US" sz="1400" spc="-1" strike="noStrike">
              <a:solidFill>
                <a:srgbClr val="ffffff"/>
              </a:solidFill>
              <a:latin typeface="Calibri"/>
            </a:endParaRPr>
          </a:p>
        </p:txBody>
      </p:sp>
      <p:sp>
        <p:nvSpPr>
          <p:cNvPr id="320" name="Textfeld 52"/>
          <p:cNvSpPr/>
          <p:nvPr/>
        </p:nvSpPr>
        <p:spPr>
          <a:xfrm>
            <a:off x="9990720" y="3213000"/>
            <a:ext cx="1986120" cy="516600"/>
          </a:xfrm>
          <a:prstGeom prst="rect">
            <a:avLst/>
          </a:prstGeom>
          <a:solidFill>
            <a:schemeClr val="accent1">
              <a:lumMod val="20000"/>
              <a:lumOff val="80000"/>
            </a:schemeClr>
          </a:solidFill>
          <a:ln cap="rnd" w="38100">
            <a:solidFill>
              <a:srgbClr val="009fdf"/>
            </a:solidFill>
            <a:round/>
          </a:ln>
        </p:spPr>
        <p:style>
          <a:lnRef idx="0"/>
          <a:fillRef idx="0"/>
          <a:effectRef idx="0"/>
          <a:fontRef idx="minor"/>
        </p:style>
        <p:txBody>
          <a:bodyPr lIns="90000" rIns="90000" tIns="45000" bIns="45000" anchor="t">
            <a:spAutoFit/>
          </a:bodyPr>
          <a:p>
            <a:pPr defTabSz="457200">
              <a:lnSpc>
                <a:spcPct val="100000"/>
              </a:lnSpc>
            </a:pPr>
            <a:r>
              <a:rPr b="0" lang="en-GB" sz="1400" spc="-1" strike="noStrike">
                <a:solidFill>
                  <a:schemeClr val="dk1"/>
                </a:solidFill>
                <a:latin typeface="Arial"/>
                <a:ea typeface="Arial"/>
              </a:rPr>
              <a:t>How do we build compact accelerators?</a:t>
            </a:r>
            <a:endParaRPr b="0" lang="en-US" sz="1400" spc="-1" strike="noStrike">
              <a:solidFill>
                <a:srgbClr val="000000"/>
              </a:solidFill>
              <a:latin typeface="Calibri"/>
            </a:endParaRPr>
          </a:p>
        </p:txBody>
      </p:sp>
      <p:sp>
        <p:nvSpPr>
          <p:cNvPr id="321" name="Textfeld 54"/>
          <p:cNvSpPr/>
          <p:nvPr/>
        </p:nvSpPr>
        <p:spPr>
          <a:xfrm>
            <a:off x="8318520" y="6218280"/>
            <a:ext cx="2868840" cy="516600"/>
          </a:xfrm>
          <a:prstGeom prst="rect">
            <a:avLst/>
          </a:prstGeom>
          <a:solidFill>
            <a:schemeClr val="accent1">
              <a:lumMod val="20000"/>
              <a:lumOff val="80000"/>
            </a:schemeClr>
          </a:solidFill>
          <a:ln cap="rnd" w="38100">
            <a:solidFill>
              <a:srgbClr val="009fdf"/>
            </a:solidFill>
            <a:round/>
          </a:ln>
        </p:spPr>
        <p:style>
          <a:lnRef idx="0"/>
          <a:fillRef idx="0"/>
          <a:effectRef idx="0"/>
          <a:fontRef idx="minor"/>
        </p:style>
        <p:txBody>
          <a:bodyPr lIns="90000" rIns="90000" tIns="45000" bIns="45000" anchor="t">
            <a:spAutoFit/>
          </a:bodyPr>
          <a:p>
            <a:pPr defTabSz="457200">
              <a:lnSpc>
                <a:spcPct val="100000"/>
              </a:lnSpc>
            </a:pPr>
            <a:r>
              <a:rPr b="0" lang="en-GB" sz="1400" spc="-1" strike="noStrike">
                <a:solidFill>
                  <a:schemeClr val="dk1"/>
                </a:solidFill>
                <a:latin typeface="Arial"/>
                <a:ea typeface="Arial"/>
              </a:rPr>
              <a:t>How can we meet the data challenge in today’s experiments?</a:t>
            </a:r>
            <a:endParaRPr b="0" lang="en-US" sz="1400" spc="-1" strike="noStrike">
              <a:solidFill>
                <a:srgbClr val="000000"/>
              </a:solidFill>
              <a:latin typeface="Calibri"/>
            </a:endParaRPr>
          </a:p>
        </p:txBody>
      </p:sp>
      <p:sp>
        <p:nvSpPr>
          <p:cNvPr id="322" name="AutoShape 2"/>
          <p:cNvSpPr/>
          <p:nvPr/>
        </p:nvSpPr>
        <p:spPr>
          <a:xfrm>
            <a:off x="155520" y="-144360"/>
            <a:ext cx="304560" cy="304560"/>
          </a:xfrm>
          <a:prstGeom prst="rect">
            <a:avLst/>
          </a:prstGeom>
          <a:noFill/>
          <a:ln w="0">
            <a:noFill/>
          </a:ln>
        </p:spPr>
        <p:style>
          <a:lnRef idx="0"/>
          <a:fillRef idx="0"/>
          <a:effectRef idx="0"/>
          <a:fontRef idx="minor"/>
        </p:style>
        <p:txBody>
          <a:bodyPr numCol="1" spcCol="0" anchor="t">
            <a:noAutofit/>
          </a:bodyPr>
          <a:p>
            <a:pPr defTabSz="457200">
              <a:lnSpc>
                <a:spcPct val="100000"/>
              </a:lnSpc>
            </a:pPr>
            <a:endParaRPr b="0" lang="en-GB" sz="1900" spc="-1" strike="noStrike">
              <a:solidFill>
                <a:schemeClr val="dk1"/>
              </a:solidFill>
              <a:latin typeface="Arial"/>
              <a:ea typeface="Arial"/>
            </a:endParaRPr>
          </a:p>
        </p:txBody>
      </p:sp>
      <p:sp>
        <p:nvSpPr>
          <p:cNvPr id="323" name="Picture 3"/>
          <p:cNvSpPr/>
          <p:nvPr/>
        </p:nvSpPr>
        <p:spPr>
          <a:xfrm>
            <a:off x="9007200" y="4511160"/>
            <a:ext cx="1352520" cy="1757880"/>
          </a:xfrm>
          <a:prstGeom prst="ellipse">
            <a:avLst/>
          </a:prstGeom>
          <a:blipFill rotWithShape="0">
            <a:blip r:embed="rId9"/>
            <a:srcRect/>
            <a:stretch/>
          </a:blipFill>
          <a:ln w="0">
            <a:noFill/>
          </a:ln>
          <a:effectLst>
            <a:softEdge rad="112680"/>
          </a:effectLst>
        </p:spPr>
        <p:style>
          <a:lnRef idx="0"/>
          <a:fillRef idx="0"/>
          <a:effectRef idx="0"/>
          <a:fontRef idx="minor"/>
        </p:style>
        <p:txBody>
          <a:bodyPr lIns="90000" rIns="90000" tIns="45000" bIns="45000" anchor="t">
            <a:noAutofit/>
          </a:bodyPr>
          <a:p>
            <a:endParaRPr b="0" lang="en-US" sz="1800" spc="-1" strike="noStrike">
              <a:solidFill>
                <a:srgbClr val="000000"/>
              </a:solidFill>
              <a:latin typeface="Calibri"/>
            </a:endParaRPr>
          </a:p>
        </p:txBody>
      </p:sp>
      <p:sp>
        <p:nvSpPr>
          <p:cNvPr id="324" name="Picture 3"/>
          <p:cNvSpPr/>
          <p:nvPr/>
        </p:nvSpPr>
        <p:spPr>
          <a:xfrm>
            <a:off x="7628400" y="4212360"/>
            <a:ext cx="1889280" cy="1265760"/>
          </a:xfrm>
          <a:prstGeom prst="ellipse">
            <a:avLst/>
          </a:prstGeom>
          <a:blipFill rotWithShape="0">
            <a:blip r:embed="rId10"/>
            <a:srcRect/>
            <a:stretch/>
          </a:blipFill>
          <a:ln w="0">
            <a:noFill/>
          </a:ln>
          <a:effectLst>
            <a:softEdge rad="112680"/>
          </a:effectLst>
        </p:spPr>
        <p:style>
          <a:lnRef idx="0"/>
          <a:fillRef idx="0"/>
          <a:effectRef idx="0"/>
          <a:fontRef idx="minor"/>
        </p:style>
        <p:txBody>
          <a:bodyPr lIns="90000" rIns="90000" tIns="45000" bIns="45000" anchor="t">
            <a:noAutofit/>
          </a:bodyPr>
          <a:p>
            <a:endParaRPr b="0" lang="en-US" sz="1800" spc="-1" strike="noStrike">
              <a:solidFill>
                <a:srgbClr val="000000"/>
              </a:solidFill>
              <a:latin typeface="Calibri"/>
            </a:endParaRPr>
          </a:p>
        </p:txBody>
      </p:sp>
      <p:sp>
        <p:nvSpPr>
          <p:cNvPr id="325" name="Textfeld 56"/>
          <p:cNvSpPr/>
          <p:nvPr/>
        </p:nvSpPr>
        <p:spPr>
          <a:xfrm>
            <a:off x="5328360" y="5694840"/>
            <a:ext cx="2491920" cy="516600"/>
          </a:xfrm>
          <a:prstGeom prst="rect">
            <a:avLst/>
          </a:prstGeom>
          <a:solidFill>
            <a:schemeClr val="accent1">
              <a:lumMod val="20000"/>
              <a:lumOff val="80000"/>
            </a:schemeClr>
          </a:solidFill>
          <a:ln cap="rnd" w="38100">
            <a:solidFill>
              <a:srgbClr val="009fdf"/>
            </a:solidFill>
            <a:round/>
          </a:ln>
        </p:spPr>
        <p:style>
          <a:lnRef idx="0"/>
          <a:fillRef idx="0"/>
          <a:effectRef idx="0"/>
          <a:fontRef idx="minor"/>
        </p:style>
        <p:txBody>
          <a:bodyPr lIns="90000" rIns="90000" tIns="45000" bIns="45000" anchor="t">
            <a:spAutoFit/>
          </a:bodyPr>
          <a:p>
            <a:pPr defTabSz="457200">
              <a:lnSpc>
                <a:spcPct val="100000"/>
              </a:lnSpc>
            </a:pPr>
            <a:r>
              <a:rPr b="0" lang="en-GB" sz="1400" spc="-1" strike="noStrike">
                <a:solidFill>
                  <a:schemeClr val="dk1"/>
                </a:solidFill>
                <a:latin typeface="Arial"/>
                <a:ea typeface="Arial"/>
              </a:rPr>
              <a:t>How do we take pictures with a rate of millions/second?</a:t>
            </a:r>
            <a:endParaRPr b="0" lang="en-US" sz="1400" spc="-1" strike="noStrike">
              <a:solidFill>
                <a:srgbClr val="000000"/>
              </a:solidFill>
              <a:latin typeface="Calibri"/>
            </a:endParaRPr>
          </a:p>
        </p:txBody>
      </p:sp>
      <p:sp>
        <p:nvSpPr>
          <p:cNvPr id="326" name="Content Placeholder 2"/>
          <p:cNvSpPr/>
          <p:nvPr/>
        </p:nvSpPr>
        <p:spPr>
          <a:xfrm>
            <a:off x="383400" y="881640"/>
            <a:ext cx="4992480" cy="1209960"/>
          </a:xfrm>
          <a:prstGeom prst="rect">
            <a:avLst/>
          </a:prstGeom>
          <a:noFill/>
          <a:ln w="0">
            <a:noFill/>
          </a:ln>
        </p:spPr>
        <p:style>
          <a:lnRef idx="0"/>
          <a:fillRef idx="0"/>
          <a:effectRef idx="0"/>
          <a:fontRef idx="minor"/>
        </p:style>
        <p:txBody>
          <a:bodyPr lIns="90000" rIns="90000" tIns="45000" bIns="45000" anchor="t">
            <a:noAutofit/>
          </a:bodyPr>
          <a:p>
            <a:pPr defTabSz="914400">
              <a:lnSpc>
                <a:spcPct val="110000"/>
              </a:lnSpc>
              <a:spcAft>
                <a:spcPts val="1199"/>
              </a:spcAft>
              <a:tabLst>
                <a:tab algn="l" pos="0"/>
              </a:tabLst>
            </a:pPr>
            <a:r>
              <a:rPr b="1" lang="en-US" sz="2000" spc="-1" strike="noStrike">
                <a:solidFill>
                  <a:schemeClr val="accent2"/>
                </a:solidFill>
                <a:latin typeface="DesySans Office"/>
                <a:ea typeface="Arial"/>
              </a:rPr>
              <a:t>Mission: Turning science data into knowledge on structure and dynamics of matter at all scales</a:t>
            </a:r>
            <a:endParaRPr b="0" lang="en-US" sz="2000" spc="-1" strike="noStrike">
              <a:solidFill>
                <a:srgbClr val="ffffff"/>
              </a:solidFill>
              <a:latin typeface="Calibri"/>
            </a:endParaRPr>
          </a:p>
        </p:txBody>
      </p:sp>
    </p:spTree>
  </p:cSld>
  <mc:AlternateContent>
    <mc:Choice Requires="p14">
      <p:transition spd="slow" p14:dur="2000"/>
    </mc:Choice>
    <mc:Fallback>
      <p:transition spd="slow"/>
    </mc:Fallback>
  </mc:AlternateContent>
  <p:timing>
    <p:tnLst>
      <p:par>
        <p:cTn id="1" dur="indefinite" restart="never" nodeType="tmRoot">
          <p:childTnLst>
            <p:seq>
              <p:cTn id="2" dur="indefinite" nodeType="mainSeq">
                <p:childTnLst>
                  <p:par>
                    <p:cTn id="3" fill="hold">
                      <p:stCondLst>
                        <p:cond delay="indefinite"/>
                      </p:stCondLst>
                      <p:childTnLst>
                        <p:par>
                          <p:cTn id="4" fill="hold">
                            <p:stCondLst>
                              <p:cond delay="0"/>
                            </p:stCondLst>
                            <p:childTnLst>
                              <p:par>
                                <p:cTn id="5" nodeType="clickEffect" fill="hold" presetClass="entr" presetID="1">
                                  <p:stCondLst>
                                    <p:cond delay="0"/>
                                  </p:stCondLst>
                                  <p:childTnLst>
                                    <p:set>
                                      <p:cBhvr>
                                        <p:cTn id="6" dur="1" fill="hold">
                                          <p:stCondLst>
                                            <p:cond delay="0"/>
                                          </p:stCondLst>
                                        </p:cTn>
                                        <p:tgtEl>
                                          <p:spTgt spid="311"/>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nodeType="clickEffect" fill="hold" presetClass="entr" presetID="1">
                                  <p:stCondLst>
                                    <p:cond delay="0"/>
                                  </p:stCondLst>
                                  <p:childTnLst>
                                    <p:set>
                                      <p:cBhvr>
                                        <p:cTn id="10" dur="1" fill="hold">
                                          <p:stCondLst>
                                            <p:cond delay="0"/>
                                          </p:stCondLst>
                                        </p:cTn>
                                        <p:tgtEl>
                                          <p:spTgt spid="316"/>
                                        </p:tgtEl>
                                        <p:attrNameLst>
                                          <p:attrName>style.visibility</p:attrName>
                                        </p:attrNameLst>
                                      </p:cBhvr>
                                      <p:to>
                                        <p:strVal val="visible"/>
                                      </p:to>
                                    </p:set>
                                  </p:childTnLst>
                                </p:cTn>
                              </p:par>
                              <p:par>
                                <p:cTn id="11" nodeType="withEffect" fill="hold" presetClass="entr" presetID="1">
                                  <p:stCondLst>
                                    <p:cond delay="0"/>
                                  </p:stCondLst>
                                  <p:childTnLst>
                                    <p:set>
                                      <p:cBhvr>
                                        <p:cTn id="12" dur="1" fill="hold">
                                          <p:stCondLst>
                                            <p:cond delay="0"/>
                                          </p:stCondLst>
                                        </p:cTn>
                                        <p:tgtEl>
                                          <p:spTgt spid="280"/>
                                        </p:tgtEl>
                                        <p:attrNameLst>
                                          <p:attrName>style.visibility</p:attrName>
                                        </p:attrNameLst>
                                      </p:cBhvr>
                                      <p:to>
                                        <p:strVal val="visible"/>
                                      </p:to>
                                    </p:set>
                                  </p:childTnLst>
                                </p:cTn>
                              </p:par>
                              <p:par>
                                <p:cTn id="13" nodeType="withEffect" fill="hold" presetClass="entr" presetID="1">
                                  <p:stCondLst>
                                    <p:cond delay="0"/>
                                  </p:stCondLst>
                                  <p:childTnLst>
                                    <p:set>
                                      <p:cBhvr>
                                        <p:cTn id="14" dur="1" fill="hold">
                                          <p:stCondLst>
                                            <p:cond delay="0"/>
                                          </p:stCondLst>
                                        </p:cTn>
                                        <p:tgtEl>
                                          <p:spTgt spid="324"/>
                                        </p:tgtEl>
                                        <p:attrNameLst>
                                          <p:attrName>style.visibility</p:attrName>
                                        </p:attrNameLst>
                                      </p:cBhvr>
                                      <p:to>
                                        <p:strVal val="visible"/>
                                      </p:to>
                                    </p:set>
                                  </p:childTnLst>
                                </p:cTn>
                              </p:par>
                              <p:par>
                                <p:cTn id="15" nodeType="withEffect" fill="hold" presetClass="entr" presetID="1">
                                  <p:stCondLst>
                                    <p:cond delay="0"/>
                                  </p:stCondLst>
                                  <p:childTnLst>
                                    <p:set>
                                      <p:cBhvr>
                                        <p:cTn id="16" dur="1" fill="hold">
                                          <p:stCondLst>
                                            <p:cond delay="0"/>
                                          </p:stCondLst>
                                        </p:cTn>
                                        <p:tgtEl>
                                          <p:spTgt spid="323"/>
                                        </p:tgtEl>
                                        <p:attrNameLst>
                                          <p:attrName>style.visibility</p:attrName>
                                        </p:attrNameLst>
                                      </p:cBhvr>
                                      <p:to>
                                        <p:strVal val="visible"/>
                                      </p:to>
                                    </p:set>
                                  </p:childTnLst>
                                </p:cTn>
                              </p:par>
                              <p:par>
                                <p:cTn id="17" nodeType="withEffect" fill="hold" presetClass="entr" presetID="1">
                                  <p:stCondLst>
                                    <p:cond delay="0"/>
                                  </p:stCondLst>
                                  <p:childTnLst>
                                    <p:set>
                                      <p:cBhvr>
                                        <p:cTn id="18" dur="1" fill="hold">
                                          <p:stCondLst>
                                            <p:cond delay="0"/>
                                          </p:stCondLst>
                                        </p:cTn>
                                        <p:tgtEl>
                                          <p:spTgt spid="317"/>
                                        </p:tgtEl>
                                        <p:attrNameLst>
                                          <p:attrName>style.visibility</p:attrName>
                                        </p:attrNameLst>
                                      </p:cBhvr>
                                      <p:to>
                                        <p:strVal val="visible"/>
                                      </p:to>
                                    </p:set>
                                  </p:childTnLst>
                                </p:cTn>
                              </p:par>
                              <p:par>
                                <p:cTn id="19" nodeType="withEffect" fill="hold" presetClass="entr" presetID="1">
                                  <p:stCondLst>
                                    <p:cond delay="0"/>
                                  </p:stCondLst>
                                  <p:childTnLst>
                                    <p:set>
                                      <p:cBhvr>
                                        <p:cTn id="20" dur="1" fill="hold">
                                          <p:stCondLst>
                                            <p:cond delay="0"/>
                                          </p:stCondLst>
                                        </p:cTn>
                                        <p:tgtEl>
                                          <p:spTgt spid="319"/>
                                        </p:tgtEl>
                                        <p:attrNameLst>
                                          <p:attrName>style.visibility</p:attrName>
                                        </p:attrNameLst>
                                      </p:cBhvr>
                                      <p:to>
                                        <p:strVal val="visible"/>
                                      </p:to>
                                    </p:set>
                                  </p:childTnLst>
                                </p:cTn>
                              </p:par>
                              <p:par>
                                <p:cTn id="21" nodeType="withEffect" fill="hold" presetClass="entr" presetID="1">
                                  <p:stCondLst>
                                    <p:cond delay="0"/>
                                  </p:stCondLst>
                                  <p:childTnLst>
                                    <p:set>
                                      <p:cBhvr>
                                        <p:cTn id="22" dur="1" fill="hold">
                                          <p:stCondLst>
                                            <p:cond delay="0"/>
                                          </p:stCondLst>
                                        </p:cTn>
                                        <p:tgtEl>
                                          <p:spTgt spid="318"/>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nodeType="clickEffect" fill="hold" presetClass="entr" presetID="1">
                                  <p:stCondLst>
                                    <p:cond delay="0"/>
                                  </p:stCondLst>
                                  <p:childTnLst>
                                    <p:set>
                                      <p:cBhvr>
                                        <p:cTn id="26" dur="1" fill="hold">
                                          <p:stCondLst>
                                            <p:cond delay="0"/>
                                          </p:stCondLst>
                                        </p:cTn>
                                        <p:tgtEl>
                                          <p:spTgt spid="320"/>
                                        </p:tgtEl>
                                        <p:attrNameLst>
                                          <p:attrName>style.visibility</p:attrName>
                                        </p:attrNameLst>
                                      </p:cBhvr>
                                      <p:to>
                                        <p:strVal val="visible"/>
                                      </p:to>
                                    </p:set>
                                  </p:childTnLst>
                                </p:cTn>
                              </p:par>
                              <p:par>
                                <p:cTn id="27" nodeType="withEffect" fill="hold" presetClass="entr" presetID="1">
                                  <p:stCondLst>
                                    <p:cond delay="0"/>
                                  </p:stCondLst>
                                  <p:childTnLst>
                                    <p:set>
                                      <p:cBhvr>
                                        <p:cTn id="28" dur="1" fill="hold">
                                          <p:stCondLst>
                                            <p:cond delay="0"/>
                                          </p:stCondLst>
                                        </p:cTn>
                                        <p:tgtEl>
                                          <p:spTgt spid="321"/>
                                        </p:tgtEl>
                                        <p:attrNameLst>
                                          <p:attrName>style.visibility</p:attrName>
                                        </p:attrNameLst>
                                      </p:cBhvr>
                                      <p:to>
                                        <p:strVal val="visible"/>
                                      </p:to>
                                    </p:set>
                                  </p:childTnLst>
                                </p:cTn>
                              </p:par>
                              <p:par>
                                <p:cTn id="29" nodeType="withEffect" fill="hold" presetClass="entr" presetID="1">
                                  <p:stCondLst>
                                    <p:cond delay="0"/>
                                  </p:stCondLst>
                                  <p:childTnLst>
                                    <p:set>
                                      <p:cBhvr>
                                        <p:cTn id="30" dur="1" fill="hold">
                                          <p:stCondLst>
                                            <p:cond delay="0"/>
                                          </p:stCondLst>
                                        </p:cTn>
                                        <p:tgtEl>
                                          <p:spTgt spid="325"/>
                                        </p:tgtEl>
                                        <p:attrNameLst>
                                          <p:attrName>style.visibility</p:attrName>
                                        </p:attrNameLst>
                                      </p:cBhvr>
                                      <p:to>
                                        <p:strVal val="visible"/>
                                      </p:to>
                                    </p:set>
                                  </p:childTnLst>
                                </p:cTn>
                              </p:par>
                            </p:childTnLst>
                          </p:cTn>
                        </p:par>
                      </p:childTnLst>
                    </p:cTn>
                  </p:par>
                </p:childTnLst>
              </p:cTn>
              <p:prevCondLst>
                <p:cond evt="onPrev">
                  <p:tgtEl>
                    <p:sldTgt/>
                  </p:tgtEl>
                </p:cond>
              </p:prevCondLst>
              <p:nextCondLst>
                <p:cond evt="onNext">
                  <p:tgtEl>
                    <p:sldTgt/>
                  </p:tgtEl>
                </p:cond>
              </p:nextCondLst>
            </p:seq>
          </p:childTnLst>
        </p:cTn>
      </p:par>
    </p:tnLst>
  </p:timing>
</p:sld>
</file>

<file path=ppt/slides/slide4.xml><?xml version="1.0" encoding="utf-8"?>
<p:sld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p:cSld>
    <p:bg>
      <p:bgPr>
        <a:solidFill>
          <a:srgbClr val="002060"/>
        </a:solidFill>
      </p:bgPr>
    </p:bg>
    <p:spTree>
      <p:nvGrpSpPr>
        <p:cNvPr id="1" name=""/>
        <p:cNvGrpSpPr/>
        <p:nvPr/>
      </p:nvGrpSpPr>
      <p:grpSpPr>
        <a:xfrm>
          <a:off x="0" y="0"/>
          <a:ext cx="0" cy="0"/>
          <a:chOff x="0" y="0"/>
          <a:chExt cx="0" cy="0"/>
        </a:xfrm>
      </p:grpSpPr>
      <p:pic>
        <p:nvPicPr>
          <p:cNvPr id="327" name="Bildplatzhalter 31" descr=""/>
          <p:cNvPicPr/>
          <p:nvPr/>
        </p:nvPicPr>
        <p:blipFill>
          <a:blip r:embed="rId1"/>
          <a:stretch/>
        </p:blipFill>
        <p:spPr>
          <a:xfrm>
            <a:off x="6096240" y="3922920"/>
            <a:ext cx="5652360" cy="2500560"/>
          </a:xfrm>
          <a:prstGeom prst="rect">
            <a:avLst/>
          </a:prstGeom>
          <a:ln w="127000">
            <a:noFill/>
          </a:ln>
        </p:spPr>
      </p:pic>
      <p:pic>
        <p:nvPicPr>
          <p:cNvPr id="328" name="Bildplatzhalter 35" descr=""/>
          <p:cNvPicPr/>
          <p:nvPr/>
        </p:nvPicPr>
        <p:blipFill>
          <a:blip r:embed="rId2"/>
          <a:stretch/>
        </p:blipFill>
        <p:spPr>
          <a:xfrm>
            <a:off x="443520" y="3922920"/>
            <a:ext cx="5652360" cy="2500560"/>
          </a:xfrm>
          <a:prstGeom prst="rect">
            <a:avLst/>
          </a:prstGeom>
          <a:ln w="127000">
            <a:noFill/>
          </a:ln>
        </p:spPr>
      </p:pic>
      <p:pic>
        <p:nvPicPr>
          <p:cNvPr id="329" name="Bildplatzhalter 27" descr=""/>
          <p:cNvPicPr/>
          <p:nvPr/>
        </p:nvPicPr>
        <p:blipFill>
          <a:blip r:embed="rId3"/>
          <a:stretch/>
        </p:blipFill>
        <p:spPr>
          <a:xfrm>
            <a:off x="6096240" y="1422000"/>
            <a:ext cx="5652360" cy="2500560"/>
          </a:xfrm>
          <a:prstGeom prst="rect">
            <a:avLst/>
          </a:prstGeom>
          <a:ln w="127000">
            <a:noFill/>
          </a:ln>
        </p:spPr>
      </p:pic>
      <p:pic>
        <p:nvPicPr>
          <p:cNvPr id="330" name="Bildplatzhalter 21" descr=""/>
          <p:cNvPicPr/>
          <p:nvPr/>
        </p:nvPicPr>
        <p:blipFill>
          <a:blip r:embed="rId4"/>
          <a:stretch/>
        </p:blipFill>
        <p:spPr>
          <a:xfrm>
            <a:off x="443520" y="1422000"/>
            <a:ext cx="5652360" cy="2500560"/>
          </a:xfrm>
          <a:prstGeom prst="rect">
            <a:avLst/>
          </a:prstGeom>
          <a:ln w="127000">
            <a:noFill/>
          </a:ln>
        </p:spPr>
      </p:pic>
      <p:sp>
        <p:nvSpPr>
          <p:cNvPr id="331" name="Freihandform: Form 28"/>
          <p:cNvSpPr/>
          <p:nvPr/>
        </p:nvSpPr>
        <p:spPr>
          <a:xfrm>
            <a:off x="4575240" y="2401920"/>
            <a:ext cx="3041280" cy="3041280"/>
          </a:xfrm>
          <a:custGeom>
            <a:avLst/>
            <a:gdLst>
              <a:gd name="textAreaLeft" fmla="*/ 0 w 3041280"/>
              <a:gd name="textAreaRight" fmla="*/ 3041640 w 3041280"/>
              <a:gd name="textAreaTop" fmla="*/ 0 h 3041280"/>
              <a:gd name="textAreaBottom" fmla="*/ 3041640 h 3041280"/>
            </a:gdLst>
            <a:ahLst/>
            <a:rect l="textAreaLeft" t="textAreaTop" r="textAreaRight" b="textAreaBottom"/>
            <a:pathLst>
              <a:path w="3041549" h="3041550">
                <a:moveTo>
                  <a:pt x="1565774" y="1565775"/>
                </a:moveTo>
                <a:lnTo>
                  <a:pt x="3041549" y="1565775"/>
                </a:lnTo>
                <a:lnTo>
                  <a:pt x="3035958" y="1676498"/>
                </a:lnTo>
                <a:cubicBezTo>
                  <a:pt x="2963162" y="2393304"/>
                  <a:pt x="2393303" y="2963163"/>
                  <a:pt x="1676497" y="3035959"/>
                </a:cubicBezTo>
                <a:lnTo>
                  <a:pt x="1565774" y="3041550"/>
                </a:lnTo>
                <a:close/>
                <a:moveTo>
                  <a:pt x="0" y="1565775"/>
                </a:moveTo>
                <a:lnTo>
                  <a:pt x="1475774" y="1565775"/>
                </a:lnTo>
                <a:lnTo>
                  <a:pt x="1475774" y="3041550"/>
                </a:lnTo>
                <a:lnTo>
                  <a:pt x="1365051" y="3035959"/>
                </a:lnTo>
                <a:cubicBezTo>
                  <a:pt x="648246" y="2963163"/>
                  <a:pt x="78386" y="2393304"/>
                  <a:pt x="5591" y="1676498"/>
                </a:cubicBezTo>
                <a:close/>
                <a:moveTo>
                  <a:pt x="1565774" y="1"/>
                </a:moveTo>
                <a:lnTo>
                  <a:pt x="1676497" y="5592"/>
                </a:lnTo>
                <a:cubicBezTo>
                  <a:pt x="2393303" y="78387"/>
                  <a:pt x="2963162" y="648247"/>
                  <a:pt x="3035958" y="1365052"/>
                </a:cubicBezTo>
                <a:lnTo>
                  <a:pt x="3041549" y="1475775"/>
                </a:lnTo>
                <a:lnTo>
                  <a:pt x="1565774" y="1475775"/>
                </a:lnTo>
                <a:close/>
                <a:moveTo>
                  <a:pt x="1475774" y="0"/>
                </a:moveTo>
                <a:lnTo>
                  <a:pt x="1475774" y="1475775"/>
                </a:lnTo>
                <a:lnTo>
                  <a:pt x="0" y="1475775"/>
                </a:lnTo>
                <a:lnTo>
                  <a:pt x="5591" y="1365052"/>
                </a:lnTo>
                <a:cubicBezTo>
                  <a:pt x="78386" y="648247"/>
                  <a:pt x="648246" y="78387"/>
                  <a:pt x="1365051" y="5592"/>
                </a:cubicBezTo>
                <a:close/>
              </a:path>
            </a:pathLst>
          </a:custGeom>
          <a:solidFill>
            <a:schemeClr val="bg1"/>
          </a:solidFill>
          <a:ln w="9525">
            <a:noFill/>
          </a:ln>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defTabSz="457200">
              <a:lnSpc>
                <a:spcPct val="100000"/>
              </a:lnSpc>
            </a:pPr>
            <a:endParaRPr b="0" lang="en-US" sz="1600" spc="-1" strike="noStrike">
              <a:solidFill>
                <a:schemeClr val="dk1"/>
              </a:solidFill>
              <a:latin typeface="Arial"/>
              <a:ea typeface="Arial"/>
            </a:endParaRPr>
          </a:p>
        </p:txBody>
      </p:sp>
      <p:sp>
        <p:nvSpPr>
          <p:cNvPr id="332" name="PlaceHolder 1"/>
          <p:cNvSpPr>
            <a:spLocks noGrp="1"/>
          </p:cNvSpPr>
          <p:nvPr>
            <p:ph type="title"/>
          </p:nvPr>
        </p:nvSpPr>
        <p:spPr>
          <a:xfrm>
            <a:off x="442800" y="385560"/>
            <a:ext cx="11305800" cy="450720"/>
          </a:xfrm>
          <a:prstGeom prst="rect">
            <a:avLst/>
          </a:prstGeom>
          <a:noFill/>
          <a:ln w="0">
            <a:noFill/>
          </a:ln>
        </p:spPr>
        <p:txBody>
          <a:bodyPr lIns="0" rIns="0" tIns="0" bIns="0" anchor="t">
            <a:noAutofit/>
          </a:bodyPr>
          <a:p>
            <a:pPr indent="0" defTabSz="914400">
              <a:lnSpc>
                <a:spcPct val="90000"/>
              </a:lnSpc>
              <a:buNone/>
            </a:pPr>
            <a:r>
              <a:rPr b="1" lang="en-US" sz="3000" spc="-1" strike="noStrike">
                <a:solidFill>
                  <a:schemeClr val="accent1"/>
                </a:solidFill>
                <a:latin typeface="Arial"/>
                <a:ea typeface="Arial"/>
              </a:rPr>
              <a:t>DESY – Areas of Research</a:t>
            </a:r>
            <a:endParaRPr b="0" lang="en-US" sz="3000" spc="-1" strike="noStrike">
              <a:solidFill>
                <a:schemeClr val="dk1"/>
              </a:solidFill>
              <a:latin typeface="Arial"/>
            </a:endParaRPr>
          </a:p>
        </p:txBody>
      </p:sp>
      <p:sp>
        <p:nvSpPr>
          <p:cNvPr id="333" name="PlaceHolder 2"/>
          <p:cNvSpPr>
            <a:spLocks noGrp="1"/>
          </p:cNvSpPr>
          <p:nvPr>
            <p:ph type="ftr" idx="38"/>
          </p:nvPr>
        </p:nvSpPr>
        <p:spPr>
          <a:xfrm>
            <a:off x="791640" y="6580800"/>
            <a:ext cx="9948600" cy="186480"/>
          </a:xfrm>
          <a:prstGeom prst="rect">
            <a:avLst/>
          </a:prstGeom>
          <a:noFill/>
          <a:ln w="0">
            <a:noFill/>
          </a:ln>
        </p:spPr>
        <p:txBody>
          <a:bodyPr lIns="0" rIns="0" tIns="0" bIns="0" anchor="t">
            <a:noAutofit/>
          </a:bodyPr>
          <a:lstStyle>
            <a:lvl1pPr indent="0" defTabSz="457200">
              <a:lnSpc>
                <a:spcPct val="100000"/>
              </a:lnSpc>
              <a:buNone/>
              <a:defRPr b="0" lang="pt-BR" sz="1100" spc="-1" strike="noStrike">
                <a:solidFill>
                  <a:schemeClr val="lt1"/>
                </a:solidFill>
                <a:latin typeface="Arial"/>
                <a:ea typeface="Arial"/>
              </a:defRPr>
            </a:lvl1pPr>
          </a:lstStyle>
          <a:p>
            <a:pPr indent="0" defTabSz="457200">
              <a:lnSpc>
                <a:spcPct val="100000"/>
              </a:lnSpc>
              <a:buNone/>
            </a:pPr>
            <a:r>
              <a:rPr b="0" lang="pt-BR" sz="1100" spc="-1" strike="noStrike">
                <a:solidFill>
                  <a:schemeClr val="lt1"/>
                </a:solidFill>
                <a:latin typeface="Arial"/>
                <a:ea typeface="Arial"/>
              </a:rPr>
              <a:t>Beate Heinemann, microTCA workshop in Hamburg, 12/2024</a:t>
            </a:r>
            <a:endParaRPr b="0" lang="en-US" sz="1100" spc="-1" strike="noStrike">
              <a:solidFill>
                <a:srgbClr val="ffffff"/>
              </a:solidFill>
              <a:latin typeface="Calibri"/>
            </a:endParaRPr>
          </a:p>
        </p:txBody>
      </p:sp>
      <p:sp>
        <p:nvSpPr>
          <p:cNvPr id="334" name="Ellipse 5"/>
          <p:cNvSpPr/>
          <p:nvPr/>
        </p:nvSpPr>
        <p:spPr>
          <a:xfrm>
            <a:off x="4999680" y="2826720"/>
            <a:ext cx="2192040" cy="2192040"/>
          </a:xfrm>
          <a:prstGeom prst="ellipse">
            <a:avLst/>
          </a:prstGeom>
          <a:solidFill>
            <a:schemeClr val="bg1"/>
          </a:solidFill>
          <a:ln w="9525">
            <a:noFill/>
          </a:ln>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defTabSz="457200">
              <a:lnSpc>
                <a:spcPct val="100000"/>
              </a:lnSpc>
            </a:pPr>
            <a:endParaRPr b="0" lang="de-DE" sz="1600" spc="-1" strike="noStrike">
              <a:solidFill>
                <a:schemeClr val="dk1"/>
              </a:solidFill>
              <a:latin typeface="Arial"/>
              <a:ea typeface="Arial"/>
            </a:endParaRPr>
          </a:p>
        </p:txBody>
      </p:sp>
      <p:pic>
        <p:nvPicPr>
          <p:cNvPr id="335" name="Logo" descr=""/>
          <p:cNvPicPr/>
          <p:nvPr/>
        </p:nvPicPr>
        <p:blipFill>
          <a:blip r:embed="rId5"/>
          <a:stretch/>
        </p:blipFill>
        <p:spPr>
          <a:xfrm>
            <a:off x="5371200" y="3197880"/>
            <a:ext cx="1449000" cy="1449000"/>
          </a:xfrm>
          <a:prstGeom prst="rect">
            <a:avLst/>
          </a:prstGeom>
          <a:ln w="38100">
            <a:solidFill>
              <a:srgbClr val="ffffff"/>
            </a:solidFill>
            <a:round/>
          </a:ln>
        </p:spPr>
      </p:pic>
      <p:sp>
        <p:nvSpPr>
          <p:cNvPr id="336" name="Astro Particle Physics"/>
          <p:cNvSpPr txBox="1"/>
          <p:nvPr/>
        </p:nvSpPr>
        <p:spPr>
          <a:xfrm rot="2700000">
            <a:off x="4408200" y="2234880"/>
            <a:ext cx="3375000" cy="3375000"/>
          </a:xfrm>
          <a:prstGeom prst="rect">
            <a:avLst/>
          </a:prstGeom>
        </p:spPr>
        <p:txBody>
          <a:bodyPr wrap="none" lIns="0" rIns="0" tIns="0" bIns="0" anchor="t" anchorCtr="1">
            <a:prstTxWarp prst="textArchDown">
              <a:avLst>
                <a:gd name="adj" fmla="val 0"/>
              </a:avLst>
            </a:prstTxWarp>
            <a:noAutofit/>
          </a:bodyPr>
          <a:p>
            <a:pPr algn="ctr" defTabSz="457200">
              <a:lnSpc>
                <a:spcPct val="100000"/>
              </a:lnSpc>
            </a:pPr>
            <a:r>
              <a:rPr b="1" lang="en-US" sz="1400" spc="-1" strike="noStrike" cap="all">
                <a:ln w="0">
                  <a:noFill/>
                </a:ln>
                <a:solidFill>
                  <a:schemeClr val="accent1"/>
                </a:solidFill>
                <a:latin typeface="Arial"/>
                <a:ea typeface="Arial"/>
              </a:rPr>
              <a:t>Astro </a:t>
            </a:r>
            <a:br>
              <a:rPr sz="1400"/>
            </a:br>
            <a:r>
              <a:rPr b="1" lang="en-US" sz="1400" spc="-1" strike="noStrike" cap="all">
                <a:ln w="0">
                  <a:noFill/>
                </a:ln>
                <a:solidFill>
                  <a:schemeClr val="accent1"/>
                </a:solidFill>
                <a:latin typeface="Arial"/>
                <a:ea typeface="Arial"/>
              </a:rPr>
              <a:t>Particle Physics</a:t>
            </a:r>
            <a:endParaRPr b="0" lang="en-US" sz="1400" spc="-1" strike="noStrike">
              <a:ln w="0">
                <a:noFill/>
              </a:ln>
              <a:solidFill>
                <a:schemeClr val="accent1"/>
              </a:solidFill>
              <a:latin typeface="Calibri"/>
            </a:endParaRPr>
          </a:p>
        </p:txBody>
      </p:sp>
      <p:sp>
        <p:nvSpPr>
          <p:cNvPr id="337" name="Accelerators"/>
          <p:cNvSpPr txBox="1"/>
          <p:nvPr/>
        </p:nvSpPr>
        <p:spPr>
          <a:xfrm rot="18780000">
            <a:off x="4332960" y="2163600"/>
            <a:ext cx="3554280" cy="3554280"/>
          </a:xfrm>
          <a:prstGeom prst="rect">
            <a:avLst/>
          </a:prstGeom>
        </p:spPr>
        <p:txBody>
          <a:bodyPr wrap="none" lIns="0" rIns="0" tIns="0" bIns="0" anchor="t" anchorCtr="1">
            <a:prstTxWarp prst="textArchDown">
              <a:avLst>
                <a:gd name="adj" fmla="val 0"/>
              </a:avLst>
            </a:prstTxWarp>
            <a:noAutofit/>
          </a:bodyPr>
          <a:p>
            <a:pPr algn="ctr" defTabSz="457200">
              <a:lnSpc>
                <a:spcPct val="100000"/>
              </a:lnSpc>
            </a:pPr>
            <a:r>
              <a:rPr b="1" lang="en-US" sz="1400" spc="-1" strike="noStrike" cap="all">
                <a:ln w="0">
                  <a:noFill/>
                </a:ln>
                <a:solidFill>
                  <a:schemeClr val="accent1"/>
                </a:solidFill>
                <a:latin typeface="Arial"/>
                <a:ea typeface="Arial"/>
              </a:rPr>
              <a:t>Accelerators</a:t>
            </a:r>
            <a:endParaRPr b="0" lang="en-US" sz="1400" spc="-1" strike="noStrike">
              <a:ln w="0">
                <a:noFill/>
              </a:ln>
              <a:solidFill>
                <a:schemeClr val="accent1"/>
              </a:solidFill>
              <a:latin typeface="Calibri"/>
            </a:endParaRPr>
          </a:p>
        </p:txBody>
      </p:sp>
      <p:sp>
        <p:nvSpPr>
          <p:cNvPr id="338" name="Particle Physics"/>
          <p:cNvSpPr txBox="1"/>
          <p:nvPr/>
        </p:nvSpPr>
        <p:spPr>
          <a:xfrm rot="2700000">
            <a:off x="4353480" y="2179800"/>
            <a:ext cx="3484440" cy="3484440"/>
          </a:xfrm>
          <a:prstGeom prst="rect">
            <a:avLst/>
          </a:prstGeom>
        </p:spPr>
        <p:txBody>
          <a:bodyPr wrap="none" lIns="0" rIns="0" tIns="0" bIns="0" anchor="b" anchorCtr="1">
            <a:prstTxWarp prst="textArchUp">
              <a:avLst>
                <a:gd name="adj" fmla="val 10800000"/>
              </a:avLst>
            </a:prstTxWarp>
            <a:noAutofit/>
          </a:bodyPr>
          <a:p>
            <a:pPr algn="ctr" defTabSz="457200">
              <a:lnSpc>
                <a:spcPct val="100000"/>
              </a:lnSpc>
            </a:pPr>
            <a:r>
              <a:rPr b="1" lang="en-US" sz="1400" spc="-1" strike="noStrike" cap="all">
                <a:ln w="0">
                  <a:noFill/>
                </a:ln>
                <a:solidFill>
                  <a:schemeClr val="accent1"/>
                </a:solidFill>
                <a:latin typeface="Arial"/>
                <a:ea typeface="Arial"/>
              </a:rPr>
              <a:t> </a:t>
            </a:r>
            <a:r>
              <a:rPr b="1" lang="en-US" sz="1400" spc="-1" strike="noStrike" cap="all">
                <a:ln w="0">
                  <a:noFill/>
                </a:ln>
                <a:solidFill>
                  <a:schemeClr val="accent1"/>
                </a:solidFill>
                <a:latin typeface="Arial"/>
                <a:ea typeface="Arial"/>
              </a:rPr>
              <a:t>Particle Physics</a:t>
            </a:r>
            <a:endParaRPr b="0" lang="en-US" sz="1400" spc="-1" strike="noStrike">
              <a:ln w="0">
                <a:noFill/>
              </a:ln>
              <a:solidFill>
                <a:schemeClr val="accent1"/>
              </a:solidFill>
              <a:latin typeface="Calibri"/>
            </a:endParaRPr>
          </a:p>
        </p:txBody>
      </p:sp>
      <p:sp>
        <p:nvSpPr>
          <p:cNvPr id="339" name="Photon Science"/>
          <p:cNvSpPr txBox="1"/>
          <p:nvPr/>
        </p:nvSpPr>
        <p:spPr>
          <a:xfrm rot="18900000">
            <a:off x="4353120" y="2180160"/>
            <a:ext cx="3484440" cy="3484440"/>
          </a:xfrm>
          <a:prstGeom prst="rect">
            <a:avLst/>
          </a:prstGeom>
        </p:spPr>
        <p:txBody>
          <a:bodyPr wrap="none" lIns="0" rIns="0" tIns="0" bIns="0" anchor="b" anchorCtr="1">
            <a:prstTxWarp prst="textArchUp">
              <a:avLst>
                <a:gd name="adj" fmla="val 10800000"/>
              </a:avLst>
            </a:prstTxWarp>
            <a:noAutofit/>
          </a:bodyPr>
          <a:p>
            <a:pPr algn="ctr" defTabSz="457200">
              <a:lnSpc>
                <a:spcPct val="100000"/>
              </a:lnSpc>
            </a:pPr>
            <a:r>
              <a:rPr b="1" lang="en-US" sz="1400" spc="-1" strike="noStrike" cap="all">
                <a:ln w="0">
                  <a:noFill/>
                </a:ln>
                <a:solidFill>
                  <a:schemeClr val="accent1"/>
                </a:solidFill>
                <a:latin typeface="Arial"/>
                <a:ea typeface="Arial"/>
              </a:rPr>
              <a:t>Photon Science</a:t>
            </a:r>
            <a:endParaRPr b="0" lang="en-US" sz="1400" spc="-1" strike="noStrike">
              <a:ln w="0">
                <a:noFill/>
              </a:ln>
              <a:solidFill>
                <a:schemeClr val="accent1"/>
              </a:solidFill>
              <a:latin typeface="Calibri"/>
            </a:endParaRPr>
          </a:p>
        </p:txBody>
      </p:sp>
      <p:sp>
        <p:nvSpPr>
          <p:cNvPr id="340" name="PlaceHolder 3"/>
          <p:cNvSpPr>
            <a:spLocks noGrp="1"/>
          </p:cNvSpPr>
          <p:nvPr>
            <p:ph/>
          </p:nvPr>
        </p:nvSpPr>
        <p:spPr>
          <a:xfrm>
            <a:off x="442800" y="911880"/>
            <a:ext cx="11305800" cy="378720"/>
          </a:xfrm>
          <a:prstGeom prst="rect">
            <a:avLst/>
          </a:prstGeom>
          <a:noFill/>
          <a:ln w="0">
            <a:noFill/>
          </a:ln>
        </p:spPr>
        <p:txBody>
          <a:bodyPr lIns="0" rIns="0" tIns="0" bIns="0" anchor="t">
            <a:noAutofit/>
          </a:bodyPr>
          <a:p>
            <a:pPr indent="0">
              <a:lnSpc>
                <a:spcPct val="110000"/>
              </a:lnSpc>
              <a:spcBef>
                <a:spcPts val="1417"/>
              </a:spcBef>
              <a:buNone/>
              <a:tabLst>
                <a:tab algn="l" pos="361800"/>
              </a:tabLst>
            </a:pPr>
            <a:endParaRPr b="0" lang="en-US" sz="1600" spc="-1" strike="noStrike">
              <a:solidFill>
                <a:schemeClr val="accent2"/>
              </a:solidFill>
              <a:latin typeface="Arial"/>
              <a:ea typeface="Arial"/>
            </a:endParaRPr>
          </a:p>
        </p:txBody>
      </p:sp>
    </p:spTree>
  </p:cSld>
  <mc:AlternateContent>
    <mc:Choice Requires="p14">
      <p:transition p14:dur="250">
        <p:fade/>
      </p:transition>
    </mc:Choice>
    <mc:Fallback>
      <p:transition>
        <p:fade/>
      </p:transition>
    </mc:Fallback>
  </mc:AlternateContent>
  <p:timing>
    <p:tnLst>
      <p:par>
        <p:cTn id="31" dur="indefinite" restart="never" nodeType="tmRoot">
          <p:childTnLst>
            <p:seq>
              <p:cTn id="32" dur="indefinite" nodeType="mainSeq">
                <p:childTnLst>
                  <p:par>
                    <p:cTn id="33" fill="hold">
                      <p:stCondLst>
                        <p:cond delay="0"/>
                      </p:stCondLst>
                      <p:childTnLst>
                        <p:par>
                          <p:cTn id="34" fill="hold">
                            <p:stCondLst>
                              <p:cond delay="0"/>
                            </p:stCondLst>
                            <p:childTnLst>
                              <p:par>
                                <p:cTn id="35" nodeType="afterEffect" fill="hold" presetClass="entr" presetID="23" presetSubtype="16">
                                  <p:stCondLst>
                                    <p:cond delay="0"/>
                                  </p:stCondLst>
                                  <p:childTnLst>
                                    <p:set>
                                      <p:cBhvr>
                                        <p:cTn id="36" dur="1" fill="hold">
                                          <p:stCondLst>
                                            <p:cond delay="0"/>
                                          </p:stCondLst>
                                        </p:cTn>
                                        <p:tgtEl>
                                          <p:spTgt spid="331"/>
                                        </p:tgtEl>
                                        <p:attrNameLst>
                                          <p:attrName>style.visibility</p:attrName>
                                        </p:attrNameLst>
                                      </p:cBhvr>
                                      <p:to>
                                        <p:strVal val="visible"/>
                                      </p:to>
                                    </p:set>
                                    <p:anim calcmode="lin" valueType="num">
                                      <p:cBhvr additive="repl">
                                        <p:cTn id="37" dur="500" fill="hold"/>
                                        <p:tgtEl>
                                          <p:spTgt spid="331"/>
                                        </p:tgtEl>
                                        <p:attrNameLst>
                                          <p:attrName>ppt_w</p:attrName>
                                        </p:attrNameLst>
                                      </p:cBhvr>
                                      <p:tavLst>
                                        <p:tav tm="0">
                                          <p:val>
                                            <p:fltVal val="0"/>
                                          </p:val>
                                        </p:tav>
                                        <p:tav tm="100000">
                                          <p:val>
                                            <p:strVal val="#ppt_w"/>
                                          </p:val>
                                        </p:tav>
                                      </p:tavLst>
                                    </p:anim>
                                    <p:anim calcmode="lin" valueType="num">
                                      <p:cBhvr additive="repl">
                                        <p:cTn id="38" dur="500" fill="hold"/>
                                        <p:tgtEl>
                                          <p:spTgt spid="331"/>
                                        </p:tgtEl>
                                        <p:attrNameLst>
                                          <p:attrName>ppt_h</p:attrName>
                                        </p:attrNameLst>
                                      </p:cBhvr>
                                      <p:tavLst>
                                        <p:tav tm="0">
                                          <p:val>
                                            <p:fltVal val="0"/>
                                          </p:val>
                                        </p:tav>
                                        <p:tav tm="100000">
                                          <p:val>
                                            <p:strVal val="#ppt_h"/>
                                          </p:val>
                                        </p:tav>
                                      </p:tavLst>
                                    </p:anim>
                                  </p:childTnLst>
                                </p:cTn>
                              </p:par>
                              <p:par>
                                <p:cTn id="39" nodeType="withEffect" fill="hold" presetClass="entr" presetID="23" presetSubtype="16">
                                  <p:stCondLst>
                                    <p:cond delay="0"/>
                                  </p:stCondLst>
                                  <p:childTnLst>
                                    <p:set>
                                      <p:cBhvr>
                                        <p:cTn id="40" dur="1" fill="hold">
                                          <p:stCondLst>
                                            <p:cond delay="0"/>
                                          </p:stCondLst>
                                        </p:cTn>
                                        <p:tgtEl>
                                          <p:spTgt spid="334"/>
                                        </p:tgtEl>
                                        <p:attrNameLst>
                                          <p:attrName>style.visibility</p:attrName>
                                        </p:attrNameLst>
                                      </p:cBhvr>
                                      <p:to>
                                        <p:strVal val="visible"/>
                                      </p:to>
                                    </p:set>
                                    <p:anim calcmode="lin" valueType="num">
                                      <p:cBhvr additive="repl">
                                        <p:cTn id="41" dur="500" fill="hold"/>
                                        <p:tgtEl>
                                          <p:spTgt spid="334"/>
                                        </p:tgtEl>
                                        <p:attrNameLst>
                                          <p:attrName>ppt_w</p:attrName>
                                        </p:attrNameLst>
                                      </p:cBhvr>
                                      <p:tavLst>
                                        <p:tav tm="0">
                                          <p:val>
                                            <p:fltVal val="0"/>
                                          </p:val>
                                        </p:tav>
                                        <p:tav tm="100000">
                                          <p:val>
                                            <p:strVal val="#ppt_w"/>
                                          </p:val>
                                        </p:tav>
                                      </p:tavLst>
                                    </p:anim>
                                    <p:anim calcmode="lin" valueType="num">
                                      <p:cBhvr additive="repl">
                                        <p:cTn id="42" dur="500" fill="hold"/>
                                        <p:tgtEl>
                                          <p:spTgt spid="334"/>
                                        </p:tgtEl>
                                        <p:attrNameLst>
                                          <p:attrName>ppt_h</p:attrName>
                                        </p:attrNameLst>
                                      </p:cBhvr>
                                      <p:tavLst>
                                        <p:tav tm="0">
                                          <p:val>
                                            <p:fltVal val="0"/>
                                          </p:val>
                                        </p:tav>
                                        <p:tav tm="100000">
                                          <p:val>
                                            <p:strVal val="#ppt_h"/>
                                          </p:val>
                                        </p:tav>
                                      </p:tavLst>
                                    </p:anim>
                                  </p:childTnLst>
                                </p:cTn>
                              </p:par>
                              <p:par>
                                <p:cTn id="43" nodeType="withEffect" fill="hold" presetClass="entr" presetID="23" presetSubtype="16">
                                  <p:stCondLst>
                                    <p:cond delay="0"/>
                                  </p:stCondLst>
                                  <p:childTnLst>
                                    <p:set>
                                      <p:cBhvr>
                                        <p:cTn id="44" dur="1" fill="hold">
                                          <p:stCondLst>
                                            <p:cond delay="0"/>
                                          </p:stCondLst>
                                        </p:cTn>
                                        <p:tgtEl>
                                          <p:spTgt spid="335"/>
                                        </p:tgtEl>
                                        <p:attrNameLst>
                                          <p:attrName>style.visibility</p:attrName>
                                        </p:attrNameLst>
                                      </p:cBhvr>
                                      <p:to>
                                        <p:strVal val="visible"/>
                                      </p:to>
                                    </p:set>
                                    <p:anim calcmode="lin" valueType="num">
                                      <p:cBhvr additive="repl">
                                        <p:cTn id="45" dur="500" fill="hold"/>
                                        <p:tgtEl>
                                          <p:spTgt spid="335"/>
                                        </p:tgtEl>
                                        <p:attrNameLst>
                                          <p:attrName>ppt_w</p:attrName>
                                        </p:attrNameLst>
                                      </p:cBhvr>
                                      <p:tavLst>
                                        <p:tav tm="0">
                                          <p:val>
                                            <p:fltVal val="0"/>
                                          </p:val>
                                        </p:tav>
                                        <p:tav tm="100000">
                                          <p:val>
                                            <p:strVal val="#ppt_w"/>
                                          </p:val>
                                        </p:tav>
                                      </p:tavLst>
                                    </p:anim>
                                    <p:anim calcmode="lin" valueType="num">
                                      <p:cBhvr additive="repl">
                                        <p:cTn id="46" dur="500" fill="hold"/>
                                        <p:tgtEl>
                                          <p:spTgt spid="335"/>
                                        </p:tgtEl>
                                        <p:attrNameLst>
                                          <p:attrName>ppt_h</p:attrName>
                                        </p:attrNameLst>
                                      </p:cBhvr>
                                      <p:tavLst>
                                        <p:tav tm="0">
                                          <p:val>
                                            <p:fltVal val="0"/>
                                          </p:val>
                                        </p:tav>
                                        <p:tav tm="100000">
                                          <p:val>
                                            <p:strVal val="#ppt_h"/>
                                          </p:val>
                                        </p:tav>
                                      </p:tavLst>
                                    </p:anim>
                                  </p:childTnLst>
                                </p:cTn>
                              </p:par>
                            </p:childTnLst>
                          </p:cTn>
                        </p:par>
                        <p:par>
                          <p:cTn id="47" fill="hold">
                            <p:stCondLst>
                              <p:cond delay="500"/>
                            </p:stCondLst>
                            <p:childTnLst>
                              <p:par>
                                <p:cTn id="48" nodeType="afterEffect" fill="hold" presetClass="entr" presetID="22" presetSubtype="4">
                                  <p:stCondLst>
                                    <p:cond delay="0"/>
                                  </p:stCondLst>
                                  <p:childTnLst>
                                    <p:set>
                                      <p:cBhvr>
                                        <p:cTn id="49" dur="1" fill="hold">
                                          <p:stCondLst>
                                            <p:cond delay="0"/>
                                          </p:stCondLst>
                                        </p:cTn>
                                        <p:tgtEl>
                                          <p:spTgt spid="339"/>
                                        </p:tgtEl>
                                        <p:attrNameLst>
                                          <p:attrName>style.visibility</p:attrName>
                                        </p:attrNameLst>
                                      </p:cBhvr>
                                      <p:to>
                                        <p:strVal val="visible"/>
                                      </p:to>
                                    </p:set>
                                    <p:animEffect filter="wipe(down)" transition="in">
                                      <p:cBhvr additive="repl">
                                        <p:cTn id="50" dur="350"/>
                                        <p:tgtEl>
                                          <p:spTgt spid="339"/>
                                        </p:tgtEl>
                                      </p:cBhvr>
                                    </p:animEffect>
                                  </p:childTnLst>
                                </p:cTn>
                              </p:par>
                            </p:childTnLst>
                          </p:cTn>
                        </p:par>
                        <p:par>
                          <p:cTn id="51" fill="hold">
                            <p:stCondLst>
                              <p:cond delay="850"/>
                            </p:stCondLst>
                            <p:childTnLst>
                              <p:par>
                                <p:cTn id="52" nodeType="afterEffect" fill="hold" presetClass="entr" presetID="22" presetSubtype="1">
                                  <p:stCondLst>
                                    <p:cond delay="0"/>
                                  </p:stCondLst>
                                  <p:childTnLst>
                                    <p:set>
                                      <p:cBhvr>
                                        <p:cTn id="53" dur="1" fill="hold">
                                          <p:stCondLst>
                                            <p:cond delay="0"/>
                                          </p:stCondLst>
                                        </p:cTn>
                                        <p:tgtEl>
                                          <p:spTgt spid="338"/>
                                        </p:tgtEl>
                                        <p:attrNameLst>
                                          <p:attrName>style.visibility</p:attrName>
                                        </p:attrNameLst>
                                      </p:cBhvr>
                                      <p:to>
                                        <p:strVal val="visible"/>
                                      </p:to>
                                    </p:set>
                                    <p:animEffect filter="wipe(up)" transition="in">
                                      <p:cBhvr additive="repl">
                                        <p:cTn id="54" dur="350"/>
                                        <p:tgtEl>
                                          <p:spTgt spid="338"/>
                                        </p:tgtEl>
                                      </p:cBhvr>
                                    </p:animEffect>
                                  </p:childTnLst>
                                </p:cTn>
                              </p:par>
                            </p:childTnLst>
                          </p:cTn>
                        </p:par>
                        <p:par>
                          <p:cTn id="55" fill="hold">
                            <p:stCondLst>
                              <p:cond delay="1200"/>
                            </p:stCondLst>
                            <p:childTnLst>
                              <p:par>
                                <p:cTn id="56" nodeType="afterEffect" fill="hold" presetClass="entr" presetID="22" presetSubtype="1">
                                  <p:stCondLst>
                                    <p:cond delay="0"/>
                                  </p:stCondLst>
                                  <p:childTnLst>
                                    <p:set>
                                      <p:cBhvr>
                                        <p:cTn id="57" dur="1" fill="hold">
                                          <p:stCondLst>
                                            <p:cond delay="0"/>
                                          </p:stCondLst>
                                        </p:cTn>
                                        <p:tgtEl>
                                          <p:spTgt spid="336"/>
                                        </p:tgtEl>
                                        <p:attrNameLst>
                                          <p:attrName>style.visibility</p:attrName>
                                        </p:attrNameLst>
                                      </p:cBhvr>
                                      <p:to>
                                        <p:strVal val="visible"/>
                                      </p:to>
                                    </p:set>
                                    <p:animEffect filter="wipe(up)" transition="in">
                                      <p:cBhvr additive="repl">
                                        <p:cTn id="58" dur="350"/>
                                        <p:tgtEl>
                                          <p:spTgt spid="336"/>
                                        </p:tgtEl>
                                      </p:cBhvr>
                                    </p:animEffect>
                                  </p:childTnLst>
                                </p:cTn>
                              </p:par>
                            </p:childTnLst>
                          </p:cTn>
                        </p:par>
                        <p:par>
                          <p:cTn id="59" fill="hold">
                            <p:stCondLst>
                              <p:cond delay="1550"/>
                            </p:stCondLst>
                            <p:childTnLst>
                              <p:par>
                                <p:cTn id="60" nodeType="afterEffect" fill="hold" presetClass="entr" presetID="22" presetSubtype="4">
                                  <p:stCondLst>
                                    <p:cond delay="0"/>
                                  </p:stCondLst>
                                  <p:childTnLst>
                                    <p:set>
                                      <p:cBhvr>
                                        <p:cTn id="61" dur="1" fill="hold">
                                          <p:stCondLst>
                                            <p:cond delay="0"/>
                                          </p:stCondLst>
                                        </p:cTn>
                                        <p:tgtEl>
                                          <p:spTgt spid="337"/>
                                        </p:tgtEl>
                                        <p:attrNameLst>
                                          <p:attrName>style.visibility</p:attrName>
                                        </p:attrNameLst>
                                      </p:cBhvr>
                                      <p:to>
                                        <p:strVal val="visible"/>
                                      </p:to>
                                    </p:set>
                                    <p:animEffect filter="wipe(down)" transition="in">
                                      <p:cBhvr additive="repl">
                                        <p:cTn id="62" dur="350"/>
                                        <p:tgtEl>
                                          <p:spTgt spid="337"/>
                                        </p:tgtEl>
                                      </p:cBhvr>
                                    </p:animEffect>
                                  </p:childTnLst>
                                </p:cTn>
                              </p:par>
                            </p:childTnLst>
                          </p:cTn>
                        </p:par>
                      </p:childTnLst>
                    </p:cTn>
                  </p:par>
                </p:childTnLst>
              </p:cTn>
              <p:prevCondLst>
                <p:cond evt="onPrev">
                  <p:tgtEl>
                    <p:sldTgt/>
                  </p:tgtEl>
                </p:cond>
              </p:prevCondLst>
              <p:nextCondLst>
                <p:cond evt="onNext">
                  <p:tgtEl>
                    <p:sldTgt/>
                  </p:tgtEl>
                </p:cond>
              </p:nextCondLst>
            </p:seq>
          </p:childTnLst>
        </p:cTn>
      </p:par>
    </p:tnLst>
  </p:timing>
</p:sld>
</file>

<file path=ppt/slides/slide5.xml><?xml version="1.0" encoding="utf-8"?>
<p:sld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p:cSld>
    <p:spTree>
      <p:nvGrpSpPr>
        <p:cNvPr id="1" name=""/>
        <p:cNvGrpSpPr/>
        <p:nvPr/>
      </p:nvGrpSpPr>
      <p:grpSpPr>
        <a:xfrm>
          <a:off x="0" y="0"/>
          <a:ext cx="0" cy="0"/>
          <a:chOff x="0" y="0"/>
          <a:chExt cx="0" cy="0"/>
        </a:xfrm>
      </p:grpSpPr>
      <p:graphicFrame>
        <p:nvGraphicFramePr>
          <p:cNvPr id="341" name="Objekt 19"/>
          <p:cNvGraphicFramePr/>
          <p:nvPr/>
        </p:nvGraphicFramePr>
        <p:xfrm>
          <a:off x="1440" y="1440"/>
          <a:ext cx="1080" cy="1080"/>
        </p:xfrm>
        <a:graphic>
          <a:graphicData uri="http://schemas.openxmlformats.org/presentationml/2006/ole">
            <p:oleObj progId="TCLayout.ActiveDocument.1" r:id="rId1" spid="">
              <p:embed/>
              <p:pic>
                <p:nvPicPr>
                  <p:cNvPr id="342" name="Objekt 19" descr=""/>
                  <p:cNvPicPr/>
                  <p:nvPr/>
                </p:nvPicPr>
                <p:blipFill>
                  <a:blip r:embed="rId2"/>
                  <a:stretch/>
                </p:blipFill>
                <p:spPr>
                  <a:xfrm>
                    <a:off x="1440" y="1440"/>
                    <a:ext cx="1080" cy="1080"/>
                  </a:xfrm>
                  <a:prstGeom prst="rect">
                    <a:avLst/>
                  </a:prstGeom>
                  <a:ln w="0">
                    <a:noFill/>
                  </a:ln>
                </p:spPr>
              </p:pic>
            </p:oleObj>
          </a:graphicData>
        </a:graphic>
      </p:graphicFrame>
      <p:sp>
        <p:nvSpPr>
          <p:cNvPr id="343" name="PlaceHolder 1"/>
          <p:cNvSpPr>
            <a:spLocks noGrp="1"/>
          </p:cNvSpPr>
          <p:nvPr>
            <p:ph type="title"/>
          </p:nvPr>
        </p:nvSpPr>
        <p:spPr>
          <a:xfrm>
            <a:off x="407880" y="349560"/>
            <a:ext cx="11375640" cy="450720"/>
          </a:xfrm>
          <a:prstGeom prst="rect">
            <a:avLst/>
          </a:prstGeom>
          <a:noFill/>
          <a:ln w="0">
            <a:noFill/>
          </a:ln>
        </p:spPr>
        <p:txBody>
          <a:bodyPr lIns="0" rIns="0" tIns="0" bIns="0" anchor="t">
            <a:noAutofit/>
          </a:bodyPr>
          <a:p>
            <a:pPr indent="0" defTabSz="914400">
              <a:lnSpc>
                <a:spcPct val="90000"/>
              </a:lnSpc>
              <a:buNone/>
            </a:pPr>
            <a:r>
              <a:rPr b="1" lang="de-DE" sz="3000" spc="-1" strike="noStrike">
                <a:solidFill>
                  <a:schemeClr val="accent3">
                    <a:lumMod val="60000"/>
                    <a:lumOff val="40000"/>
                  </a:schemeClr>
                </a:solidFill>
                <a:latin typeface="Arial"/>
                <a:ea typeface="Arial"/>
              </a:rPr>
              <a:t>Modern research infrastructures @DESY</a:t>
            </a:r>
            <a:endParaRPr b="0" lang="en-US" sz="3000" spc="-1" strike="noStrike">
              <a:solidFill>
                <a:schemeClr val="dk1"/>
              </a:solidFill>
              <a:latin typeface="Arial"/>
            </a:endParaRPr>
          </a:p>
        </p:txBody>
      </p:sp>
      <p:sp>
        <p:nvSpPr>
          <p:cNvPr id="344" name="PlaceHolder 2"/>
          <p:cNvSpPr>
            <a:spLocks noGrp="1"/>
          </p:cNvSpPr>
          <p:nvPr>
            <p:ph type="ftr" idx="39"/>
          </p:nvPr>
        </p:nvSpPr>
        <p:spPr>
          <a:xfrm>
            <a:off x="791640" y="6580800"/>
            <a:ext cx="9948600" cy="186480"/>
          </a:xfrm>
          <a:prstGeom prst="rect">
            <a:avLst/>
          </a:prstGeom>
          <a:noFill/>
          <a:ln w="0">
            <a:noFill/>
          </a:ln>
        </p:spPr>
        <p:txBody>
          <a:bodyPr lIns="0" rIns="0" tIns="0" bIns="0" anchor="t">
            <a:noAutofit/>
          </a:bodyPr>
          <a:lstStyle>
            <a:lvl1pPr indent="0" defTabSz="457200">
              <a:lnSpc>
                <a:spcPct val="100000"/>
              </a:lnSpc>
              <a:buNone/>
              <a:defRPr b="0" lang="en-US" sz="1100" spc="-1" strike="noStrike">
                <a:solidFill>
                  <a:schemeClr val="lt1"/>
                </a:solidFill>
                <a:latin typeface="Arial"/>
                <a:ea typeface="Arial"/>
              </a:defRPr>
            </a:lvl1pPr>
          </a:lstStyle>
          <a:p>
            <a:pPr indent="0" defTabSz="457200">
              <a:lnSpc>
                <a:spcPct val="100000"/>
              </a:lnSpc>
              <a:buNone/>
            </a:pPr>
            <a:r>
              <a:rPr b="0" lang="en-US" sz="1100" spc="-1" strike="noStrike">
                <a:solidFill>
                  <a:schemeClr val="lt1"/>
                </a:solidFill>
                <a:latin typeface="Arial"/>
                <a:ea typeface="Arial"/>
              </a:rPr>
              <a:t>Beate Heinemann, microTCA workshop in Hamburg, 12/2024</a:t>
            </a:r>
            <a:endParaRPr b="0" lang="en-US" sz="1100" spc="-1" strike="noStrike">
              <a:solidFill>
                <a:srgbClr val="ffffff"/>
              </a:solidFill>
              <a:latin typeface="Calibri"/>
            </a:endParaRPr>
          </a:p>
        </p:txBody>
      </p:sp>
      <p:pic>
        <p:nvPicPr>
          <p:cNvPr id="345" name="Picture 4" descr="Bildergebnis für xfel hamburg">
            <a:hlinkClick r:id="rId3"/>
          </p:cNvPr>
          <p:cNvPicPr/>
          <p:nvPr/>
        </p:nvPicPr>
        <p:blipFill>
          <a:blip r:embed="rId4"/>
          <a:stretch/>
        </p:blipFill>
        <p:spPr>
          <a:xfrm>
            <a:off x="7950960" y="1196640"/>
            <a:ext cx="3577320" cy="2370240"/>
          </a:xfrm>
          <a:prstGeom prst="rect">
            <a:avLst/>
          </a:prstGeom>
          <a:ln w="0">
            <a:noFill/>
          </a:ln>
        </p:spPr>
      </p:pic>
      <p:pic>
        <p:nvPicPr>
          <p:cNvPr id="346" name="Picture 5" descr=""/>
          <p:cNvPicPr/>
          <p:nvPr/>
        </p:nvPicPr>
        <p:blipFill>
          <a:blip r:embed="rId5"/>
          <a:stretch/>
        </p:blipFill>
        <p:spPr>
          <a:xfrm>
            <a:off x="407520" y="1198440"/>
            <a:ext cx="3411720" cy="2207880"/>
          </a:xfrm>
          <a:prstGeom prst="rect">
            <a:avLst/>
          </a:prstGeom>
          <a:ln w="0">
            <a:noFill/>
          </a:ln>
        </p:spPr>
      </p:pic>
      <p:pic>
        <p:nvPicPr>
          <p:cNvPr id="347" name="Picture 2" descr="N:\intern\TT Akten\MKT - Marketing\2013-093 Bilder\Beschleuniger\FLASH\2011-01-11_FLASH_HME-0006.jpg"/>
          <p:cNvPicPr/>
          <p:nvPr/>
        </p:nvPicPr>
        <p:blipFill>
          <a:blip r:embed="rId6"/>
          <a:stretch/>
        </p:blipFill>
        <p:spPr>
          <a:xfrm>
            <a:off x="4129560" y="1198440"/>
            <a:ext cx="3552840" cy="2368440"/>
          </a:xfrm>
          <a:prstGeom prst="rect">
            <a:avLst/>
          </a:prstGeom>
          <a:ln w="0">
            <a:noFill/>
          </a:ln>
        </p:spPr>
      </p:pic>
      <p:sp>
        <p:nvSpPr>
          <p:cNvPr id="348" name="Rechteck 9"/>
          <p:cNvSpPr/>
          <p:nvPr/>
        </p:nvSpPr>
        <p:spPr>
          <a:xfrm>
            <a:off x="407520" y="3178440"/>
            <a:ext cx="3411720" cy="45612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defTabSz="457200">
              <a:lnSpc>
                <a:spcPct val="100000"/>
              </a:lnSpc>
            </a:pPr>
            <a:r>
              <a:rPr b="0" lang="de-DE" sz="1400" spc="-1" strike="noStrike">
                <a:solidFill>
                  <a:schemeClr val="lt1"/>
                </a:solidFill>
                <a:latin typeface="Arial"/>
                <a:ea typeface="Arial"/>
              </a:rPr>
              <a:t>PETRA III World‘s largest synchrotron X-ray source</a:t>
            </a:r>
            <a:endParaRPr b="0" lang="en-US" sz="1400" spc="-1" strike="noStrike">
              <a:solidFill>
                <a:srgbClr val="ffffff"/>
              </a:solidFill>
              <a:latin typeface="Calibri"/>
            </a:endParaRPr>
          </a:p>
        </p:txBody>
      </p:sp>
      <p:sp>
        <p:nvSpPr>
          <p:cNvPr id="349" name="Rechteck 10"/>
          <p:cNvSpPr/>
          <p:nvPr/>
        </p:nvSpPr>
        <p:spPr>
          <a:xfrm>
            <a:off x="4129560" y="3178440"/>
            <a:ext cx="3552840" cy="45612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defTabSz="457200">
              <a:lnSpc>
                <a:spcPct val="100000"/>
              </a:lnSpc>
            </a:pPr>
            <a:r>
              <a:rPr b="0" lang="de-DE" sz="1400" spc="-1" strike="noStrike">
                <a:solidFill>
                  <a:schemeClr val="lt1"/>
                </a:solidFill>
                <a:latin typeface="Arial"/>
                <a:ea typeface="Arial"/>
              </a:rPr>
              <a:t>FLASH </a:t>
            </a:r>
            <a:r>
              <a:rPr b="0" lang="en-US" sz="1400" spc="-1" strike="noStrike">
                <a:solidFill>
                  <a:schemeClr val="lt1"/>
                </a:solidFill>
                <a:latin typeface="Arial"/>
                <a:ea typeface="Arial"/>
              </a:rPr>
              <a:t>World’s first free electron laser</a:t>
            </a:r>
            <a:endParaRPr b="0" lang="en-US" sz="1400" spc="-1" strike="noStrike">
              <a:solidFill>
                <a:srgbClr val="ffffff"/>
              </a:solidFill>
              <a:latin typeface="Calibri"/>
            </a:endParaRPr>
          </a:p>
        </p:txBody>
      </p:sp>
      <p:sp>
        <p:nvSpPr>
          <p:cNvPr id="350" name="Rechteck 13"/>
          <p:cNvSpPr/>
          <p:nvPr/>
        </p:nvSpPr>
        <p:spPr>
          <a:xfrm>
            <a:off x="7950960" y="3178440"/>
            <a:ext cx="3577320" cy="45612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defTabSz="457200">
              <a:lnSpc>
                <a:spcPct val="100000"/>
              </a:lnSpc>
            </a:pPr>
            <a:r>
              <a:rPr b="0" lang="de-DE" sz="1400" spc="-1" strike="noStrike">
                <a:solidFill>
                  <a:schemeClr val="lt1"/>
                </a:solidFill>
                <a:latin typeface="Arial"/>
                <a:ea typeface="Arial"/>
              </a:rPr>
              <a:t>EU-XFEL world‘s most powerful free electron laser</a:t>
            </a:r>
            <a:endParaRPr b="0" lang="en-US" sz="1400" spc="-1" strike="noStrike">
              <a:solidFill>
                <a:srgbClr val="ffffff"/>
              </a:solidFill>
              <a:latin typeface="Calibri"/>
            </a:endParaRPr>
          </a:p>
        </p:txBody>
      </p:sp>
      <p:grpSp>
        <p:nvGrpSpPr>
          <p:cNvPr id="351" name="Gruppieren 16"/>
          <p:cNvGrpSpPr/>
          <p:nvPr/>
        </p:nvGrpSpPr>
        <p:grpSpPr>
          <a:xfrm>
            <a:off x="394560" y="3825000"/>
            <a:ext cx="7352640" cy="2597760"/>
            <a:chOff x="394560" y="3825000"/>
            <a:chExt cx="7352640" cy="2597760"/>
          </a:xfrm>
        </p:grpSpPr>
        <p:pic>
          <p:nvPicPr>
            <p:cNvPr id="352" name="Picture 7" descr="https://media.desy.de/DESYmediabank/ConvertAssets/2011-01-13_ITC-2_HME-0018.jpg"/>
            <p:cNvPicPr/>
            <p:nvPr/>
          </p:nvPicPr>
          <p:blipFill>
            <a:blip r:embed="rId7"/>
            <a:stretch/>
          </p:blipFill>
          <p:spPr>
            <a:xfrm>
              <a:off x="394560" y="3825000"/>
              <a:ext cx="3564000" cy="2256840"/>
            </a:xfrm>
            <a:prstGeom prst="rect">
              <a:avLst/>
            </a:prstGeom>
            <a:ln w="0">
              <a:noFill/>
            </a:ln>
          </p:spPr>
        </p:pic>
        <p:pic>
          <p:nvPicPr>
            <p:cNvPr id="353" name="Picture 18" descr=""/>
            <p:cNvPicPr/>
            <p:nvPr/>
          </p:nvPicPr>
          <p:blipFill>
            <a:blip r:embed="rId8"/>
            <a:stretch/>
          </p:blipFill>
          <p:spPr>
            <a:xfrm>
              <a:off x="4183200" y="3825000"/>
              <a:ext cx="3552840" cy="2206440"/>
            </a:xfrm>
            <a:prstGeom prst="rect">
              <a:avLst/>
            </a:prstGeom>
            <a:ln w="0">
              <a:noFill/>
            </a:ln>
          </p:spPr>
        </p:pic>
        <p:sp>
          <p:nvSpPr>
            <p:cNvPr id="354" name="Rechteck 12"/>
            <p:cNvSpPr/>
            <p:nvPr/>
          </p:nvSpPr>
          <p:spPr>
            <a:xfrm>
              <a:off x="394560" y="5976360"/>
              <a:ext cx="3552840" cy="44604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defTabSz="457200">
                <a:lnSpc>
                  <a:spcPct val="100000"/>
                </a:lnSpc>
              </a:pPr>
              <a:r>
                <a:rPr b="0" lang="de-DE" sz="1600" spc="-1" strike="noStrike">
                  <a:solidFill>
                    <a:schemeClr val="lt1"/>
                  </a:solidFill>
                  <a:latin typeface="Arial"/>
                  <a:ea typeface="Arial"/>
                </a:rPr>
                <a:t>Large Computing Center</a:t>
              </a:r>
              <a:endParaRPr b="0" lang="en-US" sz="1600" spc="-1" strike="noStrike">
                <a:solidFill>
                  <a:srgbClr val="ffffff"/>
                </a:solidFill>
                <a:latin typeface="Calibri"/>
              </a:endParaRPr>
            </a:p>
          </p:txBody>
        </p:sp>
        <p:sp>
          <p:nvSpPr>
            <p:cNvPr id="355" name="Rechteck 14"/>
            <p:cNvSpPr/>
            <p:nvPr/>
          </p:nvSpPr>
          <p:spPr>
            <a:xfrm>
              <a:off x="4194360" y="5985360"/>
              <a:ext cx="3552840" cy="43740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defTabSz="457200">
                <a:lnSpc>
                  <a:spcPct val="100000"/>
                </a:lnSpc>
              </a:pPr>
              <a:r>
                <a:rPr b="0" lang="de-DE" sz="1400" spc="-1" strike="noStrike">
                  <a:solidFill>
                    <a:schemeClr val="lt1"/>
                  </a:solidFill>
                  <a:latin typeface="Arial"/>
                  <a:ea typeface="Arial"/>
                </a:rPr>
                <a:t>Test facilties for detectors</a:t>
              </a:r>
              <a:endParaRPr b="0" lang="en-US" sz="1400" spc="-1" strike="noStrike">
                <a:solidFill>
                  <a:srgbClr val="ffffff"/>
                </a:solidFill>
                <a:latin typeface="Calibri"/>
              </a:endParaRPr>
            </a:p>
          </p:txBody>
        </p:sp>
      </p:grpSp>
      <p:grpSp>
        <p:nvGrpSpPr>
          <p:cNvPr id="356" name="Gruppieren 2"/>
          <p:cNvGrpSpPr/>
          <p:nvPr/>
        </p:nvGrpSpPr>
        <p:grpSpPr>
          <a:xfrm>
            <a:off x="7966800" y="3821760"/>
            <a:ext cx="3552840" cy="2586600"/>
            <a:chOff x="7966800" y="3821760"/>
            <a:chExt cx="3552840" cy="2586600"/>
          </a:xfrm>
        </p:grpSpPr>
        <p:sp>
          <p:nvSpPr>
            <p:cNvPr id="357" name="Rechteck 11"/>
            <p:cNvSpPr/>
            <p:nvPr/>
          </p:nvSpPr>
          <p:spPr>
            <a:xfrm>
              <a:off x="7966800" y="5952240"/>
              <a:ext cx="3552840" cy="45612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defTabSz="457200">
                <a:lnSpc>
                  <a:spcPct val="100000"/>
                </a:lnSpc>
              </a:pPr>
              <a:r>
                <a:rPr b="0" lang="de-DE" sz="1600" spc="-1" strike="noStrike">
                  <a:solidFill>
                    <a:schemeClr val="lt1"/>
                  </a:solidFill>
                  <a:latin typeface="Arial"/>
                  <a:ea typeface="Arial"/>
                </a:rPr>
                <a:t> </a:t>
              </a:r>
              <a:r>
                <a:rPr b="0" lang="de-DE" sz="1600" spc="-1" strike="noStrike">
                  <a:solidFill>
                    <a:schemeClr val="lt1"/>
                  </a:solidFill>
                  <a:latin typeface="Arial"/>
                  <a:ea typeface="Arial"/>
                </a:rPr>
                <a:t>Interdisciplinary Research Centers</a:t>
              </a:r>
              <a:endParaRPr b="0" lang="en-US" sz="1600" spc="-1" strike="noStrike">
                <a:solidFill>
                  <a:srgbClr val="ffffff"/>
                </a:solidFill>
                <a:latin typeface="Calibri"/>
              </a:endParaRPr>
            </a:p>
          </p:txBody>
        </p:sp>
        <p:pic>
          <p:nvPicPr>
            <p:cNvPr id="358" name="Picture 2" descr="C:\Users\leuech\Desktop\Bilder\Mission_medium.jpg"/>
            <p:cNvPicPr/>
            <p:nvPr/>
          </p:nvPicPr>
          <p:blipFill>
            <a:blip r:embed="rId9"/>
            <a:stretch/>
          </p:blipFill>
          <p:spPr>
            <a:xfrm>
              <a:off x="7966800" y="3821760"/>
              <a:ext cx="3552840" cy="2154960"/>
            </a:xfrm>
            <a:prstGeom prst="rect">
              <a:avLst/>
            </a:prstGeom>
            <a:ln w="0">
              <a:noFill/>
            </a:ln>
          </p:spPr>
        </p:pic>
      </p:grpSp>
    </p:spTree>
  </p:cSld>
  <p:transition spd="med">
    <p:fade/>
  </p:transition>
</p:sld>
</file>

<file path=ppt/slides/slide6.xml><?xml version="1.0" encoding="utf-8"?>
<p:sld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p:cSld>
    <p:spTree>
      <p:nvGrpSpPr>
        <p:cNvPr id="1" name=""/>
        <p:cNvGrpSpPr/>
        <p:nvPr/>
      </p:nvGrpSpPr>
      <p:grpSpPr>
        <a:xfrm>
          <a:off x="0" y="0"/>
          <a:ext cx="0" cy="0"/>
          <a:chOff x="0" y="0"/>
          <a:chExt cx="0" cy="0"/>
        </a:xfrm>
      </p:grpSpPr>
      <p:sp>
        <p:nvSpPr>
          <p:cNvPr id="359" name="Textfeld 4"/>
          <p:cNvSpPr/>
          <p:nvPr/>
        </p:nvSpPr>
        <p:spPr>
          <a:xfrm>
            <a:off x="434520" y="332640"/>
            <a:ext cx="5027400" cy="546840"/>
          </a:xfrm>
          <a:prstGeom prst="rect">
            <a:avLst/>
          </a:prstGeom>
          <a:noFill/>
          <a:ln w="0">
            <a:noFill/>
          </a:ln>
        </p:spPr>
        <p:style>
          <a:lnRef idx="0"/>
          <a:fillRef idx="0"/>
          <a:effectRef idx="0"/>
          <a:fontRef idx="minor"/>
        </p:style>
        <p:txBody>
          <a:bodyPr wrap="none" lIns="90000" rIns="90000" tIns="45000" bIns="45000" anchor="t">
            <a:spAutoFit/>
          </a:bodyPr>
          <a:p>
            <a:pPr defTabSz="457200">
              <a:lnSpc>
                <a:spcPct val="100000"/>
              </a:lnSpc>
              <a:tabLst>
                <a:tab algn="l" pos="0"/>
              </a:tabLst>
            </a:pPr>
            <a:r>
              <a:rPr b="1" lang="de-DE" sz="3000" spc="-1" strike="noStrike">
                <a:solidFill>
                  <a:srgbClr val="00b0f0"/>
                </a:solidFill>
                <a:latin typeface="Arial"/>
                <a:ea typeface="Arial"/>
              </a:rPr>
              <a:t>International Cooperations</a:t>
            </a:r>
            <a:endParaRPr b="0" lang="en-US" sz="3000" spc="-1" strike="noStrike">
              <a:solidFill>
                <a:srgbClr val="ffffff"/>
              </a:solidFill>
              <a:latin typeface="Calibri"/>
            </a:endParaRPr>
          </a:p>
        </p:txBody>
      </p:sp>
      <p:grpSp>
        <p:nvGrpSpPr>
          <p:cNvPr id="360" name="Karte mit Zubehör"/>
          <p:cNvGrpSpPr/>
          <p:nvPr/>
        </p:nvGrpSpPr>
        <p:grpSpPr>
          <a:xfrm>
            <a:off x="2261160" y="-677520"/>
            <a:ext cx="9486000" cy="7180560"/>
            <a:chOff x="2261160" y="-677520"/>
            <a:chExt cx="9486000" cy="7180560"/>
          </a:xfrm>
        </p:grpSpPr>
        <p:grpSp>
          <p:nvGrpSpPr>
            <p:cNvPr id="361" name="Beschriftungen und Länder"/>
            <p:cNvGrpSpPr/>
            <p:nvPr/>
          </p:nvGrpSpPr>
          <p:grpSpPr>
            <a:xfrm>
              <a:off x="2261160" y="1555560"/>
              <a:ext cx="9486000" cy="4947480"/>
              <a:chOff x="2261160" y="1555560"/>
              <a:chExt cx="9486000" cy="4947480"/>
            </a:xfrm>
          </p:grpSpPr>
          <p:grpSp>
            <p:nvGrpSpPr>
              <p:cNvPr id="362" name="Länder"/>
              <p:cNvGrpSpPr/>
              <p:nvPr/>
            </p:nvGrpSpPr>
            <p:grpSpPr>
              <a:xfrm>
                <a:off x="2261160" y="1555560"/>
                <a:ext cx="9486000" cy="4947480"/>
                <a:chOff x="2261160" y="1555560"/>
                <a:chExt cx="9486000" cy="4947480"/>
              </a:xfrm>
            </p:grpSpPr>
            <p:sp>
              <p:nvSpPr>
                <p:cNvPr id="363" name="Freihandform: Form 551"/>
                <p:cNvSpPr/>
                <p:nvPr/>
              </p:nvSpPr>
              <p:spPr>
                <a:xfrm>
                  <a:off x="2261160" y="5706360"/>
                  <a:ext cx="9342000" cy="796680"/>
                </a:xfrm>
                <a:custGeom>
                  <a:avLst/>
                  <a:gdLst>
                    <a:gd name="textAreaLeft" fmla="*/ 0 w 9342000"/>
                    <a:gd name="textAreaRight" fmla="*/ 9342360 w 9342000"/>
                    <a:gd name="textAreaTop" fmla="*/ 0 h 796680"/>
                    <a:gd name="textAreaBottom" fmla="*/ 797040 h 796680"/>
                  </a:gdLst>
                  <a:ahLst/>
                  <a:rect l="textAreaLeft" t="textAreaTop" r="textAreaRight" b="textAreaBottom"/>
                  <a:pathLst>
                    <a:path w="9342197" h="797097">
                      <a:moveTo>
                        <a:pt x="8298155" y="9562"/>
                      </a:moveTo>
                      <a:cubicBezTo>
                        <a:pt x="8304535" y="10567"/>
                        <a:pt x="8309498" y="11860"/>
                        <a:pt x="8304610" y="11061"/>
                      </a:cubicBezTo>
                      <a:lnTo>
                        <a:pt x="8297522" y="9572"/>
                      </a:lnTo>
                      <a:close/>
                      <a:moveTo>
                        <a:pt x="7415383" y="0"/>
                      </a:moveTo>
                      <a:lnTo>
                        <a:pt x="7697485" y="52088"/>
                      </a:lnTo>
                      <a:lnTo>
                        <a:pt x="7736396" y="26044"/>
                      </a:lnTo>
                      <a:lnTo>
                        <a:pt x="7814217" y="26044"/>
                      </a:lnTo>
                      <a:cubicBezTo>
                        <a:pt x="7836915" y="40513"/>
                        <a:pt x="7855651" y="62130"/>
                        <a:pt x="7882311" y="69451"/>
                      </a:cubicBezTo>
                      <a:cubicBezTo>
                        <a:pt x="7914956" y="78415"/>
                        <a:pt x="7969741" y="44860"/>
                        <a:pt x="7999043" y="43407"/>
                      </a:cubicBezTo>
                      <a:lnTo>
                        <a:pt x="8174140" y="34725"/>
                      </a:lnTo>
                      <a:cubicBezTo>
                        <a:pt x="8180625" y="28938"/>
                        <a:pt x="8185393" y="21024"/>
                        <a:pt x="8193596" y="17363"/>
                      </a:cubicBezTo>
                      <a:cubicBezTo>
                        <a:pt x="8211939" y="9179"/>
                        <a:pt x="8251962" y="0"/>
                        <a:pt x="8251962" y="0"/>
                      </a:cubicBezTo>
                      <a:lnTo>
                        <a:pt x="8297522" y="9572"/>
                      </a:lnTo>
                      <a:lnTo>
                        <a:pt x="8283196" y="9793"/>
                      </a:lnTo>
                      <a:cubicBezTo>
                        <a:pt x="8282413" y="11746"/>
                        <a:pt x="8288647" y="16369"/>
                        <a:pt x="8310328" y="26044"/>
                      </a:cubicBezTo>
                      <a:cubicBezTo>
                        <a:pt x="8328671" y="34228"/>
                        <a:pt x="8351630" y="33255"/>
                        <a:pt x="8368694" y="43407"/>
                      </a:cubicBezTo>
                      <a:cubicBezTo>
                        <a:pt x="8378422" y="49194"/>
                        <a:pt x="8387193" y="56532"/>
                        <a:pt x="8397877" y="60769"/>
                      </a:cubicBezTo>
                      <a:cubicBezTo>
                        <a:pt x="8454076" y="83059"/>
                        <a:pt x="8472247" y="77106"/>
                        <a:pt x="8534064" y="95494"/>
                      </a:cubicBezTo>
                      <a:lnTo>
                        <a:pt x="8621613" y="121538"/>
                      </a:lnTo>
                      <a:cubicBezTo>
                        <a:pt x="8631341" y="124431"/>
                        <a:pt x="8640741" y="128424"/>
                        <a:pt x="8650796" y="130219"/>
                      </a:cubicBezTo>
                      <a:cubicBezTo>
                        <a:pt x="8667009" y="133113"/>
                        <a:pt x="8683483" y="135018"/>
                        <a:pt x="8699434" y="138900"/>
                      </a:cubicBezTo>
                      <a:cubicBezTo>
                        <a:pt x="8719219" y="143716"/>
                        <a:pt x="8737905" y="151823"/>
                        <a:pt x="8757800" y="156262"/>
                      </a:cubicBezTo>
                      <a:cubicBezTo>
                        <a:pt x="8770770" y="159156"/>
                        <a:pt x="8783423" y="163627"/>
                        <a:pt x="8796711" y="164944"/>
                      </a:cubicBezTo>
                      <a:cubicBezTo>
                        <a:pt x="8871113" y="172321"/>
                        <a:pt x="9020447" y="182306"/>
                        <a:pt x="9020447" y="182306"/>
                      </a:cubicBezTo>
                      <a:cubicBezTo>
                        <a:pt x="9014533" y="213972"/>
                        <a:pt x="9022191" y="235196"/>
                        <a:pt x="8991264" y="251756"/>
                      </a:cubicBezTo>
                      <a:cubicBezTo>
                        <a:pt x="8982471" y="256465"/>
                        <a:pt x="8971809" y="257544"/>
                        <a:pt x="8962081" y="260437"/>
                      </a:cubicBezTo>
                      <a:cubicBezTo>
                        <a:pt x="8965323" y="274906"/>
                        <a:pt x="8965295" y="290281"/>
                        <a:pt x="8971808" y="303844"/>
                      </a:cubicBezTo>
                      <a:cubicBezTo>
                        <a:pt x="8975421" y="311367"/>
                        <a:pt x="8987162" y="313885"/>
                        <a:pt x="8991264" y="321206"/>
                      </a:cubicBezTo>
                      <a:cubicBezTo>
                        <a:pt x="8997243" y="331877"/>
                        <a:pt x="8997749" y="344356"/>
                        <a:pt x="9000991" y="355931"/>
                      </a:cubicBezTo>
                      <a:cubicBezTo>
                        <a:pt x="8988021" y="358824"/>
                        <a:pt x="8974886" y="361183"/>
                        <a:pt x="8962081" y="364612"/>
                      </a:cubicBezTo>
                      <a:cubicBezTo>
                        <a:pt x="8942438" y="369871"/>
                        <a:pt x="8903715" y="381975"/>
                        <a:pt x="8903715" y="381975"/>
                      </a:cubicBezTo>
                      <a:cubicBezTo>
                        <a:pt x="8900472" y="390655"/>
                        <a:pt x="8893987" y="398867"/>
                        <a:pt x="8893987" y="408017"/>
                      </a:cubicBezTo>
                      <a:cubicBezTo>
                        <a:pt x="8893987" y="434399"/>
                        <a:pt x="8907760" y="434233"/>
                        <a:pt x="8923170" y="451424"/>
                      </a:cubicBezTo>
                      <a:cubicBezTo>
                        <a:pt x="8930473" y="459571"/>
                        <a:pt x="8934359" y="470090"/>
                        <a:pt x="8942626" y="477468"/>
                      </a:cubicBezTo>
                      <a:cubicBezTo>
                        <a:pt x="8950893" y="484846"/>
                        <a:pt x="8962679" y="488313"/>
                        <a:pt x="8971808" y="494830"/>
                      </a:cubicBezTo>
                      <a:cubicBezTo>
                        <a:pt x="8978970" y="499943"/>
                        <a:pt x="8984779" y="506405"/>
                        <a:pt x="8991264" y="512192"/>
                      </a:cubicBezTo>
                      <a:cubicBezTo>
                        <a:pt x="8963451" y="520466"/>
                        <a:pt x="8953705" y="524105"/>
                        <a:pt x="8923170" y="529555"/>
                      </a:cubicBezTo>
                      <a:cubicBezTo>
                        <a:pt x="8903829" y="533007"/>
                        <a:pt x="8884259" y="535343"/>
                        <a:pt x="8864804" y="538236"/>
                      </a:cubicBezTo>
                      <a:cubicBezTo>
                        <a:pt x="8855076" y="541130"/>
                        <a:pt x="8842872" y="540446"/>
                        <a:pt x="8835621" y="546917"/>
                      </a:cubicBezTo>
                      <a:cubicBezTo>
                        <a:pt x="8819870" y="560974"/>
                        <a:pt x="8825749" y="594471"/>
                        <a:pt x="8835621" y="607686"/>
                      </a:cubicBezTo>
                      <a:cubicBezTo>
                        <a:pt x="8842106" y="616368"/>
                        <a:pt x="8855675" y="618531"/>
                        <a:pt x="8864804" y="625048"/>
                      </a:cubicBezTo>
                      <a:cubicBezTo>
                        <a:pt x="8871966" y="630161"/>
                        <a:pt x="8877098" y="637298"/>
                        <a:pt x="8884260" y="642411"/>
                      </a:cubicBezTo>
                      <a:cubicBezTo>
                        <a:pt x="8893389" y="648928"/>
                        <a:pt x="8903929" y="653709"/>
                        <a:pt x="8913443" y="659774"/>
                      </a:cubicBezTo>
                      <a:cubicBezTo>
                        <a:pt x="8926636" y="668184"/>
                        <a:pt x="8939160" y="677408"/>
                        <a:pt x="8952353" y="685817"/>
                      </a:cubicBezTo>
                      <a:cubicBezTo>
                        <a:pt x="9017397" y="727279"/>
                        <a:pt x="8946476" y="683194"/>
                        <a:pt x="9010719" y="711861"/>
                      </a:cubicBezTo>
                      <a:cubicBezTo>
                        <a:pt x="9021176" y="716527"/>
                        <a:pt x="9029445" y="724557"/>
                        <a:pt x="9039902" y="729223"/>
                      </a:cubicBezTo>
                      <a:cubicBezTo>
                        <a:pt x="9049073" y="733316"/>
                        <a:pt x="9059914" y="733812"/>
                        <a:pt x="9069085" y="737905"/>
                      </a:cubicBezTo>
                      <a:cubicBezTo>
                        <a:pt x="9161576" y="779176"/>
                        <a:pt x="9006058" y="727836"/>
                        <a:pt x="9156634" y="772629"/>
                      </a:cubicBezTo>
                      <a:cubicBezTo>
                        <a:pt x="9166362" y="775523"/>
                        <a:pt x="9175563" y="781310"/>
                        <a:pt x="9185817" y="781310"/>
                      </a:cubicBezTo>
                      <a:lnTo>
                        <a:pt x="9341460" y="781310"/>
                      </a:lnTo>
                      <a:lnTo>
                        <a:pt x="9342197" y="797097"/>
                      </a:lnTo>
                      <a:lnTo>
                        <a:pt x="0" y="797097"/>
                      </a:lnTo>
                      <a:lnTo>
                        <a:pt x="12634" y="737905"/>
                      </a:lnTo>
                      <a:lnTo>
                        <a:pt x="1209136" y="720542"/>
                      </a:lnTo>
                      <a:cubicBezTo>
                        <a:pt x="1233280" y="722199"/>
                        <a:pt x="1322783" y="719165"/>
                        <a:pt x="1364779" y="737905"/>
                      </a:cubicBezTo>
                      <a:cubicBezTo>
                        <a:pt x="1375236" y="742570"/>
                        <a:pt x="1383278" y="751030"/>
                        <a:pt x="1393962" y="755267"/>
                      </a:cubicBezTo>
                      <a:cubicBezTo>
                        <a:pt x="1412702" y="762700"/>
                        <a:pt x="1432873" y="766842"/>
                        <a:pt x="1452328" y="772629"/>
                      </a:cubicBezTo>
                      <a:lnTo>
                        <a:pt x="1481511" y="781310"/>
                      </a:lnTo>
                      <a:cubicBezTo>
                        <a:pt x="1513936" y="778416"/>
                        <a:pt x="1547872" y="781825"/>
                        <a:pt x="1578787" y="772629"/>
                      </a:cubicBezTo>
                      <a:cubicBezTo>
                        <a:pt x="1589878" y="769330"/>
                        <a:pt x="1590758" y="754600"/>
                        <a:pt x="1598243" y="746585"/>
                      </a:cubicBezTo>
                      <a:cubicBezTo>
                        <a:pt x="1607050" y="737154"/>
                        <a:pt x="1617698" y="729223"/>
                        <a:pt x="1627426" y="720542"/>
                      </a:cubicBezTo>
                      <a:cubicBezTo>
                        <a:pt x="1630668" y="711860"/>
                        <a:pt x="1634336" y="703296"/>
                        <a:pt x="1637153" y="694498"/>
                      </a:cubicBezTo>
                      <a:cubicBezTo>
                        <a:pt x="1668114" y="597790"/>
                        <a:pt x="1612625" y="661163"/>
                        <a:pt x="1860889" y="651092"/>
                      </a:cubicBezTo>
                      <a:cubicBezTo>
                        <a:pt x="1857647" y="642411"/>
                        <a:pt x="1856438" y="632895"/>
                        <a:pt x="1851162" y="625048"/>
                      </a:cubicBezTo>
                      <a:cubicBezTo>
                        <a:pt x="1834877" y="600826"/>
                        <a:pt x="1828755" y="610710"/>
                        <a:pt x="1802523" y="599005"/>
                      </a:cubicBezTo>
                      <a:cubicBezTo>
                        <a:pt x="1792066" y="594339"/>
                        <a:pt x="1782469" y="588160"/>
                        <a:pt x="1773340" y="581643"/>
                      </a:cubicBezTo>
                      <a:cubicBezTo>
                        <a:pt x="1765213" y="575840"/>
                        <a:pt x="1759814" y="571766"/>
                        <a:pt x="1756388" y="568976"/>
                      </a:cubicBezTo>
                      <a:lnTo>
                        <a:pt x="1752641" y="565346"/>
                      </a:lnTo>
                      <a:lnTo>
                        <a:pt x="1758379" y="567962"/>
                      </a:lnTo>
                      <a:cubicBezTo>
                        <a:pt x="1768815" y="572141"/>
                        <a:pt x="1750313" y="561355"/>
                        <a:pt x="1751268" y="564016"/>
                      </a:cubicBezTo>
                      <a:lnTo>
                        <a:pt x="1752641" y="565346"/>
                      </a:lnTo>
                      <a:lnTo>
                        <a:pt x="1744371" y="561577"/>
                      </a:lnTo>
                      <a:cubicBezTo>
                        <a:pt x="1737389" y="558218"/>
                        <a:pt x="1727842" y="553479"/>
                        <a:pt x="1714974" y="546917"/>
                      </a:cubicBezTo>
                      <a:cubicBezTo>
                        <a:pt x="1704823" y="541741"/>
                        <a:pt x="1696474" y="533792"/>
                        <a:pt x="1685791" y="529555"/>
                      </a:cubicBezTo>
                      <a:cubicBezTo>
                        <a:pt x="1685762" y="529544"/>
                        <a:pt x="1612849" y="507857"/>
                        <a:pt x="1598243" y="503512"/>
                      </a:cubicBezTo>
                      <a:lnTo>
                        <a:pt x="1569060" y="494830"/>
                      </a:lnTo>
                      <a:cubicBezTo>
                        <a:pt x="1592079" y="481135"/>
                        <a:pt x="1600041" y="473099"/>
                        <a:pt x="1627426" y="468786"/>
                      </a:cubicBezTo>
                      <a:cubicBezTo>
                        <a:pt x="1672585" y="461675"/>
                        <a:pt x="1763613" y="451424"/>
                        <a:pt x="1763613" y="451424"/>
                      </a:cubicBezTo>
                      <a:cubicBezTo>
                        <a:pt x="1836880" y="407833"/>
                        <a:pt x="1743764" y="459016"/>
                        <a:pt x="1831706" y="425381"/>
                      </a:cubicBezTo>
                      <a:cubicBezTo>
                        <a:pt x="1842452" y="421271"/>
                        <a:pt x="1850432" y="412684"/>
                        <a:pt x="1860889" y="408017"/>
                      </a:cubicBezTo>
                      <a:cubicBezTo>
                        <a:pt x="1870060" y="403925"/>
                        <a:pt x="1880344" y="402230"/>
                        <a:pt x="1890072" y="399337"/>
                      </a:cubicBezTo>
                      <a:cubicBezTo>
                        <a:pt x="1899800" y="393549"/>
                        <a:pt x="1908308" y="385638"/>
                        <a:pt x="1919255" y="381975"/>
                      </a:cubicBezTo>
                      <a:cubicBezTo>
                        <a:pt x="1934736" y="376794"/>
                        <a:pt x="1951854" y="376872"/>
                        <a:pt x="1967894" y="373293"/>
                      </a:cubicBezTo>
                      <a:cubicBezTo>
                        <a:pt x="1977842" y="371074"/>
                        <a:pt x="1987476" y="367824"/>
                        <a:pt x="1997077" y="364612"/>
                      </a:cubicBezTo>
                      <a:cubicBezTo>
                        <a:pt x="2104388" y="328699"/>
                        <a:pt x="1993356" y="361840"/>
                        <a:pt x="2084626" y="338568"/>
                      </a:cubicBezTo>
                      <a:cubicBezTo>
                        <a:pt x="2103944" y="333642"/>
                        <a:pt x="2133260" y="322291"/>
                        <a:pt x="2152719" y="321206"/>
                      </a:cubicBezTo>
                      <a:cubicBezTo>
                        <a:pt x="2243392" y="316148"/>
                        <a:pt x="2334302" y="315418"/>
                        <a:pt x="2425094" y="312524"/>
                      </a:cubicBezTo>
                      <a:cubicBezTo>
                        <a:pt x="2476975" y="315418"/>
                        <a:pt x="2528988" y="316807"/>
                        <a:pt x="2580736" y="321206"/>
                      </a:cubicBezTo>
                      <a:cubicBezTo>
                        <a:pt x="2597195" y="322605"/>
                        <a:pt x="2612985" y="327937"/>
                        <a:pt x="2629374" y="329887"/>
                      </a:cubicBezTo>
                      <a:cubicBezTo>
                        <a:pt x="2661676" y="333731"/>
                        <a:pt x="2694225" y="335675"/>
                        <a:pt x="2726651" y="338568"/>
                      </a:cubicBezTo>
                      <a:cubicBezTo>
                        <a:pt x="2736379" y="335675"/>
                        <a:pt x="2747490" y="335206"/>
                        <a:pt x="2755834" y="329887"/>
                      </a:cubicBezTo>
                      <a:cubicBezTo>
                        <a:pt x="2786305" y="310464"/>
                        <a:pt x="2786115" y="288168"/>
                        <a:pt x="2823928" y="286481"/>
                      </a:cubicBezTo>
                      <a:cubicBezTo>
                        <a:pt x="2943796" y="281132"/>
                        <a:pt x="3063877" y="280693"/>
                        <a:pt x="3183851" y="277800"/>
                      </a:cubicBezTo>
                      <a:cubicBezTo>
                        <a:pt x="3209791" y="274906"/>
                        <a:pt x="3235570" y="270413"/>
                        <a:pt x="3261672" y="269118"/>
                      </a:cubicBezTo>
                      <a:cubicBezTo>
                        <a:pt x="3352382" y="264621"/>
                        <a:pt x="3445574" y="278860"/>
                        <a:pt x="3534047" y="260437"/>
                      </a:cubicBezTo>
                      <a:cubicBezTo>
                        <a:pt x="3554018" y="256278"/>
                        <a:pt x="3548528" y="226104"/>
                        <a:pt x="3553502" y="208350"/>
                      </a:cubicBezTo>
                      <a:cubicBezTo>
                        <a:pt x="3556745" y="196775"/>
                        <a:pt x="3560838" y="185364"/>
                        <a:pt x="3563230" y="173625"/>
                      </a:cubicBezTo>
                      <a:cubicBezTo>
                        <a:pt x="3567332" y="153493"/>
                        <a:pt x="3557859" y="128256"/>
                        <a:pt x="3572957" y="112856"/>
                      </a:cubicBezTo>
                      <a:cubicBezTo>
                        <a:pt x="3585945" y="99609"/>
                        <a:pt x="3611868" y="107069"/>
                        <a:pt x="3631323" y="104175"/>
                      </a:cubicBezTo>
                      <a:cubicBezTo>
                        <a:pt x="3717348" y="65791"/>
                        <a:pt x="3688638" y="87753"/>
                        <a:pt x="3728600" y="52088"/>
                      </a:cubicBezTo>
                      <a:cubicBezTo>
                        <a:pt x="3743192" y="54982"/>
                        <a:pt x="3718872" y="101282"/>
                        <a:pt x="3718872" y="121538"/>
                      </a:cubicBezTo>
                      <a:cubicBezTo>
                        <a:pt x="3718872" y="141794"/>
                        <a:pt x="3723816" y="156549"/>
                        <a:pt x="3728600" y="173625"/>
                      </a:cubicBezTo>
                      <a:cubicBezTo>
                        <a:pt x="3728603" y="173638"/>
                        <a:pt x="3752917" y="238729"/>
                        <a:pt x="3757783" y="251756"/>
                      </a:cubicBezTo>
                      <a:cubicBezTo>
                        <a:pt x="3761026" y="260438"/>
                        <a:pt x="3765024" y="268922"/>
                        <a:pt x="3767511" y="277800"/>
                      </a:cubicBezTo>
                      <a:cubicBezTo>
                        <a:pt x="3770753" y="289375"/>
                        <a:pt x="3772544" y="301353"/>
                        <a:pt x="3777238" y="312524"/>
                      </a:cubicBezTo>
                      <a:cubicBezTo>
                        <a:pt x="3782330" y="324642"/>
                        <a:pt x="3790982" y="335354"/>
                        <a:pt x="3796694" y="347250"/>
                      </a:cubicBezTo>
                      <a:cubicBezTo>
                        <a:pt x="3800733" y="355661"/>
                        <a:pt x="3803179" y="364612"/>
                        <a:pt x="3806421" y="373293"/>
                      </a:cubicBezTo>
                      <a:cubicBezTo>
                        <a:pt x="3803179" y="381975"/>
                        <a:pt x="3805038" y="394018"/>
                        <a:pt x="3796694" y="399337"/>
                      </a:cubicBezTo>
                      <a:cubicBezTo>
                        <a:pt x="3780006" y="409975"/>
                        <a:pt x="3757783" y="410912"/>
                        <a:pt x="3738328" y="416699"/>
                      </a:cubicBezTo>
                      <a:cubicBezTo>
                        <a:pt x="3728600" y="419593"/>
                        <a:pt x="3719093" y="423161"/>
                        <a:pt x="3709145" y="425381"/>
                      </a:cubicBezTo>
                      <a:cubicBezTo>
                        <a:pt x="3660286" y="436281"/>
                        <a:pt x="3682917" y="430288"/>
                        <a:pt x="3641051" y="442743"/>
                      </a:cubicBezTo>
                      <a:cubicBezTo>
                        <a:pt x="3629092" y="506776"/>
                        <a:pt x="3619694" y="531447"/>
                        <a:pt x="3641051" y="607686"/>
                      </a:cubicBezTo>
                      <a:cubicBezTo>
                        <a:pt x="3643915" y="617908"/>
                        <a:pt x="3688180" y="646635"/>
                        <a:pt x="3699417" y="651092"/>
                      </a:cubicBezTo>
                      <a:cubicBezTo>
                        <a:pt x="3718157" y="658525"/>
                        <a:pt x="3757783" y="668454"/>
                        <a:pt x="3757783" y="668454"/>
                      </a:cubicBezTo>
                      <a:cubicBezTo>
                        <a:pt x="3770753" y="680029"/>
                        <a:pt x="3778899" y="707150"/>
                        <a:pt x="3796694" y="703179"/>
                      </a:cubicBezTo>
                      <a:cubicBezTo>
                        <a:pt x="3809664" y="700285"/>
                        <a:pt x="3822749" y="697776"/>
                        <a:pt x="3835604" y="694498"/>
                      </a:cubicBezTo>
                      <a:cubicBezTo>
                        <a:pt x="3845463" y="691984"/>
                        <a:pt x="3854732" y="687612"/>
                        <a:pt x="3864787" y="685817"/>
                      </a:cubicBezTo>
                      <a:cubicBezTo>
                        <a:pt x="3887270" y="681804"/>
                        <a:pt x="3910265" y="680500"/>
                        <a:pt x="3932881" y="677136"/>
                      </a:cubicBezTo>
                      <a:cubicBezTo>
                        <a:pt x="4053489" y="659196"/>
                        <a:pt x="3885229" y="676266"/>
                        <a:pt x="4088523" y="659774"/>
                      </a:cubicBezTo>
                      <a:cubicBezTo>
                        <a:pt x="4101493" y="656879"/>
                        <a:pt x="4114280" y="653227"/>
                        <a:pt x="4127434" y="651092"/>
                      </a:cubicBezTo>
                      <a:cubicBezTo>
                        <a:pt x="4149993" y="647431"/>
                        <a:pt x="4173567" y="648290"/>
                        <a:pt x="4195528" y="642411"/>
                      </a:cubicBezTo>
                      <a:cubicBezTo>
                        <a:pt x="4206726" y="639413"/>
                        <a:pt x="4213620" y="628348"/>
                        <a:pt x="4224711" y="625048"/>
                      </a:cubicBezTo>
                      <a:cubicBezTo>
                        <a:pt x="4243423" y="619482"/>
                        <a:pt x="4263671" y="619515"/>
                        <a:pt x="4283077" y="616367"/>
                      </a:cubicBezTo>
                      <a:cubicBezTo>
                        <a:pt x="4299344" y="613727"/>
                        <a:pt x="4315675" y="611265"/>
                        <a:pt x="4331715" y="607686"/>
                      </a:cubicBezTo>
                      <a:cubicBezTo>
                        <a:pt x="4341663" y="605467"/>
                        <a:pt x="4350843" y="600799"/>
                        <a:pt x="4360898" y="599005"/>
                      </a:cubicBezTo>
                      <a:cubicBezTo>
                        <a:pt x="4383381" y="594991"/>
                        <a:pt x="4406293" y="593217"/>
                        <a:pt x="4428991" y="590323"/>
                      </a:cubicBezTo>
                      <a:cubicBezTo>
                        <a:pt x="4418152" y="551628"/>
                        <a:pt x="4428717" y="564035"/>
                        <a:pt x="4370626" y="538236"/>
                      </a:cubicBezTo>
                      <a:lnTo>
                        <a:pt x="4487357" y="416699"/>
                      </a:lnTo>
                      <a:lnTo>
                        <a:pt x="4633272" y="416699"/>
                      </a:lnTo>
                      <a:lnTo>
                        <a:pt x="4759732" y="416699"/>
                      </a:lnTo>
                      <a:lnTo>
                        <a:pt x="4808370" y="329887"/>
                      </a:lnTo>
                      <a:lnTo>
                        <a:pt x="4964013" y="234393"/>
                      </a:lnTo>
                      <a:lnTo>
                        <a:pt x="5411485" y="182306"/>
                      </a:lnTo>
                      <a:lnTo>
                        <a:pt x="5839502" y="173625"/>
                      </a:lnTo>
                      <a:lnTo>
                        <a:pt x="5965962" y="112856"/>
                      </a:lnTo>
                      <a:lnTo>
                        <a:pt x="6034055" y="173625"/>
                      </a:lnTo>
                      <a:lnTo>
                        <a:pt x="6257791" y="52088"/>
                      </a:lnTo>
                      <a:lnTo>
                        <a:pt x="6393979" y="17363"/>
                      </a:lnTo>
                      <a:cubicBezTo>
                        <a:pt x="6416677" y="31832"/>
                        <a:pt x="6442348" y="43167"/>
                        <a:pt x="6462072" y="60769"/>
                      </a:cubicBezTo>
                      <a:cubicBezTo>
                        <a:pt x="6513953" y="107069"/>
                        <a:pt x="6423162" y="72344"/>
                        <a:pt x="6500983" y="95494"/>
                      </a:cubicBezTo>
                      <a:cubicBezTo>
                        <a:pt x="6543136" y="92600"/>
                        <a:pt x="6585424" y="90980"/>
                        <a:pt x="6627443" y="86813"/>
                      </a:cubicBezTo>
                      <a:cubicBezTo>
                        <a:pt x="6643876" y="85183"/>
                        <a:pt x="6659547" y="78131"/>
                        <a:pt x="6676081" y="78131"/>
                      </a:cubicBezTo>
                      <a:cubicBezTo>
                        <a:pt x="6702223" y="78131"/>
                        <a:pt x="6727962" y="83919"/>
                        <a:pt x="6753902" y="86813"/>
                      </a:cubicBezTo>
                      <a:cubicBezTo>
                        <a:pt x="6734727" y="138151"/>
                        <a:pt x="6723128" y="143323"/>
                        <a:pt x="6744174" y="199669"/>
                      </a:cubicBezTo>
                      <a:cubicBezTo>
                        <a:pt x="6747074" y="207434"/>
                        <a:pt x="6755766" y="212820"/>
                        <a:pt x="6763630" y="217031"/>
                      </a:cubicBezTo>
                      <a:cubicBezTo>
                        <a:pt x="6772423" y="221740"/>
                        <a:pt x="6783085" y="222819"/>
                        <a:pt x="6792813" y="225713"/>
                      </a:cubicBezTo>
                      <a:cubicBezTo>
                        <a:pt x="6815511" y="222819"/>
                        <a:pt x="6840033" y="225498"/>
                        <a:pt x="6860906" y="217031"/>
                      </a:cubicBezTo>
                      <a:cubicBezTo>
                        <a:pt x="6876394" y="210748"/>
                        <a:pt x="6909841" y="173096"/>
                        <a:pt x="6919272" y="156262"/>
                      </a:cubicBezTo>
                      <a:cubicBezTo>
                        <a:pt x="6923858" y="148078"/>
                        <a:pt x="6922436" y="137248"/>
                        <a:pt x="6929000" y="130219"/>
                      </a:cubicBezTo>
                      <a:cubicBezTo>
                        <a:pt x="6955595" y="101738"/>
                        <a:pt x="6988861" y="97943"/>
                        <a:pt x="7026277" y="86813"/>
                      </a:cubicBezTo>
                      <a:cubicBezTo>
                        <a:pt x="7132703" y="55154"/>
                        <a:pt x="6971505" y="105643"/>
                        <a:pt x="7084643" y="60769"/>
                      </a:cubicBezTo>
                      <a:cubicBezTo>
                        <a:pt x="7126871" y="44020"/>
                        <a:pt x="7156297" y="40473"/>
                        <a:pt x="7201374" y="34725"/>
                      </a:cubicBezTo>
                      <a:cubicBezTo>
                        <a:pt x="7204584" y="34316"/>
                        <a:pt x="7207859" y="34725"/>
                        <a:pt x="7211102" y="34725"/>
                      </a:cubicBezTo>
                      <a:lnTo>
                        <a:pt x="7337562" y="34725"/>
                      </a:lnTo>
                      <a:close/>
                    </a:path>
                  </a:pathLst>
                </a:custGeom>
                <a:gradFill rotWithShape="0">
                  <a:gsLst>
                    <a:gs pos="0">
                      <a:srgbClr val="c6efff"/>
                    </a:gs>
                    <a:gs pos="31000">
                      <a:srgbClr val="c6efff">
                        <a:alpha val="46000"/>
                      </a:srgbClr>
                    </a:gs>
                    <a:gs pos="100000">
                      <a:srgbClr val="ffffff"/>
                    </a:gs>
                  </a:gsLst>
                  <a:lin ang="5400000"/>
                </a:gradFill>
                <a:ln w="3175">
                  <a:noFill/>
                </a:ln>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defTabSz="457200">
                    <a:lnSpc>
                      <a:spcPct val="100000"/>
                    </a:lnSpc>
                    <a:tabLst>
                      <a:tab algn="l" pos="0"/>
                    </a:tabLst>
                  </a:pPr>
                  <a:endParaRPr b="0" lang="de-DE" sz="1600" spc="-1" strike="noStrike">
                    <a:solidFill>
                      <a:srgbClr val="000000"/>
                    </a:solidFill>
                    <a:latin typeface="Arial"/>
                    <a:ea typeface="Arial"/>
                  </a:endParaRPr>
                </a:p>
              </p:txBody>
            </p:sp>
            <p:sp>
              <p:nvSpPr>
                <p:cNvPr id="364" name="Freeform 3"/>
                <p:cNvSpPr/>
                <p:nvPr/>
              </p:nvSpPr>
              <p:spPr>
                <a:xfrm>
                  <a:off x="5676840" y="4687200"/>
                  <a:ext cx="455400" cy="910440"/>
                </a:xfrm>
                <a:custGeom>
                  <a:avLst/>
                  <a:gdLst>
                    <a:gd name="textAreaLeft" fmla="*/ 0 w 455400"/>
                    <a:gd name="textAreaRight" fmla="*/ 455760 w 455400"/>
                    <a:gd name="textAreaTop" fmla="*/ 0 h 910440"/>
                    <a:gd name="textAreaBottom" fmla="*/ 910800 h 910440"/>
                  </a:gdLst>
                  <a:ahLst/>
                  <a:rect l="textAreaLeft" t="textAreaTop" r="textAreaRight" b="textAreaBottom"/>
                  <a:pathLst>
                    <a:path w="456739" h="912706">
                      <a:moveTo>
                        <a:pt x="110368" y="829995"/>
                      </a:moveTo>
                      <a:lnTo>
                        <a:pt x="119232" y="844463"/>
                      </a:lnTo>
                      <a:lnTo>
                        <a:pt x="130773" y="868050"/>
                      </a:lnTo>
                      <a:lnTo>
                        <a:pt x="160781" y="887087"/>
                      </a:lnTo>
                      <a:lnTo>
                        <a:pt x="193096" y="895063"/>
                      </a:lnTo>
                      <a:lnTo>
                        <a:pt x="182709" y="911097"/>
                      </a:lnTo>
                      <a:lnTo>
                        <a:pt x="160781" y="912706"/>
                      </a:lnTo>
                      <a:lnTo>
                        <a:pt x="149010" y="901361"/>
                      </a:lnTo>
                      <a:lnTo>
                        <a:pt x="135102" y="900503"/>
                      </a:lnTo>
                      <a:lnTo>
                        <a:pt x="110383" y="900486"/>
                      </a:lnTo>
                      <a:close/>
                      <a:moveTo>
                        <a:pt x="164858" y="0"/>
                      </a:moveTo>
                      <a:lnTo>
                        <a:pt x="195061" y="5897"/>
                      </a:lnTo>
                      <a:lnTo>
                        <a:pt x="208631" y="23421"/>
                      </a:lnTo>
                      <a:lnTo>
                        <a:pt x="217637" y="3905"/>
                      </a:lnTo>
                      <a:lnTo>
                        <a:pt x="243960" y="4906"/>
                      </a:lnTo>
                      <a:lnTo>
                        <a:pt x="247686" y="10093"/>
                      </a:lnTo>
                      <a:lnTo>
                        <a:pt x="290123" y="49799"/>
                      </a:lnTo>
                      <a:lnTo>
                        <a:pt x="308995" y="53516"/>
                      </a:lnTo>
                      <a:lnTo>
                        <a:pt x="337198" y="71606"/>
                      </a:lnTo>
                      <a:lnTo>
                        <a:pt x="360972" y="81206"/>
                      </a:lnTo>
                      <a:lnTo>
                        <a:pt x="364285" y="92068"/>
                      </a:lnTo>
                      <a:lnTo>
                        <a:pt x="341560" y="129675"/>
                      </a:lnTo>
                      <a:lnTo>
                        <a:pt x="364837" y="136442"/>
                      </a:lnTo>
                      <a:lnTo>
                        <a:pt x="390760" y="140240"/>
                      </a:lnTo>
                      <a:lnTo>
                        <a:pt x="409015" y="136241"/>
                      </a:lnTo>
                      <a:lnTo>
                        <a:pt x="429953" y="117223"/>
                      </a:lnTo>
                      <a:lnTo>
                        <a:pt x="433727" y="95410"/>
                      </a:lnTo>
                      <a:lnTo>
                        <a:pt x="445158" y="90688"/>
                      </a:lnTo>
                      <a:lnTo>
                        <a:pt x="456739" y="104928"/>
                      </a:lnTo>
                      <a:lnTo>
                        <a:pt x="456268" y="124703"/>
                      </a:lnTo>
                      <a:lnTo>
                        <a:pt x="436833" y="138405"/>
                      </a:lnTo>
                      <a:lnTo>
                        <a:pt x="421331" y="148551"/>
                      </a:lnTo>
                      <a:lnTo>
                        <a:pt x="395280" y="172842"/>
                      </a:lnTo>
                      <a:lnTo>
                        <a:pt x="364482" y="207196"/>
                      </a:lnTo>
                      <a:lnTo>
                        <a:pt x="358716" y="227495"/>
                      </a:lnTo>
                      <a:lnTo>
                        <a:pt x="352541" y="253724"/>
                      </a:lnTo>
                      <a:lnTo>
                        <a:pt x="352767" y="279313"/>
                      </a:lnTo>
                      <a:lnTo>
                        <a:pt x="347759" y="285056"/>
                      </a:lnTo>
                      <a:lnTo>
                        <a:pt x="345971" y="301779"/>
                      </a:lnTo>
                      <a:lnTo>
                        <a:pt x="344393" y="315344"/>
                      </a:lnTo>
                      <a:lnTo>
                        <a:pt x="373699" y="337713"/>
                      </a:lnTo>
                      <a:lnTo>
                        <a:pt x="370548" y="355821"/>
                      </a:lnTo>
                      <a:lnTo>
                        <a:pt x="384972" y="367316"/>
                      </a:lnTo>
                      <a:lnTo>
                        <a:pt x="383799" y="380248"/>
                      </a:lnTo>
                      <a:lnTo>
                        <a:pt x="361619" y="414438"/>
                      </a:lnTo>
                      <a:lnTo>
                        <a:pt x="327395" y="428845"/>
                      </a:lnTo>
                      <a:lnTo>
                        <a:pt x="281100" y="434456"/>
                      </a:lnTo>
                      <a:lnTo>
                        <a:pt x="255744" y="431741"/>
                      </a:lnTo>
                      <a:lnTo>
                        <a:pt x="260596" y="447852"/>
                      </a:lnTo>
                      <a:lnTo>
                        <a:pt x="255869" y="468189"/>
                      </a:lnTo>
                      <a:lnTo>
                        <a:pt x="260129" y="481967"/>
                      </a:lnTo>
                      <a:lnTo>
                        <a:pt x="246283" y="491617"/>
                      </a:lnTo>
                      <a:lnTo>
                        <a:pt x="222631" y="495411"/>
                      </a:lnTo>
                      <a:lnTo>
                        <a:pt x="200435" y="485413"/>
                      </a:lnTo>
                      <a:lnTo>
                        <a:pt x="191526" y="492594"/>
                      </a:lnTo>
                      <a:lnTo>
                        <a:pt x="194745" y="520021"/>
                      </a:lnTo>
                      <a:lnTo>
                        <a:pt x="210330" y="528379"/>
                      </a:lnTo>
                      <a:lnTo>
                        <a:pt x="222967" y="519624"/>
                      </a:lnTo>
                      <a:lnTo>
                        <a:pt x="229843" y="534060"/>
                      </a:lnTo>
                      <a:lnTo>
                        <a:pt x="208589" y="542721"/>
                      </a:lnTo>
                      <a:lnTo>
                        <a:pt x="190054" y="560148"/>
                      </a:lnTo>
                      <a:lnTo>
                        <a:pt x="186660" y="588565"/>
                      </a:lnTo>
                      <a:lnTo>
                        <a:pt x="181203" y="603806"/>
                      </a:lnTo>
                      <a:lnTo>
                        <a:pt x="159397" y="603887"/>
                      </a:lnTo>
                      <a:lnTo>
                        <a:pt x="141304" y="618547"/>
                      </a:lnTo>
                      <a:lnTo>
                        <a:pt x="134685" y="640147"/>
                      </a:lnTo>
                      <a:lnTo>
                        <a:pt x="157386" y="661402"/>
                      </a:lnTo>
                      <a:lnTo>
                        <a:pt x="179454" y="667302"/>
                      </a:lnTo>
                      <a:lnTo>
                        <a:pt x="171512" y="693635"/>
                      </a:lnTo>
                      <a:lnTo>
                        <a:pt x="144249" y="710326"/>
                      </a:lnTo>
                      <a:lnTo>
                        <a:pt x="129248" y="745359"/>
                      </a:lnTo>
                      <a:lnTo>
                        <a:pt x="108181" y="757257"/>
                      </a:lnTo>
                      <a:lnTo>
                        <a:pt x="98722" y="771452"/>
                      </a:lnTo>
                      <a:lnTo>
                        <a:pt x="106177" y="803218"/>
                      </a:lnTo>
                      <a:lnTo>
                        <a:pt x="121540" y="821100"/>
                      </a:lnTo>
                      <a:lnTo>
                        <a:pt x="111810" y="819534"/>
                      </a:lnTo>
                      <a:lnTo>
                        <a:pt x="90416" y="814684"/>
                      </a:lnTo>
                      <a:lnTo>
                        <a:pt x="34638" y="810552"/>
                      </a:lnTo>
                      <a:lnTo>
                        <a:pt x="25068" y="792617"/>
                      </a:lnTo>
                      <a:lnTo>
                        <a:pt x="25517" y="769765"/>
                      </a:lnTo>
                      <a:lnTo>
                        <a:pt x="10149" y="771723"/>
                      </a:lnTo>
                      <a:lnTo>
                        <a:pt x="2017" y="760723"/>
                      </a:lnTo>
                      <a:lnTo>
                        <a:pt x="0" y="728828"/>
                      </a:lnTo>
                      <a:lnTo>
                        <a:pt x="17708" y="715713"/>
                      </a:lnTo>
                      <a:lnTo>
                        <a:pt x="25028" y="696910"/>
                      </a:lnTo>
                      <a:lnTo>
                        <a:pt x="22346" y="682017"/>
                      </a:lnTo>
                      <a:lnTo>
                        <a:pt x="34582" y="657061"/>
                      </a:lnTo>
                      <a:lnTo>
                        <a:pt x="43013" y="618800"/>
                      </a:lnTo>
                      <a:lnTo>
                        <a:pt x="40536" y="602005"/>
                      </a:lnTo>
                      <a:lnTo>
                        <a:pt x="50612" y="596607"/>
                      </a:lnTo>
                      <a:lnTo>
                        <a:pt x="48142" y="585902"/>
                      </a:lnTo>
                      <a:lnTo>
                        <a:pt x="37435" y="580225"/>
                      </a:lnTo>
                      <a:lnTo>
                        <a:pt x="45043" y="568374"/>
                      </a:lnTo>
                      <a:lnTo>
                        <a:pt x="34624" y="557708"/>
                      </a:lnTo>
                      <a:lnTo>
                        <a:pt x="29235" y="525485"/>
                      </a:lnTo>
                      <a:lnTo>
                        <a:pt x="38516" y="519837"/>
                      </a:lnTo>
                      <a:lnTo>
                        <a:pt x="34617" y="486226"/>
                      </a:lnTo>
                      <a:lnTo>
                        <a:pt x="40041" y="458271"/>
                      </a:lnTo>
                      <a:lnTo>
                        <a:pt x="46209" y="434121"/>
                      </a:lnTo>
                      <a:lnTo>
                        <a:pt x="60032" y="424346"/>
                      </a:lnTo>
                      <a:lnTo>
                        <a:pt x="53016" y="398208"/>
                      </a:lnTo>
                      <a:lnTo>
                        <a:pt x="52941" y="373796"/>
                      </a:lnTo>
                      <a:lnTo>
                        <a:pt x="70417" y="356551"/>
                      </a:lnTo>
                      <a:lnTo>
                        <a:pt x="69880" y="334614"/>
                      </a:lnTo>
                      <a:lnTo>
                        <a:pt x="83054" y="309155"/>
                      </a:lnTo>
                      <a:lnTo>
                        <a:pt x="83113" y="285332"/>
                      </a:lnTo>
                      <a:lnTo>
                        <a:pt x="77120" y="280619"/>
                      </a:lnTo>
                      <a:lnTo>
                        <a:pt x="66486" y="236367"/>
                      </a:lnTo>
                      <a:lnTo>
                        <a:pt x="80707" y="210235"/>
                      </a:lnTo>
                      <a:lnTo>
                        <a:pt x="78524" y="185788"/>
                      </a:lnTo>
                      <a:lnTo>
                        <a:pt x="86775" y="162977"/>
                      </a:lnTo>
                      <a:lnTo>
                        <a:pt x="101891" y="139561"/>
                      </a:lnTo>
                      <a:lnTo>
                        <a:pt x="118181" y="124104"/>
                      </a:lnTo>
                      <a:lnTo>
                        <a:pt x="111273" y="114378"/>
                      </a:lnTo>
                      <a:lnTo>
                        <a:pt x="116093" y="106415"/>
                      </a:lnTo>
                      <a:lnTo>
                        <a:pt x="115362" y="65405"/>
                      </a:lnTo>
                      <a:lnTo>
                        <a:pt x="140504" y="53333"/>
                      </a:lnTo>
                      <a:lnTo>
                        <a:pt x="148426" y="27998"/>
                      </a:lnTo>
                      <a:lnTo>
                        <a:pt x="145623" y="21910"/>
                      </a:lnTo>
                      <a:close/>
                    </a:path>
                  </a:pathLst>
                </a:custGeom>
                <a:solidFill>
                  <a:schemeClr val="accent1">
                    <a:lumMod val="20000"/>
                    <a:lumOff val="80000"/>
                  </a:schemeClr>
                </a:solidFill>
                <a:ln cap="rnd" w="3175">
                  <a:solidFill>
                    <a:srgbClr val="009fdf">
                      <a:lumMod val="60000"/>
                      <a:lumOff val="40000"/>
                    </a:srgbClr>
                  </a:solidFill>
                </a:ln>
              </p:spPr>
              <p:style>
                <a:lnRef idx="2">
                  <a:schemeClr val="accent1">
                    <a:shade val="50000"/>
                  </a:schemeClr>
                </a:lnRef>
                <a:fillRef idx="1">
                  <a:schemeClr val="accent1"/>
                </a:fillRef>
                <a:effectRef idx="0">
                  <a:schemeClr val="accent1"/>
                </a:effectRef>
                <a:fontRef idx="minor"/>
              </p:style>
              <p:txBody>
                <a:bodyPr numCol="1" spcCol="0" horzOverflow="overflow" lIns="72000" rIns="72000" tIns="72000" bIns="72000" anchor="ctr">
                  <a:noAutofit/>
                </a:bodyPr>
                <a:p>
                  <a:pPr algn="ctr" defTabSz="457200">
                    <a:lnSpc>
                      <a:spcPct val="100000"/>
                    </a:lnSpc>
                    <a:tabLst>
                      <a:tab algn="l" pos="0"/>
                    </a:tabLst>
                  </a:pPr>
                  <a:endParaRPr b="0" lang="de-DE" sz="1600" spc="-1" strike="noStrike">
                    <a:solidFill>
                      <a:srgbClr val="000000"/>
                    </a:solidFill>
                    <a:latin typeface="Arial"/>
                    <a:ea typeface="Arial"/>
                  </a:endParaRPr>
                </a:p>
              </p:txBody>
            </p:sp>
            <p:sp>
              <p:nvSpPr>
                <p:cNvPr id="365" name="Freeform 4"/>
                <p:cNvSpPr/>
                <p:nvPr/>
              </p:nvSpPr>
              <p:spPr>
                <a:xfrm>
                  <a:off x="5548680" y="3538080"/>
                  <a:ext cx="45360" cy="81360"/>
                </a:xfrm>
                <a:custGeom>
                  <a:avLst/>
                  <a:gdLst>
                    <a:gd name="textAreaLeft" fmla="*/ 0 w 45360"/>
                    <a:gd name="textAreaRight" fmla="*/ 45720 w 45360"/>
                    <a:gd name="textAreaTop" fmla="*/ 0 h 81360"/>
                    <a:gd name="textAreaBottom" fmla="*/ 81720 h 81360"/>
                  </a:gdLst>
                  <a:ahLst/>
                  <a:rect l="textAreaLeft" t="textAreaTop" r="textAreaRight" b="textAreaBottom"/>
                  <a:pathLst>
                    <a:path w="45703" h="81965">
                      <a:moveTo>
                        <a:pt x="18215" y="45210"/>
                      </a:moveTo>
                      <a:lnTo>
                        <a:pt x="25160" y="46201"/>
                      </a:lnTo>
                      <a:lnTo>
                        <a:pt x="33239" y="66564"/>
                      </a:lnTo>
                      <a:lnTo>
                        <a:pt x="33362" y="80750"/>
                      </a:lnTo>
                      <a:lnTo>
                        <a:pt x="27699" y="81965"/>
                      </a:lnTo>
                      <a:lnTo>
                        <a:pt x="21835" y="67882"/>
                      </a:lnTo>
                      <a:lnTo>
                        <a:pt x="13192" y="60792"/>
                      </a:lnTo>
                      <a:close/>
                      <a:moveTo>
                        <a:pt x="10849" y="4219"/>
                      </a:moveTo>
                      <a:lnTo>
                        <a:pt x="26083" y="4963"/>
                      </a:lnTo>
                      <a:lnTo>
                        <a:pt x="26776" y="11407"/>
                      </a:lnTo>
                      <a:lnTo>
                        <a:pt x="1615" y="15369"/>
                      </a:lnTo>
                      <a:lnTo>
                        <a:pt x="0" y="6203"/>
                      </a:lnTo>
                      <a:close/>
                      <a:moveTo>
                        <a:pt x="27468" y="0"/>
                      </a:moveTo>
                      <a:lnTo>
                        <a:pt x="45703" y="11160"/>
                      </a:lnTo>
                      <a:lnTo>
                        <a:pt x="41721" y="28733"/>
                      </a:lnTo>
                      <a:lnTo>
                        <a:pt x="37477" y="25570"/>
                      </a:lnTo>
                      <a:lnTo>
                        <a:pt x="37855" y="12646"/>
                      </a:lnTo>
                      <a:lnTo>
                        <a:pt x="27514" y="2850"/>
                      </a:lnTo>
                      <a:close/>
                    </a:path>
                  </a:pathLst>
                </a:custGeom>
                <a:solidFill>
                  <a:schemeClr val="accent1"/>
                </a:solidFill>
                <a:ln cap="rnd" w="3175">
                  <a:solidFill>
                    <a:srgbClr val="009fdf">
                      <a:lumMod val="60000"/>
                      <a:lumOff val="40000"/>
                    </a:srgbClr>
                  </a:solidFill>
                </a:ln>
              </p:spPr>
              <p:style>
                <a:lnRef idx="2">
                  <a:schemeClr val="accent1">
                    <a:shade val="50000"/>
                  </a:schemeClr>
                </a:lnRef>
                <a:fillRef idx="1">
                  <a:schemeClr val="accent1"/>
                </a:fillRef>
                <a:effectRef idx="0">
                  <a:schemeClr val="accent1"/>
                </a:effectRef>
                <a:fontRef idx="minor"/>
              </p:style>
              <p:txBody>
                <a:bodyPr numCol="1" spcCol="0" horzOverflow="overflow" lIns="72000" rIns="72000" tIns="40680" bIns="40680" anchor="ctr">
                  <a:noAutofit/>
                </a:bodyPr>
                <a:p>
                  <a:pPr algn="ctr" defTabSz="457200">
                    <a:lnSpc>
                      <a:spcPct val="100000"/>
                    </a:lnSpc>
                    <a:tabLst>
                      <a:tab algn="l" pos="0"/>
                    </a:tabLst>
                  </a:pPr>
                  <a:endParaRPr b="0" lang="de-DE" sz="1600" spc="-1" strike="noStrike">
                    <a:solidFill>
                      <a:srgbClr val="000000"/>
                    </a:solidFill>
                    <a:latin typeface="Arial"/>
                    <a:ea typeface="Arial"/>
                  </a:endParaRPr>
                </a:p>
              </p:txBody>
            </p:sp>
            <p:sp>
              <p:nvSpPr>
                <p:cNvPr id="366" name="Freeform 5"/>
                <p:cNvSpPr/>
                <p:nvPr/>
              </p:nvSpPr>
              <p:spPr>
                <a:xfrm>
                  <a:off x="5312520" y="3745440"/>
                  <a:ext cx="25560" cy="61560"/>
                </a:xfrm>
                <a:custGeom>
                  <a:avLst/>
                  <a:gdLst/>
                  <a:ahLst/>
                  <a:rect l="l" t="t" r="r" b="b"/>
                  <a:pathLst>
                    <a:path w="25907" h="62101">
                      <a:moveTo>
                        <a:pt x="1986" y="16492"/>
                      </a:moveTo>
                      <a:lnTo>
                        <a:pt x="1805" y="12987"/>
                      </a:lnTo>
                      <a:lnTo>
                        <a:pt x="4599" y="11890"/>
                      </a:lnTo>
                      <a:lnTo>
                        <a:pt x="8789" y="14709"/>
                      </a:lnTo>
                      <a:lnTo>
                        <a:pt x="17058" y="314"/>
                      </a:lnTo>
                      <a:lnTo>
                        <a:pt x="21445" y="0"/>
                      </a:lnTo>
                      <a:lnTo>
                        <a:pt x="21531" y="3502"/>
                      </a:lnTo>
                      <a:lnTo>
                        <a:pt x="25906" y="3611"/>
                      </a:lnTo>
                      <a:lnTo>
                        <a:pt x="25521" y="10099"/>
                      </a:lnTo>
                      <a:lnTo>
                        <a:pt x="21784" y="20401"/>
                      </a:lnTo>
                      <a:lnTo>
                        <a:pt x="23804" y="24081"/>
                      </a:lnTo>
                      <a:lnTo>
                        <a:pt x="21385" y="32587"/>
                      </a:lnTo>
                      <a:lnTo>
                        <a:pt x="22842" y="34859"/>
                      </a:lnTo>
                      <a:lnTo>
                        <a:pt x="20167" y="46850"/>
                      </a:lnTo>
                      <a:lnTo>
                        <a:pt x="15633" y="53138"/>
                      </a:lnTo>
                      <a:lnTo>
                        <a:pt x="11464" y="53892"/>
                      </a:lnTo>
                      <a:lnTo>
                        <a:pt x="6890" y="62093"/>
                      </a:lnTo>
                      <a:lnTo>
                        <a:pt x="0" y="62100"/>
                      </a:lnTo>
                      <a:lnTo>
                        <a:pt x="1807" y="35346"/>
                      </a:lnTo>
                      <a:close/>
                    </a:path>
                  </a:pathLst>
                </a:custGeom>
                <a:solidFill>
                  <a:schemeClr val="accent1"/>
                </a:solidFill>
                <a:ln cap="rnd" w="3175">
                  <a:solidFill>
                    <a:srgbClr val="009fdf">
                      <a:lumMod val="60000"/>
                      <a:lumOff val="40000"/>
                    </a:srgbClr>
                  </a:solidFill>
                </a:ln>
              </p:spPr>
              <p:style>
                <a:lnRef idx="2">
                  <a:schemeClr val="accent1">
                    <a:shade val="50000"/>
                  </a:schemeClr>
                </a:lnRef>
                <a:fillRef idx="1">
                  <a:schemeClr val="accent1"/>
                </a:fillRef>
                <a:effectRef idx="0">
                  <a:schemeClr val="accent1"/>
                </a:effectRef>
                <a:fontRef idx="minor"/>
              </p:style>
              <p:txBody>
                <a:bodyPr numCol="1" spcCol="0" horzOverflow="overflow" lIns="72000" rIns="72000" tIns="30600" bIns="30600" anchor="ctr">
                  <a:noAutofit/>
                </a:bodyPr>
                <a:p>
                  <a:pPr algn="ctr" defTabSz="457200">
                    <a:lnSpc>
                      <a:spcPct val="100000"/>
                    </a:lnSpc>
                    <a:tabLst>
                      <a:tab algn="l" pos="0"/>
                    </a:tabLst>
                  </a:pPr>
                  <a:endParaRPr b="0" lang="de-DE" sz="1600" spc="-1" strike="noStrike">
                    <a:solidFill>
                      <a:srgbClr val="000000"/>
                    </a:solidFill>
                    <a:latin typeface="Arial"/>
                    <a:ea typeface="Arial"/>
                  </a:endParaRPr>
                </a:p>
              </p:txBody>
            </p:sp>
            <p:sp>
              <p:nvSpPr>
                <p:cNvPr id="367" name="Freeform 6"/>
                <p:cNvSpPr/>
                <p:nvPr/>
              </p:nvSpPr>
              <p:spPr>
                <a:xfrm>
                  <a:off x="5765040" y="4402080"/>
                  <a:ext cx="278280" cy="310320"/>
                </a:xfrm>
                <a:custGeom>
                  <a:avLst/>
                  <a:gdLst/>
                  <a:ahLst/>
                  <a:rect l="l" t="t" r="r" b="b"/>
                  <a:pathLst>
                    <a:path w="279118" h="311147">
                      <a:moveTo>
                        <a:pt x="155669" y="290812"/>
                      </a:moveTo>
                      <a:lnTo>
                        <a:pt x="129346" y="289811"/>
                      </a:lnTo>
                      <a:lnTo>
                        <a:pt x="120340" y="309327"/>
                      </a:lnTo>
                      <a:lnTo>
                        <a:pt x="106770" y="291803"/>
                      </a:lnTo>
                      <a:lnTo>
                        <a:pt x="76567" y="285906"/>
                      </a:lnTo>
                      <a:lnTo>
                        <a:pt x="57332" y="307816"/>
                      </a:lnTo>
                      <a:lnTo>
                        <a:pt x="40678" y="311146"/>
                      </a:lnTo>
                      <a:lnTo>
                        <a:pt x="31635" y="277734"/>
                      </a:lnTo>
                      <a:lnTo>
                        <a:pt x="19234" y="250695"/>
                      </a:lnTo>
                      <a:lnTo>
                        <a:pt x="26504" y="227471"/>
                      </a:lnTo>
                      <a:lnTo>
                        <a:pt x="14395" y="217336"/>
                      </a:lnTo>
                      <a:lnTo>
                        <a:pt x="11315" y="200101"/>
                      </a:lnTo>
                      <a:lnTo>
                        <a:pt x="0" y="183898"/>
                      </a:lnTo>
                      <a:lnTo>
                        <a:pt x="14561" y="158262"/>
                      </a:lnTo>
                      <a:lnTo>
                        <a:pt x="4632" y="138360"/>
                      </a:lnTo>
                      <a:lnTo>
                        <a:pt x="9928" y="130415"/>
                      </a:lnTo>
                      <a:lnTo>
                        <a:pt x="5792" y="121662"/>
                      </a:lnTo>
                      <a:lnTo>
                        <a:pt x="14809" y="109883"/>
                      </a:lnTo>
                      <a:lnTo>
                        <a:pt x="15262" y="89858"/>
                      </a:lnTo>
                      <a:lnTo>
                        <a:pt x="16397" y="73350"/>
                      </a:lnTo>
                      <a:lnTo>
                        <a:pt x="21360" y="65413"/>
                      </a:lnTo>
                      <a:lnTo>
                        <a:pt x="1402" y="27753"/>
                      </a:lnTo>
                      <a:lnTo>
                        <a:pt x="18565" y="29730"/>
                      </a:lnTo>
                      <a:lnTo>
                        <a:pt x="30450" y="29220"/>
                      </a:lnTo>
                      <a:lnTo>
                        <a:pt x="35599" y="22157"/>
                      </a:lnTo>
                      <a:lnTo>
                        <a:pt x="55782" y="12701"/>
                      </a:lnTo>
                      <a:lnTo>
                        <a:pt x="67944" y="3947"/>
                      </a:lnTo>
                      <a:lnTo>
                        <a:pt x="98148" y="0"/>
                      </a:lnTo>
                      <a:lnTo>
                        <a:pt x="95691" y="17475"/>
                      </a:lnTo>
                      <a:lnTo>
                        <a:pt x="98529" y="26448"/>
                      </a:lnTo>
                      <a:lnTo>
                        <a:pt x="96674" y="42115"/>
                      </a:lnTo>
                      <a:lnTo>
                        <a:pt x="121740" y="63085"/>
                      </a:lnTo>
                      <a:lnTo>
                        <a:pt x="147589" y="66954"/>
                      </a:lnTo>
                      <a:lnTo>
                        <a:pt x="156671" y="75718"/>
                      </a:lnTo>
                      <a:lnTo>
                        <a:pt x="172274" y="80369"/>
                      </a:lnTo>
                      <a:lnTo>
                        <a:pt x="181828" y="87191"/>
                      </a:lnTo>
                      <a:lnTo>
                        <a:pt x="196348" y="86960"/>
                      </a:lnTo>
                      <a:lnTo>
                        <a:pt x="209755" y="93931"/>
                      </a:lnTo>
                      <a:lnTo>
                        <a:pt x="210773" y="107536"/>
                      </a:lnTo>
                      <a:lnTo>
                        <a:pt x="215272" y="114416"/>
                      </a:lnTo>
                      <a:lnTo>
                        <a:pt x="215576" y="124589"/>
                      </a:lnTo>
                      <a:lnTo>
                        <a:pt x="208840" y="124983"/>
                      </a:lnTo>
                      <a:lnTo>
                        <a:pt x="217717" y="152517"/>
                      </a:lnTo>
                      <a:lnTo>
                        <a:pt x="261970" y="153495"/>
                      </a:lnTo>
                      <a:lnTo>
                        <a:pt x="258581" y="167192"/>
                      </a:lnTo>
                      <a:lnTo>
                        <a:pt x="261057" y="176565"/>
                      </a:lnTo>
                      <a:lnTo>
                        <a:pt x="273665" y="183242"/>
                      </a:lnTo>
                      <a:lnTo>
                        <a:pt x="279117" y="198051"/>
                      </a:lnTo>
                      <a:lnTo>
                        <a:pt x="275017" y="216862"/>
                      </a:lnTo>
                      <a:lnTo>
                        <a:pt x="268693" y="227349"/>
                      </a:lnTo>
                      <a:lnTo>
                        <a:pt x="270913" y="241019"/>
                      </a:lnTo>
                      <a:lnTo>
                        <a:pt x="263697" y="245985"/>
                      </a:lnTo>
                      <a:lnTo>
                        <a:pt x="263303" y="238581"/>
                      </a:lnTo>
                      <a:lnTo>
                        <a:pt x="241800" y="226317"/>
                      </a:lnTo>
                      <a:lnTo>
                        <a:pt x="220367" y="225978"/>
                      </a:lnTo>
                      <a:lnTo>
                        <a:pt x="180140" y="232951"/>
                      </a:lnTo>
                      <a:lnTo>
                        <a:pt x="169069" y="254089"/>
                      </a:lnTo>
                      <a:lnTo>
                        <a:pt x="168486" y="267047"/>
                      </a:lnTo>
                      <a:lnTo>
                        <a:pt x="159395" y="295999"/>
                      </a:lnTo>
                      <a:close/>
                    </a:path>
                  </a:pathLst>
                </a:custGeom>
                <a:solidFill>
                  <a:schemeClr val="accent1">
                    <a:lumMod val="20000"/>
                    <a:lumOff val="80000"/>
                  </a:schemeClr>
                </a:solidFill>
                <a:ln cap="rnd" w="3175">
                  <a:solidFill>
                    <a:srgbClr val="009fdf">
                      <a:lumMod val="60000"/>
                      <a:lumOff val="40000"/>
                    </a:srgbClr>
                  </a:solidFill>
                </a:ln>
              </p:spPr>
              <p:style>
                <a:lnRef idx="2">
                  <a:schemeClr val="accent1">
                    <a:shade val="50000"/>
                  </a:schemeClr>
                </a:lnRef>
                <a:fillRef idx="1">
                  <a:schemeClr val="accent1"/>
                </a:fillRef>
                <a:effectRef idx="0">
                  <a:schemeClr val="accent1"/>
                </a:effectRef>
                <a:fontRef idx="minor"/>
              </p:style>
              <p:txBody>
                <a:bodyPr numCol="1" spcCol="0" horzOverflow="overflow" lIns="72000" rIns="72000" tIns="72000" bIns="72000" anchor="ctr">
                  <a:noAutofit/>
                </a:bodyPr>
                <a:p>
                  <a:pPr algn="ctr" defTabSz="457200">
                    <a:lnSpc>
                      <a:spcPct val="100000"/>
                    </a:lnSpc>
                    <a:tabLst>
                      <a:tab algn="l" pos="0"/>
                    </a:tabLst>
                  </a:pPr>
                  <a:endParaRPr b="0" lang="de-DE" sz="1600" spc="-1" strike="noStrike">
                    <a:solidFill>
                      <a:srgbClr val="000000"/>
                    </a:solidFill>
                    <a:latin typeface="Arial"/>
                    <a:ea typeface="Arial"/>
                  </a:endParaRPr>
                </a:p>
              </p:txBody>
            </p:sp>
            <p:sp>
              <p:nvSpPr>
                <p:cNvPr id="368" name="Freeform 7"/>
                <p:cNvSpPr/>
                <p:nvPr/>
              </p:nvSpPr>
              <p:spPr>
                <a:xfrm>
                  <a:off x="5663880" y="4055400"/>
                  <a:ext cx="903960" cy="929160"/>
                </a:xfrm>
                <a:custGeom>
                  <a:avLst/>
                  <a:gdLst/>
                  <a:ahLst/>
                  <a:rect l="l" t="t" r="r" b="b"/>
                  <a:pathLst>
                    <a:path w="906163" h="931228">
                      <a:moveTo>
                        <a:pt x="377681" y="840301"/>
                      </a:moveTo>
                      <a:lnTo>
                        <a:pt x="408479" y="805947"/>
                      </a:lnTo>
                      <a:lnTo>
                        <a:pt x="434530" y="781656"/>
                      </a:lnTo>
                      <a:lnTo>
                        <a:pt x="450032" y="771510"/>
                      </a:lnTo>
                      <a:lnTo>
                        <a:pt x="469467" y="757808"/>
                      </a:lnTo>
                      <a:lnTo>
                        <a:pt x="469938" y="738033"/>
                      </a:lnTo>
                      <a:lnTo>
                        <a:pt x="458357" y="723793"/>
                      </a:lnTo>
                      <a:lnTo>
                        <a:pt x="446926" y="728515"/>
                      </a:lnTo>
                      <a:lnTo>
                        <a:pt x="451458" y="714307"/>
                      </a:lnTo>
                      <a:lnTo>
                        <a:pt x="454585" y="699790"/>
                      </a:lnTo>
                      <a:lnTo>
                        <a:pt x="454597" y="686333"/>
                      </a:lnTo>
                      <a:lnTo>
                        <a:pt x="446290" y="681900"/>
                      </a:lnTo>
                      <a:lnTo>
                        <a:pt x="437632" y="685850"/>
                      </a:lnTo>
                      <a:lnTo>
                        <a:pt x="429026" y="684766"/>
                      </a:lnTo>
                      <a:lnTo>
                        <a:pt x="426328" y="675369"/>
                      </a:lnTo>
                      <a:lnTo>
                        <a:pt x="424180" y="653064"/>
                      </a:lnTo>
                      <a:lnTo>
                        <a:pt x="419857" y="645815"/>
                      </a:lnTo>
                      <a:lnTo>
                        <a:pt x="404268" y="639254"/>
                      </a:lnTo>
                      <a:lnTo>
                        <a:pt x="394846" y="644001"/>
                      </a:lnTo>
                      <a:lnTo>
                        <a:pt x="370479" y="639349"/>
                      </a:lnTo>
                      <a:lnTo>
                        <a:pt x="372013" y="606559"/>
                      </a:lnTo>
                      <a:lnTo>
                        <a:pt x="365187" y="593184"/>
                      </a:lnTo>
                      <a:lnTo>
                        <a:pt x="372403" y="588218"/>
                      </a:lnTo>
                      <a:lnTo>
                        <a:pt x="370183" y="574548"/>
                      </a:lnTo>
                      <a:lnTo>
                        <a:pt x="376507" y="564061"/>
                      </a:lnTo>
                      <a:lnTo>
                        <a:pt x="380607" y="545250"/>
                      </a:lnTo>
                      <a:lnTo>
                        <a:pt x="375155" y="530441"/>
                      </a:lnTo>
                      <a:lnTo>
                        <a:pt x="362547" y="523764"/>
                      </a:lnTo>
                      <a:lnTo>
                        <a:pt x="360071" y="514391"/>
                      </a:lnTo>
                      <a:lnTo>
                        <a:pt x="363460" y="500694"/>
                      </a:lnTo>
                      <a:lnTo>
                        <a:pt x="319207" y="499716"/>
                      </a:lnTo>
                      <a:lnTo>
                        <a:pt x="310330" y="472182"/>
                      </a:lnTo>
                      <a:lnTo>
                        <a:pt x="317066" y="471788"/>
                      </a:lnTo>
                      <a:lnTo>
                        <a:pt x="316762" y="461615"/>
                      </a:lnTo>
                      <a:lnTo>
                        <a:pt x="312263" y="454735"/>
                      </a:lnTo>
                      <a:lnTo>
                        <a:pt x="311245" y="441130"/>
                      </a:lnTo>
                      <a:lnTo>
                        <a:pt x="297838" y="434159"/>
                      </a:lnTo>
                      <a:lnTo>
                        <a:pt x="283318" y="434390"/>
                      </a:lnTo>
                      <a:lnTo>
                        <a:pt x="273764" y="427568"/>
                      </a:lnTo>
                      <a:lnTo>
                        <a:pt x="258161" y="422917"/>
                      </a:lnTo>
                      <a:lnTo>
                        <a:pt x="249079" y="414153"/>
                      </a:lnTo>
                      <a:lnTo>
                        <a:pt x="223230" y="410284"/>
                      </a:lnTo>
                      <a:lnTo>
                        <a:pt x="198164" y="389314"/>
                      </a:lnTo>
                      <a:lnTo>
                        <a:pt x="200019" y="373647"/>
                      </a:lnTo>
                      <a:lnTo>
                        <a:pt x="197181" y="364674"/>
                      </a:lnTo>
                      <a:lnTo>
                        <a:pt x="199638" y="347199"/>
                      </a:lnTo>
                      <a:lnTo>
                        <a:pt x="169434" y="351146"/>
                      </a:lnTo>
                      <a:lnTo>
                        <a:pt x="157272" y="359900"/>
                      </a:lnTo>
                      <a:lnTo>
                        <a:pt x="137089" y="369356"/>
                      </a:lnTo>
                      <a:lnTo>
                        <a:pt x="131940" y="376419"/>
                      </a:lnTo>
                      <a:lnTo>
                        <a:pt x="120055" y="376929"/>
                      </a:lnTo>
                      <a:lnTo>
                        <a:pt x="102892" y="374952"/>
                      </a:lnTo>
                      <a:lnTo>
                        <a:pt x="89872" y="378975"/>
                      </a:lnTo>
                      <a:lnTo>
                        <a:pt x="79371" y="376293"/>
                      </a:lnTo>
                      <a:lnTo>
                        <a:pt x="80913" y="340867"/>
                      </a:lnTo>
                      <a:lnTo>
                        <a:pt x="61973" y="354598"/>
                      </a:lnTo>
                      <a:lnTo>
                        <a:pt x="41603" y="353995"/>
                      </a:lnTo>
                      <a:lnTo>
                        <a:pt x="32874" y="341567"/>
                      </a:lnTo>
                      <a:lnTo>
                        <a:pt x="17555" y="340217"/>
                      </a:lnTo>
                      <a:lnTo>
                        <a:pt x="22433" y="330223"/>
                      </a:lnTo>
                      <a:lnTo>
                        <a:pt x="9606" y="316075"/>
                      </a:lnTo>
                      <a:lnTo>
                        <a:pt x="0" y="295156"/>
                      </a:lnTo>
                      <a:lnTo>
                        <a:pt x="6090" y="290913"/>
                      </a:lnTo>
                      <a:lnTo>
                        <a:pt x="6065" y="281114"/>
                      </a:lnTo>
                      <a:lnTo>
                        <a:pt x="20018" y="274421"/>
                      </a:lnTo>
                      <a:lnTo>
                        <a:pt x="17717" y="261890"/>
                      </a:lnTo>
                      <a:lnTo>
                        <a:pt x="23607" y="253831"/>
                      </a:lnTo>
                      <a:lnTo>
                        <a:pt x="25283" y="243027"/>
                      </a:lnTo>
                      <a:lnTo>
                        <a:pt x="51678" y="227280"/>
                      </a:lnTo>
                      <a:lnTo>
                        <a:pt x="70596" y="222830"/>
                      </a:lnTo>
                      <a:lnTo>
                        <a:pt x="73691" y="219354"/>
                      </a:lnTo>
                      <a:lnTo>
                        <a:pt x="94491" y="220439"/>
                      </a:lnTo>
                      <a:lnTo>
                        <a:pt x="104868" y="157092"/>
                      </a:lnTo>
                      <a:lnTo>
                        <a:pt x="105413" y="147080"/>
                      </a:lnTo>
                      <a:lnTo>
                        <a:pt x="101799" y="133861"/>
                      </a:lnTo>
                      <a:lnTo>
                        <a:pt x="91559" y="125440"/>
                      </a:lnTo>
                      <a:lnTo>
                        <a:pt x="91677" y="108668"/>
                      </a:lnTo>
                      <a:lnTo>
                        <a:pt x="104676" y="104865"/>
                      </a:lnTo>
                      <a:lnTo>
                        <a:pt x="109292" y="107255"/>
                      </a:lnTo>
                      <a:lnTo>
                        <a:pt x="110072" y="98413"/>
                      </a:lnTo>
                      <a:lnTo>
                        <a:pt x="96547" y="96026"/>
                      </a:lnTo>
                      <a:lnTo>
                        <a:pt x="96261" y="81580"/>
                      </a:lnTo>
                      <a:lnTo>
                        <a:pt x="141235" y="82095"/>
                      </a:lnTo>
                      <a:lnTo>
                        <a:pt x="148870" y="74136"/>
                      </a:lnTo>
                      <a:lnTo>
                        <a:pt x="155283" y="81459"/>
                      </a:lnTo>
                      <a:lnTo>
                        <a:pt x="159783" y="95078"/>
                      </a:lnTo>
                      <a:lnTo>
                        <a:pt x="164139" y="92233"/>
                      </a:lnTo>
                      <a:lnTo>
                        <a:pt x="176847" y="104443"/>
                      </a:lnTo>
                      <a:lnTo>
                        <a:pt x="194794" y="102947"/>
                      </a:lnTo>
                      <a:lnTo>
                        <a:pt x="199262" y="95883"/>
                      </a:lnTo>
                      <a:lnTo>
                        <a:pt x="216428" y="90493"/>
                      </a:lnTo>
                      <a:lnTo>
                        <a:pt x="225932" y="86704"/>
                      </a:lnTo>
                      <a:lnTo>
                        <a:pt x="228614" y="76925"/>
                      </a:lnTo>
                      <a:lnTo>
                        <a:pt x="245102" y="70355"/>
                      </a:lnTo>
                      <a:lnTo>
                        <a:pt x="243854" y="65501"/>
                      </a:lnTo>
                      <a:lnTo>
                        <a:pt x="224300" y="63516"/>
                      </a:lnTo>
                      <a:lnTo>
                        <a:pt x="221095" y="48968"/>
                      </a:lnTo>
                      <a:lnTo>
                        <a:pt x="222026" y="33475"/>
                      </a:lnTo>
                      <a:lnTo>
                        <a:pt x="211695" y="27482"/>
                      </a:lnTo>
                      <a:lnTo>
                        <a:pt x="216021" y="25354"/>
                      </a:lnTo>
                      <a:lnTo>
                        <a:pt x="233109" y="28312"/>
                      </a:lnTo>
                      <a:lnTo>
                        <a:pt x="251464" y="34091"/>
                      </a:lnTo>
                      <a:lnTo>
                        <a:pt x="258127" y="28626"/>
                      </a:lnTo>
                      <a:lnTo>
                        <a:pt x="274726" y="25038"/>
                      </a:lnTo>
                      <a:lnTo>
                        <a:pt x="300545" y="16382"/>
                      </a:lnTo>
                      <a:lnTo>
                        <a:pt x="308986" y="7553"/>
                      </a:lnTo>
                      <a:lnTo>
                        <a:pt x="305930" y="1024"/>
                      </a:lnTo>
                      <a:lnTo>
                        <a:pt x="317930" y="0"/>
                      </a:lnTo>
                      <a:lnTo>
                        <a:pt x="323302" y="5333"/>
                      </a:lnTo>
                      <a:lnTo>
                        <a:pt x="320301" y="15491"/>
                      </a:lnTo>
                      <a:lnTo>
                        <a:pt x="328232" y="18994"/>
                      </a:lnTo>
                      <a:lnTo>
                        <a:pt x="333526" y="29739"/>
                      </a:lnTo>
                      <a:lnTo>
                        <a:pt x="327124" y="37883"/>
                      </a:lnTo>
                      <a:lnTo>
                        <a:pt x="323451" y="57552"/>
                      </a:lnTo>
                      <a:lnTo>
                        <a:pt x="329360" y="69230"/>
                      </a:lnTo>
                      <a:lnTo>
                        <a:pt x="331033" y="79915"/>
                      </a:lnTo>
                      <a:lnTo>
                        <a:pt x="345233" y="90748"/>
                      </a:lnTo>
                      <a:lnTo>
                        <a:pt x="356563" y="91893"/>
                      </a:lnTo>
                      <a:lnTo>
                        <a:pt x="359115" y="87371"/>
                      </a:lnTo>
                      <a:lnTo>
                        <a:pt x="366409" y="86373"/>
                      </a:lnTo>
                      <a:lnTo>
                        <a:pt x="376854" y="82323"/>
                      </a:lnTo>
                      <a:lnTo>
                        <a:pt x="384359" y="76183"/>
                      </a:lnTo>
                      <a:lnTo>
                        <a:pt x="397127" y="78141"/>
                      </a:lnTo>
                      <a:lnTo>
                        <a:pt x="402743" y="77314"/>
                      </a:lnTo>
                      <a:lnTo>
                        <a:pt x="415293" y="79205"/>
                      </a:lnTo>
                      <a:lnTo>
                        <a:pt x="417373" y="74486"/>
                      </a:lnTo>
                      <a:lnTo>
                        <a:pt x="413501" y="69895"/>
                      </a:lnTo>
                      <a:lnTo>
                        <a:pt x="415809" y="63208"/>
                      </a:lnTo>
                      <a:lnTo>
                        <a:pt x="425125" y="65260"/>
                      </a:lnTo>
                      <a:lnTo>
                        <a:pt x="436024" y="62899"/>
                      </a:lnTo>
                      <a:lnTo>
                        <a:pt x="449246" y="67793"/>
                      </a:lnTo>
                      <a:lnTo>
                        <a:pt x="459326" y="72557"/>
                      </a:lnTo>
                      <a:lnTo>
                        <a:pt x="466471" y="66295"/>
                      </a:lnTo>
                      <a:lnTo>
                        <a:pt x="471634" y="67260"/>
                      </a:lnTo>
                      <a:lnTo>
                        <a:pt x="474782" y="73761"/>
                      </a:lnTo>
                      <a:lnTo>
                        <a:pt x="485835" y="72111"/>
                      </a:lnTo>
                      <a:lnTo>
                        <a:pt x="494681" y="63338"/>
                      </a:lnTo>
                      <a:lnTo>
                        <a:pt x="501769" y="46327"/>
                      </a:lnTo>
                      <a:lnTo>
                        <a:pt x="515423" y="25175"/>
                      </a:lnTo>
                      <a:lnTo>
                        <a:pt x="523286" y="24082"/>
                      </a:lnTo>
                      <a:lnTo>
                        <a:pt x="528996" y="36868"/>
                      </a:lnTo>
                      <a:lnTo>
                        <a:pt x="541943" y="77267"/>
                      </a:lnTo>
                      <a:lnTo>
                        <a:pt x="554288" y="81079"/>
                      </a:lnTo>
                      <a:lnTo>
                        <a:pt x="554911" y="97016"/>
                      </a:lnTo>
                      <a:lnTo>
                        <a:pt x="537549" y="116019"/>
                      </a:lnTo>
                      <a:lnTo>
                        <a:pt x="544729" y="122976"/>
                      </a:lnTo>
                      <a:lnTo>
                        <a:pt x="585531" y="126601"/>
                      </a:lnTo>
                      <a:lnTo>
                        <a:pt x="586363" y="149739"/>
                      </a:lnTo>
                      <a:lnTo>
                        <a:pt x="603896" y="134591"/>
                      </a:lnTo>
                      <a:lnTo>
                        <a:pt x="632942" y="142888"/>
                      </a:lnTo>
                      <a:lnTo>
                        <a:pt x="671280" y="156987"/>
                      </a:lnTo>
                      <a:lnTo>
                        <a:pt x="682546" y="170518"/>
                      </a:lnTo>
                      <a:lnTo>
                        <a:pt x="678761" y="183303"/>
                      </a:lnTo>
                      <a:lnTo>
                        <a:pt x="705601" y="176184"/>
                      </a:lnTo>
                      <a:lnTo>
                        <a:pt x="750523" y="188401"/>
                      </a:lnTo>
                      <a:lnTo>
                        <a:pt x="785009" y="187501"/>
                      </a:lnTo>
                      <a:lnTo>
                        <a:pt x="819132" y="206625"/>
                      </a:lnTo>
                      <a:lnTo>
                        <a:pt x="848611" y="232530"/>
                      </a:lnTo>
                      <a:lnTo>
                        <a:pt x="866392" y="239204"/>
                      </a:lnTo>
                      <a:lnTo>
                        <a:pt x="886131" y="240133"/>
                      </a:lnTo>
                      <a:lnTo>
                        <a:pt x="894496" y="247433"/>
                      </a:lnTo>
                      <a:lnTo>
                        <a:pt x="902330" y="276931"/>
                      </a:lnTo>
                      <a:lnTo>
                        <a:pt x="906162" y="290964"/>
                      </a:lnTo>
                      <a:lnTo>
                        <a:pt x="896970" y="329375"/>
                      </a:lnTo>
                      <a:lnTo>
                        <a:pt x="885227" y="344574"/>
                      </a:lnTo>
                      <a:lnTo>
                        <a:pt x="852691" y="377031"/>
                      </a:lnTo>
                      <a:lnTo>
                        <a:pt x="837985" y="403472"/>
                      </a:lnTo>
                      <a:lnTo>
                        <a:pt x="820897" y="423797"/>
                      </a:lnTo>
                      <a:lnTo>
                        <a:pt x="815126" y="424255"/>
                      </a:lnTo>
                      <a:lnTo>
                        <a:pt x="808678" y="441540"/>
                      </a:lnTo>
                      <a:lnTo>
                        <a:pt x="810316" y="485722"/>
                      </a:lnTo>
                      <a:lnTo>
                        <a:pt x="803881" y="522260"/>
                      </a:lnTo>
                      <a:lnTo>
                        <a:pt x="801428" y="537947"/>
                      </a:lnTo>
                      <a:lnTo>
                        <a:pt x="794130" y="547352"/>
                      </a:lnTo>
                      <a:lnTo>
                        <a:pt x="790037" y="579320"/>
                      </a:lnTo>
                      <a:lnTo>
                        <a:pt x="766633" y="610699"/>
                      </a:lnTo>
                      <a:lnTo>
                        <a:pt x="762709" y="635647"/>
                      </a:lnTo>
                      <a:lnTo>
                        <a:pt x="744026" y="646148"/>
                      </a:lnTo>
                      <a:lnTo>
                        <a:pt x="738621" y="660707"/>
                      </a:lnTo>
                      <a:lnTo>
                        <a:pt x="713544" y="660649"/>
                      </a:lnTo>
                      <a:lnTo>
                        <a:pt x="677233" y="670004"/>
                      </a:lnTo>
                      <a:lnTo>
                        <a:pt x="660975" y="680856"/>
                      </a:lnTo>
                      <a:lnTo>
                        <a:pt x="635123" y="687994"/>
                      </a:lnTo>
                      <a:lnTo>
                        <a:pt x="607958" y="707503"/>
                      </a:lnTo>
                      <a:lnTo>
                        <a:pt x="588419" y="731914"/>
                      </a:lnTo>
                      <a:lnTo>
                        <a:pt x="585059" y="750375"/>
                      </a:lnTo>
                      <a:lnTo>
                        <a:pt x="588897" y="764077"/>
                      </a:lnTo>
                      <a:lnTo>
                        <a:pt x="584585" y="789253"/>
                      </a:lnTo>
                      <a:lnTo>
                        <a:pt x="579347" y="801467"/>
                      </a:lnTo>
                      <a:lnTo>
                        <a:pt x="563215" y="815284"/>
                      </a:lnTo>
                      <a:lnTo>
                        <a:pt x="537604" y="859784"/>
                      </a:lnTo>
                      <a:lnTo>
                        <a:pt x="517306" y="880004"/>
                      </a:lnTo>
                      <a:lnTo>
                        <a:pt x="501613" y="891975"/>
                      </a:lnTo>
                      <a:lnTo>
                        <a:pt x="491087" y="916442"/>
                      </a:lnTo>
                      <a:lnTo>
                        <a:pt x="475817" y="931227"/>
                      </a:lnTo>
                      <a:lnTo>
                        <a:pt x="469425" y="916582"/>
                      </a:lnTo>
                      <a:lnTo>
                        <a:pt x="479604" y="904361"/>
                      </a:lnTo>
                      <a:lnTo>
                        <a:pt x="466254" y="886899"/>
                      </a:lnTo>
                      <a:lnTo>
                        <a:pt x="448145" y="872774"/>
                      </a:lnTo>
                      <a:lnTo>
                        <a:pt x="424392" y="856466"/>
                      </a:lnTo>
                      <a:lnTo>
                        <a:pt x="415811" y="857207"/>
                      </a:lnTo>
                      <a:lnTo>
                        <a:pt x="392664" y="837605"/>
                      </a:lnTo>
                      <a:close/>
                    </a:path>
                  </a:pathLst>
                </a:custGeom>
                <a:solidFill>
                  <a:schemeClr val="accent1"/>
                </a:solidFill>
                <a:ln cap="rnd" w="3175">
                  <a:solidFill>
                    <a:srgbClr val="009fdf">
                      <a:lumMod val="60000"/>
                      <a:lumOff val="40000"/>
                    </a:srgbClr>
                  </a:solidFill>
                </a:ln>
              </p:spPr>
              <p:style>
                <a:lnRef idx="2">
                  <a:schemeClr val="accent1">
                    <a:shade val="50000"/>
                  </a:schemeClr>
                </a:lnRef>
                <a:fillRef idx="1">
                  <a:schemeClr val="accent1"/>
                </a:fillRef>
                <a:effectRef idx="0">
                  <a:schemeClr val="accent1"/>
                </a:effectRef>
                <a:fontRef idx="minor"/>
              </p:style>
              <p:txBody>
                <a:bodyPr numCol="1" spcCol="0" horzOverflow="overflow" lIns="72000" rIns="72000" tIns="72000" bIns="72000" anchor="ctr">
                  <a:noAutofit/>
                </a:bodyPr>
                <a:p>
                  <a:pPr algn="ctr" defTabSz="457200">
                    <a:lnSpc>
                      <a:spcPct val="100000"/>
                    </a:lnSpc>
                    <a:tabLst>
                      <a:tab algn="l" pos="0"/>
                    </a:tabLst>
                  </a:pPr>
                  <a:endParaRPr b="0" lang="de-DE" sz="1600" spc="-1" strike="noStrike">
                    <a:solidFill>
                      <a:srgbClr val="000000"/>
                    </a:solidFill>
                    <a:latin typeface="Arial"/>
                    <a:ea typeface="Arial"/>
                  </a:endParaRPr>
                </a:p>
              </p:txBody>
            </p:sp>
            <p:sp>
              <p:nvSpPr>
                <p:cNvPr id="369" name="Freeform 8"/>
                <p:cNvSpPr/>
                <p:nvPr/>
              </p:nvSpPr>
              <p:spPr>
                <a:xfrm>
                  <a:off x="4120200" y="1579320"/>
                  <a:ext cx="2035080" cy="1577160"/>
                </a:xfrm>
                <a:custGeom>
                  <a:avLst/>
                  <a:gdLst>
                    <a:gd name="textAreaLeft" fmla="*/ 0 w 2035080"/>
                    <a:gd name="textAreaRight" fmla="*/ 2035440 w 2035080"/>
                    <a:gd name="textAreaTop" fmla="*/ 0 h 1577160"/>
                    <a:gd name="textAreaBottom" fmla="*/ 1577520 h 1577160"/>
                  </a:gdLst>
                  <a:ahLst/>
                  <a:rect l="textAreaLeft" t="textAreaTop" r="textAreaRight" b="textAreaBottom"/>
                  <a:pathLst>
                    <a:path w="2039347" h="1580755">
                      <a:moveTo>
                        <a:pt x="1776972" y="1428715"/>
                      </a:moveTo>
                      <a:lnTo>
                        <a:pt x="1785059" y="1442843"/>
                      </a:lnTo>
                      <a:lnTo>
                        <a:pt x="1801799" y="1446730"/>
                      </a:lnTo>
                      <a:lnTo>
                        <a:pt x="1823202" y="1445940"/>
                      </a:lnTo>
                      <a:lnTo>
                        <a:pt x="1811849" y="1457781"/>
                      </a:lnTo>
                      <a:lnTo>
                        <a:pt x="1803299" y="1459661"/>
                      </a:lnTo>
                      <a:lnTo>
                        <a:pt x="1774019" y="1447402"/>
                      </a:lnTo>
                      <a:lnTo>
                        <a:pt x="1768253" y="1437693"/>
                      </a:lnTo>
                      <a:close/>
                      <a:moveTo>
                        <a:pt x="1773317" y="1342184"/>
                      </a:moveTo>
                      <a:lnTo>
                        <a:pt x="1803669" y="1349726"/>
                      </a:lnTo>
                      <a:lnTo>
                        <a:pt x="1827276" y="1362244"/>
                      </a:lnTo>
                      <a:lnTo>
                        <a:pt x="1827952" y="1367722"/>
                      </a:lnTo>
                      <a:lnTo>
                        <a:pt x="1816713" y="1368255"/>
                      </a:lnTo>
                      <a:lnTo>
                        <a:pt x="1786796" y="1358890"/>
                      </a:lnTo>
                      <a:lnTo>
                        <a:pt x="1765333" y="1344717"/>
                      </a:lnTo>
                      <a:close/>
                      <a:moveTo>
                        <a:pt x="291751" y="1317567"/>
                      </a:moveTo>
                      <a:lnTo>
                        <a:pt x="315984" y="1324190"/>
                      </a:lnTo>
                      <a:lnTo>
                        <a:pt x="330147" y="1328786"/>
                      </a:lnTo>
                      <a:lnTo>
                        <a:pt x="351844" y="1331990"/>
                      </a:lnTo>
                      <a:lnTo>
                        <a:pt x="359693" y="1342401"/>
                      </a:lnTo>
                      <a:lnTo>
                        <a:pt x="371101" y="1356657"/>
                      </a:lnTo>
                      <a:lnTo>
                        <a:pt x="394143" y="1368991"/>
                      </a:lnTo>
                      <a:lnTo>
                        <a:pt x="403665" y="1385407"/>
                      </a:lnTo>
                      <a:lnTo>
                        <a:pt x="392057" y="1389526"/>
                      </a:lnTo>
                      <a:lnTo>
                        <a:pt x="354152" y="1376060"/>
                      </a:lnTo>
                      <a:lnTo>
                        <a:pt x="347228" y="1365486"/>
                      </a:lnTo>
                      <a:lnTo>
                        <a:pt x="326569" y="1355018"/>
                      </a:lnTo>
                      <a:lnTo>
                        <a:pt x="322414" y="1346463"/>
                      </a:lnTo>
                      <a:lnTo>
                        <a:pt x="298654" y="1341046"/>
                      </a:lnTo>
                      <a:lnTo>
                        <a:pt x="289762" y="1324597"/>
                      </a:lnTo>
                      <a:close/>
                      <a:moveTo>
                        <a:pt x="1964955" y="1291235"/>
                      </a:moveTo>
                      <a:lnTo>
                        <a:pt x="1975665" y="1292581"/>
                      </a:lnTo>
                      <a:lnTo>
                        <a:pt x="1971205" y="1300896"/>
                      </a:lnTo>
                      <a:lnTo>
                        <a:pt x="1958883" y="1320109"/>
                      </a:lnTo>
                      <a:lnTo>
                        <a:pt x="1943606" y="1346544"/>
                      </a:lnTo>
                      <a:lnTo>
                        <a:pt x="1958673" y="1336367"/>
                      </a:lnTo>
                      <a:lnTo>
                        <a:pt x="1974176" y="1342828"/>
                      </a:lnTo>
                      <a:lnTo>
                        <a:pt x="1966076" y="1353305"/>
                      </a:lnTo>
                      <a:lnTo>
                        <a:pt x="1986556" y="1361513"/>
                      </a:lnTo>
                      <a:lnTo>
                        <a:pt x="1997206" y="1354218"/>
                      </a:lnTo>
                      <a:lnTo>
                        <a:pt x="2020225" y="1363421"/>
                      </a:lnTo>
                      <a:lnTo>
                        <a:pt x="2013081" y="1385207"/>
                      </a:lnTo>
                      <a:lnTo>
                        <a:pt x="2029236" y="1380135"/>
                      </a:lnTo>
                      <a:lnTo>
                        <a:pt x="2032179" y="1395838"/>
                      </a:lnTo>
                      <a:lnTo>
                        <a:pt x="2039347" y="1414116"/>
                      </a:lnTo>
                      <a:lnTo>
                        <a:pt x="2029628" y="1439783"/>
                      </a:lnTo>
                      <a:lnTo>
                        <a:pt x="2019188" y="1440862"/>
                      </a:lnTo>
                      <a:lnTo>
                        <a:pt x="2004012" y="1435379"/>
                      </a:lnTo>
                      <a:lnTo>
                        <a:pt x="2009022" y="1411488"/>
                      </a:lnTo>
                      <a:lnTo>
                        <a:pt x="2002591" y="1407758"/>
                      </a:lnTo>
                      <a:lnTo>
                        <a:pt x="1975808" y="1433113"/>
                      </a:lnTo>
                      <a:lnTo>
                        <a:pt x="1962035" y="1432102"/>
                      </a:lnTo>
                      <a:lnTo>
                        <a:pt x="1978337" y="1418391"/>
                      </a:lnTo>
                      <a:lnTo>
                        <a:pt x="1956188" y="1411272"/>
                      </a:lnTo>
                      <a:lnTo>
                        <a:pt x="1931387" y="1413024"/>
                      </a:lnTo>
                      <a:lnTo>
                        <a:pt x="1886588" y="1412129"/>
                      </a:lnTo>
                      <a:lnTo>
                        <a:pt x="1883045" y="1403431"/>
                      </a:lnTo>
                      <a:lnTo>
                        <a:pt x="1897424" y="1393053"/>
                      </a:lnTo>
                      <a:lnTo>
                        <a:pt x="1887382" y="1385017"/>
                      </a:lnTo>
                      <a:lnTo>
                        <a:pt x="1906767" y="1367110"/>
                      </a:lnTo>
                      <a:lnTo>
                        <a:pt x="1930614" y="1319159"/>
                      </a:lnTo>
                      <a:lnTo>
                        <a:pt x="1944927" y="1301803"/>
                      </a:lnTo>
                      <a:close/>
                      <a:moveTo>
                        <a:pt x="180455" y="1211995"/>
                      </a:moveTo>
                      <a:lnTo>
                        <a:pt x="191304" y="1216116"/>
                      </a:lnTo>
                      <a:lnTo>
                        <a:pt x="213464" y="1213580"/>
                      </a:lnTo>
                      <a:lnTo>
                        <a:pt x="206551" y="1249324"/>
                      </a:lnTo>
                      <a:lnTo>
                        <a:pt x="226643" y="1274329"/>
                      </a:lnTo>
                      <a:lnTo>
                        <a:pt x="217438" y="1274269"/>
                      </a:lnTo>
                      <a:lnTo>
                        <a:pt x="203528" y="1260079"/>
                      </a:lnTo>
                      <a:lnTo>
                        <a:pt x="194998" y="1245715"/>
                      </a:lnTo>
                      <a:lnTo>
                        <a:pt x="183350" y="1235947"/>
                      </a:lnTo>
                      <a:lnTo>
                        <a:pt x="179078" y="1222094"/>
                      </a:lnTo>
                      <a:close/>
                      <a:moveTo>
                        <a:pt x="1409622" y="935386"/>
                      </a:moveTo>
                      <a:lnTo>
                        <a:pt x="1419072" y="936170"/>
                      </a:lnTo>
                      <a:lnTo>
                        <a:pt x="1424939" y="943504"/>
                      </a:lnTo>
                      <a:lnTo>
                        <a:pt x="1415898" y="962191"/>
                      </a:lnTo>
                      <a:lnTo>
                        <a:pt x="1405694" y="959179"/>
                      </a:lnTo>
                      <a:lnTo>
                        <a:pt x="1399633" y="948575"/>
                      </a:lnTo>
                      <a:lnTo>
                        <a:pt x="1400712" y="946113"/>
                      </a:lnTo>
                      <a:close/>
                      <a:moveTo>
                        <a:pt x="1332963" y="916360"/>
                      </a:moveTo>
                      <a:lnTo>
                        <a:pt x="1364666" y="916704"/>
                      </a:lnTo>
                      <a:lnTo>
                        <a:pt x="1364176" y="923698"/>
                      </a:lnTo>
                      <a:lnTo>
                        <a:pt x="1337161" y="943484"/>
                      </a:lnTo>
                      <a:lnTo>
                        <a:pt x="1320864" y="942660"/>
                      </a:lnTo>
                      <a:lnTo>
                        <a:pt x="1315808" y="932976"/>
                      </a:lnTo>
                      <a:close/>
                      <a:moveTo>
                        <a:pt x="1272177" y="811682"/>
                      </a:moveTo>
                      <a:lnTo>
                        <a:pt x="1288856" y="814776"/>
                      </a:lnTo>
                      <a:lnTo>
                        <a:pt x="1293138" y="831394"/>
                      </a:lnTo>
                      <a:lnTo>
                        <a:pt x="1304951" y="825580"/>
                      </a:lnTo>
                      <a:lnTo>
                        <a:pt x="1318371" y="835452"/>
                      </a:lnTo>
                      <a:lnTo>
                        <a:pt x="1343648" y="848295"/>
                      </a:lnTo>
                      <a:lnTo>
                        <a:pt x="1370090" y="859895"/>
                      </a:lnTo>
                      <a:lnTo>
                        <a:pt x="1372135" y="877479"/>
                      </a:lnTo>
                      <a:lnTo>
                        <a:pt x="1389125" y="874610"/>
                      </a:lnTo>
                      <a:lnTo>
                        <a:pt x="1405604" y="886799"/>
                      </a:lnTo>
                      <a:lnTo>
                        <a:pt x="1385117" y="898307"/>
                      </a:lnTo>
                      <a:lnTo>
                        <a:pt x="1349197" y="889520"/>
                      </a:lnTo>
                      <a:lnTo>
                        <a:pt x="1336233" y="872972"/>
                      </a:lnTo>
                      <a:lnTo>
                        <a:pt x="1313344" y="892520"/>
                      </a:lnTo>
                      <a:lnTo>
                        <a:pt x="1280497" y="911353"/>
                      </a:lnTo>
                      <a:lnTo>
                        <a:pt x="1272572" y="890049"/>
                      </a:lnTo>
                      <a:lnTo>
                        <a:pt x="1241290" y="893561"/>
                      </a:lnTo>
                      <a:lnTo>
                        <a:pt x="1261354" y="875408"/>
                      </a:lnTo>
                      <a:lnTo>
                        <a:pt x="1264306" y="846195"/>
                      </a:lnTo>
                      <a:close/>
                      <a:moveTo>
                        <a:pt x="1502742" y="712505"/>
                      </a:moveTo>
                      <a:lnTo>
                        <a:pt x="1520763" y="723515"/>
                      </a:lnTo>
                      <a:lnTo>
                        <a:pt x="1521020" y="740432"/>
                      </a:lnTo>
                      <a:lnTo>
                        <a:pt x="1518420" y="745844"/>
                      </a:lnTo>
                      <a:lnTo>
                        <a:pt x="1503419" y="757399"/>
                      </a:lnTo>
                      <a:lnTo>
                        <a:pt x="1477544" y="759354"/>
                      </a:lnTo>
                      <a:lnTo>
                        <a:pt x="1471784" y="740194"/>
                      </a:lnTo>
                      <a:lnTo>
                        <a:pt x="1481588" y="718026"/>
                      </a:lnTo>
                      <a:close/>
                      <a:moveTo>
                        <a:pt x="987466" y="637088"/>
                      </a:moveTo>
                      <a:lnTo>
                        <a:pt x="1011954" y="648791"/>
                      </a:lnTo>
                      <a:lnTo>
                        <a:pt x="1025803" y="656186"/>
                      </a:lnTo>
                      <a:lnTo>
                        <a:pt x="1032728" y="663962"/>
                      </a:lnTo>
                      <a:lnTo>
                        <a:pt x="1046802" y="679520"/>
                      </a:lnTo>
                      <a:lnTo>
                        <a:pt x="1032448" y="693683"/>
                      </a:lnTo>
                      <a:lnTo>
                        <a:pt x="1001336" y="681451"/>
                      </a:lnTo>
                      <a:lnTo>
                        <a:pt x="982537" y="685873"/>
                      </a:lnTo>
                      <a:lnTo>
                        <a:pt x="951015" y="667635"/>
                      </a:lnTo>
                      <a:lnTo>
                        <a:pt x="971328" y="654955"/>
                      </a:lnTo>
                      <a:close/>
                      <a:moveTo>
                        <a:pt x="1056933" y="562116"/>
                      </a:moveTo>
                      <a:lnTo>
                        <a:pt x="1087375" y="569001"/>
                      </a:lnTo>
                      <a:lnTo>
                        <a:pt x="1110729" y="587828"/>
                      </a:lnTo>
                      <a:lnTo>
                        <a:pt x="1142088" y="635110"/>
                      </a:lnTo>
                      <a:lnTo>
                        <a:pt x="1121607" y="655368"/>
                      </a:lnTo>
                      <a:lnTo>
                        <a:pt x="1164537" y="663651"/>
                      </a:lnTo>
                      <a:lnTo>
                        <a:pt x="1164435" y="705003"/>
                      </a:lnTo>
                      <a:lnTo>
                        <a:pt x="1195282" y="673388"/>
                      </a:lnTo>
                      <a:lnTo>
                        <a:pt x="1222877" y="699388"/>
                      </a:lnTo>
                      <a:lnTo>
                        <a:pt x="1216002" y="728940"/>
                      </a:lnTo>
                      <a:lnTo>
                        <a:pt x="1238331" y="755453"/>
                      </a:lnTo>
                      <a:lnTo>
                        <a:pt x="1262431" y="727037"/>
                      </a:lnTo>
                      <a:lnTo>
                        <a:pt x="1279269" y="692575"/>
                      </a:lnTo>
                      <a:lnTo>
                        <a:pt x="1280531" y="647882"/>
                      </a:lnTo>
                      <a:lnTo>
                        <a:pt x="1313335" y="651039"/>
                      </a:lnTo>
                      <a:lnTo>
                        <a:pt x="1347456" y="657079"/>
                      </a:lnTo>
                      <a:lnTo>
                        <a:pt x="1378437" y="677316"/>
                      </a:lnTo>
                      <a:lnTo>
                        <a:pt x="1379827" y="697357"/>
                      </a:lnTo>
                      <a:lnTo>
                        <a:pt x="1362650" y="718664"/>
                      </a:lnTo>
                      <a:lnTo>
                        <a:pt x="1378925" y="739837"/>
                      </a:lnTo>
                      <a:lnTo>
                        <a:pt x="1375988" y="758884"/>
                      </a:lnTo>
                      <a:lnTo>
                        <a:pt x="1330791" y="785961"/>
                      </a:lnTo>
                      <a:lnTo>
                        <a:pt x="1298686" y="791886"/>
                      </a:lnTo>
                      <a:lnTo>
                        <a:pt x="1274818" y="780306"/>
                      </a:lnTo>
                      <a:lnTo>
                        <a:pt x="1267936" y="799584"/>
                      </a:lnTo>
                      <a:lnTo>
                        <a:pt x="1245688" y="831566"/>
                      </a:lnTo>
                      <a:lnTo>
                        <a:pt x="1238952" y="847961"/>
                      </a:lnTo>
                      <a:lnTo>
                        <a:pt x="1212183" y="873079"/>
                      </a:lnTo>
                      <a:lnTo>
                        <a:pt x="1179141" y="875522"/>
                      </a:lnTo>
                      <a:lnTo>
                        <a:pt x="1160916" y="891041"/>
                      </a:lnTo>
                      <a:lnTo>
                        <a:pt x="1159391" y="914692"/>
                      </a:lnTo>
                      <a:lnTo>
                        <a:pt x="1132537" y="919215"/>
                      </a:lnTo>
                      <a:lnTo>
                        <a:pt x="1104294" y="948283"/>
                      </a:lnTo>
                      <a:lnTo>
                        <a:pt x="1079260" y="988038"/>
                      </a:lnTo>
                      <a:lnTo>
                        <a:pt x="1070309" y="1015452"/>
                      </a:lnTo>
                      <a:lnTo>
                        <a:pt x="1069032" y="1055228"/>
                      </a:lnTo>
                      <a:lnTo>
                        <a:pt x="1102954" y="1060880"/>
                      </a:lnTo>
                      <a:lnTo>
                        <a:pt x="1113351" y="1092369"/>
                      </a:lnTo>
                      <a:lnTo>
                        <a:pt x="1124144" y="1117565"/>
                      </a:lnTo>
                      <a:lnTo>
                        <a:pt x="1156445" y="1111029"/>
                      </a:lnTo>
                      <a:lnTo>
                        <a:pt x="1199336" y="1125327"/>
                      </a:lnTo>
                      <a:lnTo>
                        <a:pt x="1222413" y="1137807"/>
                      </a:lnTo>
                      <a:lnTo>
                        <a:pt x="1238930" y="1153228"/>
                      </a:lnTo>
                      <a:lnTo>
                        <a:pt x="1267853" y="1162166"/>
                      </a:lnTo>
                      <a:lnTo>
                        <a:pt x="1292306" y="1175778"/>
                      </a:lnTo>
                      <a:lnTo>
                        <a:pt x="1330422" y="1177637"/>
                      </a:lnTo>
                      <a:lnTo>
                        <a:pt x="1355529" y="1180744"/>
                      </a:lnTo>
                      <a:lnTo>
                        <a:pt x="1351758" y="1208429"/>
                      </a:lnTo>
                      <a:lnTo>
                        <a:pt x="1358941" y="1240168"/>
                      </a:lnTo>
                      <a:lnTo>
                        <a:pt x="1375659" y="1275026"/>
                      </a:lnTo>
                      <a:lnTo>
                        <a:pt x="1410003" y="1304220"/>
                      </a:lnTo>
                      <a:lnTo>
                        <a:pt x="1427774" y="1294250"/>
                      </a:lnTo>
                      <a:lnTo>
                        <a:pt x="1440264" y="1262494"/>
                      </a:lnTo>
                      <a:lnTo>
                        <a:pt x="1428208" y="1212900"/>
                      </a:lnTo>
                      <a:lnTo>
                        <a:pt x="1411926" y="1196146"/>
                      </a:lnTo>
                      <a:lnTo>
                        <a:pt x="1448878" y="1181125"/>
                      </a:lnTo>
                      <a:lnTo>
                        <a:pt x="1475034" y="1158483"/>
                      </a:lnTo>
                      <a:lnTo>
                        <a:pt x="1487827" y="1135756"/>
                      </a:lnTo>
                      <a:lnTo>
                        <a:pt x="1485938" y="1113746"/>
                      </a:lnTo>
                      <a:lnTo>
                        <a:pt x="1470263" y="1085467"/>
                      </a:lnTo>
                      <a:lnTo>
                        <a:pt x="1442227" y="1060120"/>
                      </a:lnTo>
                      <a:lnTo>
                        <a:pt x="1469467" y="1024336"/>
                      </a:lnTo>
                      <a:lnTo>
                        <a:pt x="1459404" y="992958"/>
                      </a:lnTo>
                      <a:lnTo>
                        <a:pt x="1451691" y="937749"/>
                      </a:lnTo>
                      <a:lnTo>
                        <a:pt x="1467761" y="929466"/>
                      </a:lnTo>
                      <a:lnTo>
                        <a:pt x="1507335" y="939225"/>
                      </a:lnTo>
                      <a:lnTo>
                        <a:pt x="1531065" y="942703"/>
                      </a:lnTo>
                      <a:lnTo>
                        <a:pt x="1550184" y="933299"/>
                      </a:lnTo>
                      <a:lnTo>
                        <a:pt x="1571682" y="945417"/>
                      </a:lnTo>
                      <a:lnTo>
                        <a:pt x="1600108" y="966002"/>
                      </a:lnTo>
                      <a:lnTo>
                        <a:pt x="1607111" y="979677"/>
                      </a:lnTo>
                      <a:lnTo>
                        <a:pt x="1648273" y="982337"/>
                      </a:lnTo>
                      <a:lnTo>
                        <a:pt x="1647583" y="1011612"/>
                      </a:lnTo>
                      <a:lnTo>
                        <a:pt x="1655256" y="1054939"/>
                      </a:lnTo>
                      <a:lnTo>
                        <a:pt x="1676339" y="1060239"/>
                      </a:lnTo>
                      <a:lnTo>
                        <a:pt x="1693069" y="1080102"/>
                      </a:lnTo>
                      <a:lnTo>
                        <a:pt x="1726492" y="1061382"/>
                      </a:lnTo>
                      <a:lnTo>
                        <a:pt x="1748573" y="1023713"/>
                      </a:lnTo>
                      <a:lnTo>
                        <a:pt x="1763846" y="1007651"/>
                      </a:lnTo>
                      <a:lnTo>
                        <a:pt x="1781822" y="1038403"/>
                      </a:lnTo>
                      <a:lnTo>
                        <a:pt x="1811885" y="1081611"/>
                      </a:lnTo>
                      <a:lnTo>
                        <a:pt x="1837410" y="1121514"/>
                      </a:lnTo>
                      <a:lnTo>
                        <a:pt x="1828128" y="1142131"/>
                      </a:lnTo>
                      <a:lnTo>
                        <a:pt x="1858831" y="1160492"/>
                      </a:lnTo>
                      <a:lnTo>
                        <a:pt x="1879580" y="1178950"/>
                      </a:lnTo>
                      <a:lnTo>
                        <a:pt x="1916386" y="1187256"/>
                      </a:lnTo>
                      <a:lnTo>
                        <a:pt x="1931203" y="1197463"/>
                      </a:lnTo>
                      <a:lnTo>
                        <a:pt x="1940351" y="1224329"/>
                      </a:lnTo>
                      <a:lnTo>
                        <a:pt x="1958327" y="1228520"/>
                      </a:lnTo>
                      <a:lnTo>
                        <a:pt x="1967601" y="1240378"/>
                      </a:lnTo>
                      <a:lnTo>
                        <a:pt x="1969285" y="1275374"/>
                      </a:lnTo>
                      <a:lnTo>
                        <a:pt x="1952532" y="1286973"/>
                      </a:lnTo>
                      <a:lnTo>
                        <a:pt x="1935965" y="1297752"/>
                      </a:lnTo>
                      <a:lnTo>
                        <a:pt x="1897926" y="1308622"/>
                      </a:lnTo>
                      <a:lnTo>
                        <a:pt x="1868882" y="1333569"/>
                      </a:lnTo>
                      <a:lnTo>
                        <a:pt x="1829859" y="1338469"/>
                      </a:lnTo>
                      <a:lnTo>
                        <a:pt x="1780489" y="1332111"/>
                      </a:lnTo>
                      <a:lnTo>
                        <a:pt x="1745846" y="1331893"/>
                      </a:lnTo>
                      <a:lnTo>
                        <a:pt x="1721939" y="1333986"/>
                      </a:lnTo>
                      <a:lnTo>
                        <a:pt x="1702613" y="1355570"/>
                      </a:lnTo>
                      <a:lnTo>
                        <a:pt x="1673186" y="1368816"/>
                      </a:lnTo>
                      <a:lnTo>
                        <a:pt x="1639890" y="1407975"/>
                      </a:lnTo>
                      <a:lnTo>
                        <a:pt x="1613322" y="1434954"/>
                      </a:lnTo>
                      <a:lnTo>
                        <a:pt x="1632928" y="1430170"/>
                      </a:lnTo>
                      <a:lnTo>
                        <a:pt x="1669981" y="1391621"/>
                      </a:lnTo>
                      <a:lnTo>
                        <a:pt x="1718398" y="1366885"/>
                      </a:lnTo>
                      <a:lnTo>
                        <a:pt x="1752934" y="1363910"/>
                      </a:lnTo>
                      <a:lnTo>
                        <a:pt x="1773368" y="1378512"/>
                      </a:lnTo>
                      <a:lnTo>
                        <a:pt x="1751568" y="1398384"/>
                      </a:lnTo>
                      <a:lnTo>
                        <a:pt x="1758883" y="1429969"/>
                      </a:lnTo>
                      <a:lnTo>
                        <a:pt x="1766416" y="1451860"/>
                      </a:lnTo>
                      <a:lnTo>
                        <a:pt x="1796398" y="1466257"/>
                      </a:lnTo>
                      <a:lnTo>
                        <a:pt x="1834544" y="1462093"/>
                      </a:lnTo>
                      <a:lnTo>
                        <a:pt x="1857686" y="1429533"/>
                      </a:lnTo>
                      <a:lnTo>
                        <a:pt x="1859291" y="1450584"/>
                      </a:lnTo>
                      <a:lnTo>
                        <a:pt x="1874196" y="1461038"/>
                      </a:lnTo>
                      <a:lnTo>
                        <a:pt x="1845643" y="1479844"/>
                      </a:lnTo>
                      <a:lnTo>
                        <a:pt x="1794519" y="1496818"/>
                      </a:lnTo>
                      <a:lnTo>
                        <a:pt x="1771624" y="1508301"/>
                      </a:lnTo>
                      <a:lnTo>
                        <a:pt x="1745829" y="1528629"/>
                      </a:lnTo>
                      <a:lnTo>
                        <a:pt x="1728301" y="1526563"/>
                      </a:lnTo>
                      <a:lnTo>
                        <a:pt x="1727417" y="1502642"/>
                      </a:lnTo>
                      <a:lnTo>
                        <a:pt x="1767494" y="1479078"/>
                      </a:lnTo>
                      <a:lnTo>
                        <a:pt x="1730549" y="1480014"/>
                      </a:lnTo>
                      <a:lnTo>
                        <a:pt x="1704895" y="1483495"/>
                      </a:lnTo>
                      <a:lnTo>
                        <a:pt x="1689801" y="1467298"/>
                      </a:lnTo>
                      <a:lnTo>
                        <a:pt x="1689821" y="1427830"/>
                      </a:lnTo>
                      <a:lnTo>
                        <a:pt x="1679573" y="1419406"/>
                      </a:lnTo>
                      <a:lnTo>
                        <a:pt x="1664095" y="1424369"/>
                      </a:lnTo>
                      <a:lnTo>
                        <a:pt x="1656426" y="1416687"/>
                      </a:lnTo>
                      <a:lnTo>
                        <a:pt x="1638820" y="1438692"/>
                      </a:lnTo>
                      <a:lnTo>
                        <a:pt x="1631779" y="1461193"/>
                      </a:lnTo>
                      <a:lnTo>
                        <a:pt x="1623585" y="1474267"/>
                      </a:lnTo>
                      <a:lnTo>
                        <a:pt x="1613778" y="1478700"/>
                      </a:lnTo>
                      <a:lnTo>
                        <a:pt x="1606388" y="1480137"/>
                      </a:lnTo>
                      <a:lnTo>
                        <a:pt x="1604078" y="1487188"/>
                      </a:lnTo>
                      <a:lnTo>
                        <a:pt x="1561542" y="1487212"/>
                      </a:lnTo>
                      <a:lnTo>
                        <a:pt x="1526476" y="1487408"/>
                      </a:lnTo>
                      <a:lnTo>
                        <a:pt x="1516061" y="1492655"/>
                      </a:lnTo>
                      <a:lnTo>
                        <a:pt x="1491667" y="1513089"/>
                      </a:lnTo>
                      <a:lnTo>
                        <a:pt x="1488782" y="1515290"/>
                      </a:lnTo>
                      <a:lnTo>
                        <a:pt x="1481394" y="1526278"/>
                      </a:lnTo>
                      <a:lnTo>
                        <a:pt x="1460208" y="1526271"/>
                      </a:lnTo>
                      <a:lnTo>
                        <a:pt x="1437532" y="1526382"/>
                      </a:lnTo>
                      <a:lnTo>
                        <a:pt x="1427112" y="1530847"/>
                      </a:lnTo>
                      <a:lnTo>
                        <a:pt x="1430844" y="1536359"/>
                      </a:lnTo>
                      <a:lnTo>
                        <a:pt x="1432922" y="1544901"/>
                      </a:lnTo>
                      <a:lnTo>
                        <a:pt x="1432475" y="1547735"/>
                      </a:lnTo>
                      <a:lnTo>
                        <a:pt x="1402281" y="1561599"/>
                      </a:lnTo>
                      <a:lnTo>
                        <a:pt x="1378499" y="1565967"/>
                      </a:lnTo>
                      <a:lnTo>
                        <a:pt x="1351687" y="1580755"/>
                      </a:lnTo>
                      <a:lnTo>
                        <a:pt x="1345898" y="1580755"/>
                      </a:lnTo>
                      <a:lnTo>
                        <a:pt x="1338056" y="1576395"/>
                      </a:lnTo>
                      <a:lnTo>
                        <a:pt x="1335467" y="1572439"/>
                      </a:lnTo>
                      <a:lnTo>
                        <a:pt x="1335974" y="1569547"/>
                      </a:lnTo>
                      <a:lnTo>
                        <a:pt x="1341053" y="1559825"/>
                      </a:lnTo>
                      <a:lnTo>
                        <a:pt x="1351901" y="1544481"/>
                      </a:lnTo>
                      <a:lnTo>
                        <a:pt x="1358650" y="1527902"/>
                      </a:lnTo>
                      <a:lnTo>
                        <a:pt x="1354031" y="1503355"/>
                      </a:lnTo>
                      <a:lnTo>
                        <a:pt x="1349110" y="1477490"/>
                      </a:lnTo>
                      <a:lnTo>
                        <a:pt x="1325060" y="1464017"/>
                      </a:lnTo>
                      <a:lnTo>
                        <a:pt x="1327906" y="1458897"/>
                      </a:lnTo>
                      <a:lnTo>
                        <a:pt x="1324522" y="1455371"/>
                      </a:lnTo>
                      <a:lnTo>
                        <a:pt x="1318183" y="1455371"/>
                      </a:lnTo>
                      <a:lnTo>
                        <a:pt x="1313541" y="1450793"/>
                      </a:lnTo>
                      <a:lnTo>
                        <a:pt x="1312381" y="1443938"/>
                      </a:lnTo>
                      <a:lnTo>
                        <a:pt x="1307890" y="1446935"/>
                      </a:lnTo>
                      <a:lnTo>
                        <a:pt x="1301699" y="1446042"/>
                      </a:lnTo>
                      <a:lnTo>
                        <a:pt x="1303111" y="1443171"/>
                      </a:lnTo>
                      <a:lnTo>
                        <a:pt x="1297675" y="1440317"/>
                      </a:lnTo>
                      <a:lnTo>
                        <a:pt x="1295439" y="1432674"/>
                      </a:lnTo>
                      <a:lnTo>
                        <a:pt x="1277521" y="1423341"/>
                      </a:lnTo>
                      <a:lnTo>
                        <a:pt x="1258832" y="1413595"/>
                      </a:lnTo>
                      <a:lnTo>
                        <a:pt x="1236262" y="1402238"/>
                      </a:lnTo>
                      <a:lnTo>
                        <a:pt x="1214603" y="1391534"/>
                      </a:lnTo>
                      <a:lnTo>
                        <a:pt x="1193949" y="1399888"/>
                      </a:lnTo>
                      <a:lnTo>
                        <a:pt x="1186399" y="1400177"/>
                      </a:lnTo>
                      <a:lnTo>
                        <a:pt x="1158007" y="1392507"/>
                      </a:lnTo>
                      <a:lnTo>
                        <a:pt x="1139310" y="1396345"/>
                      </a:lnTo>
                      <a:lnTo>
                        <a:pt x="1116920" y="1387184"/>
                      </a:lnTo>
                      <a:lnTo>
                        <a:pt x="1093356" y="1382466"/>
                      </a:lnTo>
                      <a:lnTo>
                        <a:pt x="1077238" y="1380642"/>
                      </a:lnTo>
                      <a:lnTo>
                        <a:pt x="1070062" y="1375614"/>
                      </a:lnTo>
                      <a:lnTo>
                        <a:pt x="1065963" y="1359239"/>
                      </a:lnTo>
                      <a:lnTo>
                        <a:pt x="1058149" y="1359382"/>
                      </a:lnTo>
                      <a:lnTo>
                        <a:pt x="1058081" y="1370853"/>
                      </a:lnTo>
                      <a:lnTo>
                        <a:pt x="1010307" y="1370832"/>
                      </a:lnTo>
                      <a:lnTo>
                        <a:pt x="931335" y="1370853"/>
                      </a:lnTo>
                      <a:lnTo>
                        <a:pt x="852894" y="1370857"/>
                      </a:lnTo>
                      <a:lnTo>
                        <a:pt x="783606" y="1370853"/>
                      </a:lnTo>
                      <a:lnTo>
                        <a:pt x="714358" y="1370853"/>
                      </a:lnTo>
                      <a:lnTo>
                        <a:pt x="646264" y="1370853"/>
                      </a:lnTo>
                      <a:lnTo>
                        <a:pt x="575904" y="1370853"/>
                      </a:lnTo>
                      <a:lnTo>
                        <a:pt x="553213" y="1370853"/>
                      </a:lnTo>
                      <a:lnTo>
                        <a:pt x="484685" y="1370853"/>
                      </a:lnTo>
                      <a:lnTo>
                        <a:pt x="419131" y="1370853"/>
                      </a:lnTo>
                      <a:lnTo>
                        <a:pt x="416033" y="1370777"/>
                      </a:lnTo>
                      <a:lnTo>
                        <a:pt x="371344" y="1341360"/>
                      </a:lnTo>
                      <a:lnTo>
                        <a:pt x="354854" y="1328312"/>
                      </a:lnTo>
                      <a:lnTo>
                        <a:pt x="313052" y="1315743"/>
                      </a:lnTo>
                      <a:lnTo>
                        <a:pt x="300191" y="1288661"/>
                      </a:lnTo>
                      <a:lnTo>
                        <a:pt x="303479" y="1269710"/>
                      </a:lnTo>
                      <a:lnTo>
                        <a:pt x="273945" y="1256478"/>
                      </a:lnTo>
                      <a:lnTo>
                        <a:pt x="269896" y="1231226"/>
                      </a:lnTo>
                      <a:lnTo>
                        <a:pt x="241972" y="1208260"/>
                      </a:lnTo>
                      <a:lnTo>
                        <a:pt x="241484" y="1191828"/>
                      </a:lnTo>
                      <a:lnTo>
                        <a:pt x="254320" y="1176345"/>
                      </a:lnTo>
                      <a:lnTo>
                        <a:pt x="253679" y="1155936"/>
                      </a:lnTo>
                      <a:lnTo>
                        <a:pt x="214438" y="1135170"/>
                      </a:lnTo>
                      <a:lnTo>
                        <a:pt x="190833" y="1097467"/>
                      </a:lnTo>
                      <a:lnTo>
                        <a:pt x="176403" y="1073437"/>
                      </a:lnTo>
                      <a:lnTo>
                        <a:pt x="155270" y="1058204"/>
                      </a:lnTo>
                      <a:lnTo>
                        <a:pt x="139715" y="1044280"/>
                      </a:lnTo>
                      <a:lnTo>
                        <a:pt x="127462" y="1026566"/>
                      </a:lnTo>
                      <a:lnTo>
                        <a:pt x="104289" y="1037675"/>
                      </a:lnTo>
                      <a:lnTo>
                        <a:pt x="81835" y="1056715"/>
                      </a:lnTo>
                      <a:lnTo>
                        <a:pt x="61328" y="1034312"/>
                      </a:lnTo>
                      <a:lnTo>
                        <a:pt x="45214" y="1019257"/>
                      </a:lnTo>
                      <a:lnTo>
                        <a:pt x="22732" y="1009687"/>
                      </a:lnTo>
                      <a:lnTo>
                        <a:pt x="0" y="1008663"/>
                      </a:lnTo>
                      <a:lnTo>
                        <a:pt x="122" y="801732"/>
                      </a:lnTo>
                      <a:lnTo>
                        <a:pt x="273" y="654875"/>
                      </a:lnTo>
                      <a:lnTo>
                        <a:pt x="43333" y="664738"/>
                      </a:lnTo>
                      <a:lnTo>
                        <a:pt x="79669" y="684284"/>
                      </a:lnTo>
                      <a:lnTo>
                        <a:pt x="103738" y="687999"/>
                      </a:lnTo>
                      <a:lnTo>
                        <a:pt x="124001" y="671094"/>
                      </a:lnTo>
                      <a:lnTo>
                        <a:pt x="151957" y="658342"/>
                      </a:lnTo>
                      <a:lnTo>
                        <a:pt x="186244" y="663337"/>
                      </a:lnTo>
                      <a:lnTo>
                        <a:pt x="220819" y="645311"/>
                      </a:lnTo>
                      <a:lnTo>
                        <a:pt x="258597" y="635010"/>
                      </a:lnTo>
                      <a:lnTo>
                        <a:pt x="274455" y="652112"/>
                      </a:lnTo>
                      <a:lnTo>
                        <a:pt x="291678" y="642491"/>
                      </a:lnTo>
                      <a:lnTo>
                        <a:pt x="296835" y="622948"/>
                      </a:lnTo>
                      <a:lnTo>
                        <a:pt x="312786" y="627390"/>
                      </a:lnTo>
                      <a:lnTo>
                        <a:pt x="351814" y="664348"/>
                      </a:lnTo>
                      <a:lnTo>
                        <a:pt x="382548" y="636472"/>
                      </a:lnTo>
                      <a:lnTo>
                        <a:pt x="385668" y="667649"/>
                      </a:lnTo>
                      <a:lnTo>
                        <a:pt x="414028" y="660950"/>
                      </a:lnTo>
                      <a:lnTo>
                        <a:pt x="422743" y="648976"/>
                      </a:lnTo>
                      <a:lnTo>
                        <a:pt x="450702" y="651351"/>
                      </a:lnTo>
                      <a:lnTo>
                        <a:pt x="486004" y="668539"/>
                      </a:lnTo>
                      <a:lnTo>
                        <a:pt x="540022" y="683424"/>
                      </a:lnTo>
                      <a:lnTo>
                        <a:pt x="571789" y="690280"/>
                      </a:lnTo>
                      <a:lnTo>
                        <a:pt x="594400" y="687682"/>
                      </a:lnTo>
                      <a:lnTo>
                        <a:pt x="625537" y="708046"/>
                      </a:lnTo>
                      <a:lnTo>
                        <a:pt x="593061" y="727784"/>
                      </a:lnTo>
                      <a:lnTo>
                        <a:pt x="634786" y="736254"/>
                      </a:lnTo>
                      <a:lnTo>
                        <a:pt x="697092" y="731599"/>
                      </a:lnTo>
                      <a:lnTo>
                        <a:pt x="716754" y="724677"/>
                      </a:lnTo>
                      <a:lnTo>
                        <a:pt x="741360" y="748307"/>
                      </a:lnTo>
                      <a:lnTo>
                        <a:pt x="766470" y="728387"/>
                      </a:lnTo>
                      <a:lnTo>
                        <a:pt x="742912" y="711531"/>
                      </a:lnTo>
                      <a:lnTo>
                        <a:pt x="757818" y="697829"/>
                      </a:lnTo>
                      <a:lnTo>
                        <a:pt x="785914" y="695977"/>
                      </a:lnTo>
                      <a:lnTo>
                        <a:pt x="804381" y="691953"/>
                      </a:lnTo>
                      <a:lnTo>
                        <a:pt x="823012" y="701549"/>
                      </a:lnTo>
                      <a:lnTo>
                        <a:pt x="846208" y="723212"/>
                      </a:lnTo>
                      <a:lnTo>
                        <a:pt x="871986" y="720046"/>
                      </a:lnTo>
                      <a:lnTo>
                        <a:pt x="912769" y="737880"/>
                      </a:lnTo>
                      <a:lnTo>
                        <a:pt x="948602" y="731617"/>
                      </a:lnTo>
                      <a:lnTo>
                        <a:pt x="982274" y="732566"/>
                      </a:lnTo>
                      <a:lnTo>
                        <a:pt x="979610" y="707845"/>
                      </a:lnTo>
                      <a:lnTo>
                        <a:pt x="1000133" y="700850"/>
                      </a:lnTo>
                      <a:lnTo>
                        <a:pt x="1035902" y="714411"/>
                      </a:lnTo>
                      <a:lnTo>
                        <a:pt x="1035764" y="751754"/>
                      </a:lnTo>
                      <a:lnTo>
                        <a:pt x="1050455" y="720326"/>
                      </a:lnTo>
                      <a:lnTo>
                        <a:pt x="1069023" y="721393"/>
                      </a:lnTo>
                      <a:lnTo>
                        <a:pt x="1079461" y="681086"/>
                      </a:lnTo>
                      <a:lnTo>
                        <a:pt x="1054733" y="655953"/>
                      </a:lnTo>
                      <a:lnTo>
                        <a:pt x="1027790" y="639313"/>
                      </a:lnTo>
                      <a:lnTo>
                        <a:pt x="1029641" y="593079"/>
                      </a:lnTo>
                      <a:close/>
                      <a:moveTo>
                        <a:pt x="595734" y="501226"/>
                      </a:moveTo>
                      <a:lnTo>
                        <a:pt x="619323" y="509777"/>
                      </a:lnTo>
                      <a:lnTo>
                        <a:pt x="607800" y="530371"/>
                      </a:lnTo>
                      <a:lnTo>
                        <a:pt x="659167" y="517098"/>
                      </a:lnTo>
                      <a:lnTo>
                        <a:pt x="691266" y="539196"/>
                      </a:lnTo>
                      <a:lnTo>
                        <a:pt x="717351" y="516846"/>
                      </a:lnTo>
                      <a:lnTo>
                        <a:pt x="738444" y="531220"/>
                      </a:lnTo>
                      <a:lnTo>
                        <a:pt x="757330" y="573677"/>
                      </a:lnTo>
                      <a:lnTo>
                        <a:pt x="768926" y="555872"/>
                      </a:lnTo>
                      <a:lnTo>
                        <a:pt x="752528" y="511186"/>
                      </a:lnTo>
                      <a:lnTo>
                        <a:pt x="772839" y="504711"/>
                      </a:lnTo>
                      <a:lnTo>
                        <a:pt x="795780" y="511783"/>
                      </a:lnTo>
                      <a:lnTo>
                        <a:pt x="821636" y="529504"/>
                      </a:lnTo>
                      <a:lnTo>
                        <a:pt x="836123" y="571645"/>
                      </a:lnTo>
                      <a:lnTo>
                        <a:pt x="843280" y="601605"/>
                      </a:lnTo>
                      <a:lnTo>
                        <a:pt x="882045" y="622368"/>
                      </a:lnTo>
                      <a:lnTo>
                        <a:pt x="923700" y="642017"/>
                      </a:lnTo>
                      <a:lnTo>
                        <a:pt x="921195" y="660101"/>
                      </a:lnTo>
                      <a:lnTo>
                        <a:pt x="883296" y="663391"/>
                      </a:lnTo>
                      <a:lnTo>
                        <a:pt x="898020" y="679036"/>
                      </a:lnTo>
                      <a:lnTo>
                        <a:pt x="890243" y="693852"/>
                      </a:lnTo>
                      <a:lnTo>
                        <a:pt x="848468" y="687517"/>
                      </a:lnTo>
                      <a:lnTo>
                        <a:pt x="808766" y="676587"/>
                      </a:lnTo>
                      <a:lnTo>
                        <a:pt x="781932" y="679053"/>
                      </a:lnTo>
                      <a:lnTo>
                        <a:pt x="738595" y="692758"/>
                      </a:lnTo>
                      <a:lnTo>
                        <a:pt x="680100" y="698787"/>
                      </a:lnTo>
                      <a:lnTo>
                        <a:pt x="639035" y="702578"/>
                      </a:lnTo>
                      <a:lnTo>
                        <a:pt x="626529" y="683579"/>
                      </a:lnTo>
                      <a:lnTo>
                        <a:pt x="595020" y="672523"/>
                      </a:lnTo>
                      <a:lnTo>
                        <a:pt x="574524" y="677065"/>
                      </a:lnTo>
                      <a:lnTo>
                        <a:pt x="546085" y="644672"/>
                      </a:lnTo>
                      <a:lnTo>
                        <a:pt x="561442" y="640273"/>
                      </a:lnTo>
                      <a:lnTo>
                        <a:pt x="597072" y="633202"/>
                      </a:lnTo>
                      <a:lnTo>
                        <a:pt x="629612" y="635065"/>
                      </a:lnTo>
                      <a:lnTo>
                        <a:pt x="659742" y="627840"/>
                      </a:lnTo>
                      <a:lnTo>
                        <a:pt x="615103" y="618099"/>
                      </a:lnTo>
                      <a:lnTo>
                        <a:pt x="565778" y="621422"/>
                      </a:lnTo>
                      <a:lnTo>
                        <a:pt x="533048" y="620582"/>
                      </a:lnTo>
                      <a:lnTo>
                        <a:pt x="520870" y="605132"/>
                      </a:lnTo>
                      <a:lnTo>
                        <a:pt x="574405" y="588232"/>
                      </a:lnTo>
                      <a:lnTo>
                        <a:pt x="538799" y="588825"/>
                      </a:lnTo>
                      <a:lnTo>
                        <a:pt x="498489" y="577619"/>
                      </a:lnTo>
                      <a:lnTo>
                        <a:pt x="517863" y="545388"/>
                      </a:lnTo>
                      <a:lnTo>
                        <a:pt x="533934" y="528045"/>
                      </a:lnTo>
                      <a:close/>
                      <a:moveTo>
                        <a:pt x="824924" y="486734"/>
                      </a:moveTo>
                      <a:lnTo>
                        <a:pt x="842467" y="496544"/>
                      </a:lnTo>
                      <a:lnTo>
                        <a:pt x="822154" y="525678"/>
                      </a:lnTo>
                      <a:lnTo>
                        <a:pt x="786145" y="494764"/>
                      </a:lnTo>
                      <a:lnTo>
                        <a:pt x="793993" y="488521"/>
                      </a:lnTo>
                      <a:close/>
                      <a:moveTo>
                        <a:pt x="1399843" y="481375"/>
                      </a:moveTo>
                      <a:lnTo>
                        <a:pt x="1452670" y="486201"/>
                      </a:lnTo>
                      <a:lnTo>
                        <a:pt x="1492475" y="510606"/>
                      </a:lnTo>
                      <a:lnTo>
                        <a:pt x="1494520" y="522768"/>
                      </a:lnTo>
                      <a:lnTo>
                        <a:pt x="1469982" y="521488"/>
                      </a:lnTo>
                      <a:lnTo>
                        <a:pt x="1445117" y="520560"/>
                      </a:lnTo>
                      <a:lnTo>
                        <a:pt x="1419851" y="526458"/>
                      </a:lnTo>
                      <a:lnTo>
                        <a:pt x="1413167" y="523798"/>
                      </a:lnTo>
                      <a:lnTo>
                        <a:pt x="1387770" y="500401"/>
                      </a:lnTo>
                      <a:lnTo>
                        <a:pt x="1388744" y="484355"/>
                      </a:lnTo>
                      <a:close/>
                      <a:moveTo>
                        <a:pt x="1273509" y="479397"/>
                      </a:moveTo>
                      <a:lnTo>
                        <a:pt x="1256520" y="508186"/>
                      </a:lnTo>
                      <a:lnTo>
                        <a:pt x="1274705" y="535549"/>
                      </a:lnTo>
                      <a:lnTo>
                        <a:pt x="1296039" y="500086"/>
                      </a:lnTo>
                      <a:lnTo>
                        <a:pt x="1354542" y="481767"/>
                      </a:lnTo>
                      <a:lnTo>
                        <a:pt x="1394141" y="527581"/>
                      </a:lnTo>
                      <a:lnTo>
                        <a:pt x="1390705" y="556027"/>
                      </a:lnTo>
                      <a:lnTo>
                        <a:pt x="1436369" y="543465"/>
                      </a:lnTo>
                      <a:lnTo>
                        <a:pt x="1458206" y="526133"/>
                      </a:lnTo>
                      <a:lnTo>
                        <a:pt x="1509421" y="548170"/>
                      </a:lnTo>
                      <a:lnTo>
                        <a:pt x="1541211" y="568701"/>
                      </a:lnTo>
                      <a:lnTo>
                        <a:pt x="1544200" y="587312"/>
                      </a:lnTo>
                      <a:lnTo>
                        <a:pt x="1587063" y="577690"/>
                      </a:lnTo>
                      <a:lnTo>
                        <a:pt x="1611120" y="604677"/>
                      </a:lnTo>
                      <a:lnTo>
                        <a:pt x="1666840" y="621230"/>
                      </a:lnTo>
                      <a:lnTo>
                        <a:pt x="1686947" y="637981"/>
                      </a:lnTo>
                      <a:lnTo>
                        <a:pt x="1708782" y="676340"/>
                      </a:lnTo>
                      <a:lnTo>
                        <a:pt x="1666400" y="695165"/>
                      </a:lnTo>
                      <a:lnTo>
                        <a:pt x="1720766" y="721261"/>
                      </a:lnTo>
                      <a:lnTo>
                        <a:pt x="1757411" y="729962"/>
                      </a:lnTo>
                      <a:lnTo>
                        <a:pt x="1790589" y="765978"/>
                      </a:lnTo>
                      <a:lnTo>
                        <a:pt x="1826897" y="768554"/>
                      </a:lnTo>
                      <a:lnTo>
                        <a:pt x="1819714" y="795606"/>
                      </a:lnTo>
                      <a:lnTo>
                        <a:pt x="1779198" y="839616"/>
                      </a:lnTo>
                      <a:lnTo>
                        <a:pt x="1750797" y="823532"/>
                      </a:lnTo>
                      <a:lnTo>
                        <a:pt x="1714502" y="786865"/>
                      </a:lnTo>
                      <a:lnTo>
                        <a:pt x="1684638" y="791678"/>
                      </a:lnTo>
                      <a:lnTo>
                        <a:pt x="1681723" y="813543"/>
                      </a:lnTo>
                      <a:lnTo>
                        <a:pt x="1705998" y="835496"/>
                      </a:lnTo>
                      <a:lnTo>
                        <a:pt x="1737334" y="852707"/>
                      </a:lnTo>
                      <a:lnTo>
                        <a:pt x="1746842" y="862582"/>
                      </a:lnTo>
                      <a:lnTo>
                        <a:pt x="1761864" y="898975"/>
                      </a:lnTo>
                      <a:lnTo>
                        <a:pt x="1753914" y="925017"/>
                      </a:lnTo>
                      <a:lnTo>
                        <a:pt x="1724801" y="915238"/>
                      </a:lnTo>
                      <a:lnTo>
                        <a:pt x="1666906" y="886077"/>
                      </a:lnTo>
                      <a:lnTo>
                        <a:pt x="1699534" y="917449"/>
                      </a:lnTo>
                      <a:lnTo>
                        <a:pt x="1723572" y="939165"/>
                      </a:lnTo>
                      <a:lnTo>
                        <a:pt x="1727328" y="951622"/>
                      </a:lnTo>
                      <a:lnTo>
                        <a:pt x="1664733" y="937372"/>
                      </a:lnTo>
                      <a:lnTo>
                        <a:pt x="1615196" y="916482"/>
                      </a:lnTo>
                      <a:lnTo>
                        <a:pt x="1587221" y="898796"/>
                      </a:lnTo>
                      <a:lnTo>
                        <a:pt x="1595279" y="888484"/>
                      </a:lnTo>
                      <a:lnTo>
                        <a:pt x="1560839" y="869571"/>
                      </a:lnTo>
                      <a:lnTo>
                        <a:pt x="1527228" y="851564"/>
                      </a:lnTo>
                      <a:lnTo>
                        <a:pt x="1527595" y="862346"/>
                      </a:lnTo>
                      <a:lnTo>
                        <a:pt x="1460852" y="868256"/>
                      </a:lnTo>
                      <a:lnTo>
                        <a:pt x="1441325" y="855518"/>
                      </a:lnTo>
                      <a:lnTo>
                        <a:pt x="1456529" y="827942"/>
                      </a:lnTo>
                      <a:lnTo>
                        <a:pt x="1499901" y="827271"/>
                      </a:lnTo>
                      <a:lnTo>
                        <a:pt x="1547417" y="822446"/>
                      </a:lnTo>
                      <a:lnTo>
                        <a:pt x="1539705" y="808907"/>
                      </a:lnTo>
                      <a:lnTo>
                        <a:pt x="1547760" y="789842"/>
                      </a:lnTo>
                      <a:lnTo>
                        <a:pt x="1577623" y="752098"/>
                      </a:lnTo>
                      <a:lnTo>
                        <a:pt x="1571278" y="734725"/>
                      </a:lnTo>
                      <a:lnTo>
                        <a:pt x="1562378" y="721171"/>
                      </a:lnTo>
                      <a:lnTo>
                        <a:pt x="1527023" y="701813"/>
                      </a:lnTo>
                      <a:lnTo>
                        <a:pt x="1480262" y="688133"/>
                      </a:lnTo>
                      <a:lnTo>
                        <a:pt x="1495045" y="677895"/>
                      </a:lnTo>
                      <a:lnTo>
                        <a:pt x="1470607" y="652512"/>
                      </a:lnTo>
                      <a:lnTo>
                        <a:pt x="1450265" y="650171"/>
                      </a:lnTo>
                      <a:lnTo>
                        <a:pt x="1432062" y="636121"/>
                      </a:lnTo>
                      <a:lnTo>
                        <a:pt x="1419708" y="648306"/>
                      </a:lnTo>
                      <a:lnTo>
                        <a:pt x="1377859" y="653594"/>
                      </a:lnTo>
                      <a:lnTo>
                        <a:pt x="1293855" y="644398"/>
                      </a:lnTo>
                      <a:lnTo>
                        <a:pt x="1245029" y="632260"/>
                      </a:lnTo>
                      <a:lnTo>
                        <a:pt x="1207595" y="625994"/>
                      </a:lnTo>
                      <a:lnTo>
                        <a:pt x="1188397" y="611314"/>
                      </a:lnTo>
                      <a:lnTo>
                        <a:pt x="1212535" y="592089"/>
                      </a:lnTo>
                      <a:lnTo>
                        <a:pt x="1179747" y="591904"/>
                      </a:lnTo>
                      <a:lnTo>
                        <a:pt x="1172430" y="548542"/>
                      </a:lnTo>
                      <a:lnTo>
                        <a:pt x="1190171" y="509423"/>
                      </a:lnTo>
                      <a:lnTo>
                        <a:pt x="1213908" y="491293"/>
                      </a:lnTo>
                      <a:close/>
                      <a:moveTo>
                        <a:pt x="938112" y="477598"/>
                      </a:moveTo>
                      <a:lnTo>
                        <a:pt x="965639" y="487029"/>
                      </a:lnTo>
                      <a:lnTo>
                        <a:pt x="1006816" y="481362"/>
                      </a:lnTo>
                      <a:lnTo>
                        <a:pt x="1012817" y="494318"/>
                      </a:lnTo>
                      <a:lnTo>
                        <a:pt x="991267" y="515552"/>
                      </a:lnTo>
                      <a:lnTo>
                        <a:pt x="1026205" y="534421"/>
                      </a:lnTo>
                      <a:lnTo>
                        <a:pt x="1022050" y="573287"/>
                      </a:lnTo>
                      <a:lnTo>
                        <a:pt x="984202" y="589773"/>
                      </a:lnTo>
                      <a:lnTo>
                        <a:pt x="961969" y="586227"/>
                      </a:lnTo>
                      <a:lnTo>
                        <a:pt x="945997" y="569938"/>
                      </a:lnTo>
                      <a:lnTo>
                        <a:pt x="888632" y="536601"/>
                      </a:lnTo>
                      <a:lnTo>
                        <a:pt x="889094" y="522609"/>
                      </a:lnTo>
                      <a:lnTo>
                        <a:pt x="936220" y="528048"/>
                      </a:lnTo>
                      <a:lnTo>
                        <a:pt x="910791" y="499210"/>
                      </a:lnTo>
                      <a:close/>
                      <a:moveTo>
                        <a:pt x="1073209" y="464482"/>
                      </a:moveTo>
                      <a:lnTo>
                        <a:pt x="1121305" y="466059"/>
                      </a:lnTo>
                      <a:lnTo>
                        <a:pt x="1165398" y="477021"/>
                      </a:lnTo>
                      <a:lnTo>
                        <a:pt x="1130909" y="516621"/>
                      </a:lnTo>
                      <a:lnTo>
                        <a:pt x="1103386" y="525153"/>
                      </a:lnTo>
                      <a:lnTo>
                        <a:pt x="1078625" y="557636"/>
                      </a:lnTo>
                      <a:lnTo>
                        <a:pt x="1052292" y="556028"/>
                      </a:lnTo>
                      <a:lnTo>
                        <a:pt x="1037891" y="517764"/>
                      </a:lnTo>
                      <a:lnTo>
                        <a:pt x="1038248" y="495768"/>
                      </a:lnTo>
                      <a:lnTo>
                        <a:pt x="1050308" y="476765"/>
                      </a:lnTo>
                      <a:close/>
                      <a:moveTo>
                        <a:pt x="449187" y="450229"/>
                      </a:moveTo>
                      <a:lnTo>
                        <a:pt x="482151" y="459662"/>
                      </a:lnTo>
                      <a:lnTo>
                        <a:pt x="541108" y="462181"/>
                      </a:lnTo>
                      <a:lnTo>
                        <a:pt x="563526" y="475253"/>
                      </a:lnTo>
                      <a:lnTo>
                        <a:pt x="588308" y="494087"/>
                      </a:lnTo>
                      <a:lnTo>
                        <a:pt x="559290" y="505289"/>
                      </a:lnTo>
                      <a:lnTo>
                        <a:pt x="502690" y="536166"/>
                      </a:lnTo>
                      <a:lnTo>
                        <a:pt x="474067" y="566434"/>
                      </a:lnTo>
                      <a:lnTo>
                        <a:pt x="474067" y="585071"/>
                      </a:lnTo>
                      <a:lnTo>
                        <a:pt x="413309" y="605450"/>
                      </a:lnTo>
                      <a:lnTo>
                        <a:pt x="401126" y="586923"/>
                      </a:lnTo>
                      <a:lnTo>
                        <a:pt x="347829" y="564344"/>
                      </a:lnTo>
                      <a:lnTo>
                        <a:pt x="357731" y="546065"/>
                      </a:lnTo>
                      <a:lnTo>
                        <a:pt x="373720" y="514140"/>
                      </a:lnTo>
                      <a:lnTo>
                        <a:pt x="393740" y="484945"/>
                      </a:lnTo>
                      <a:lnTo>
                        <a:pt x="371170" y="457331"/>
                      </a:lnTo>
                      <a:close/>
                      <a:moveTo>
                        <a:pt x="1065196" y="394840"/>
                      </a:moveTo>
                      <a:lnTo>
                        <a:pt x="1085349" y="411219"/>
                      </a:lnTo>
                      <a:lnTo>
                        <a:pt x="1093774" y="425879"/>
                      </a:lnTo>
                      <a:lnTo>
                        <a:pt x="1081213" y="443683"/>
                      </a:lnTo>
                      <a:lnTo>
                        <a:pt x="1047702" y="440274"/>
                      </a:lnTo>
                      <a:lnTo>
                        <a:pt x="1019720" y="428294"/>
                      </a:lnTo>
                      <a:lnTo>
                        <a:pt x="1032008" y="407433"/>
                      </a:lnTo>
                      <a:close/>
                      <a:moveTo>
                        <a:pt x="980963" y="343845"/>
                      </a:moveTo>
                      <a:lnTo>
                        <a:pt x="998608" y="366044"/>
                      </a:lnTo>
                      <a:lnTo>
                        <a:pt x="999327" y="390322"/>
                      </a:lnTo>
                      <a:lnTo>
                        <a:pt x="988811" y="424956"/>
                      </a:lnTo>
                      <a:lnTo>
                        <a:pt x="950754" y="429685"/>
                      </a:lnTo>
                      <a:lnTo>
                        <a:pt x="925942" y="422306"/>
                      </a:lnTo>
                      <a:lnTo>
                        <a:pt x="926420" y="395144"/>
                      </a:lnTo>
                      <a:lnTo>
                        <a:pt x="888584" y="398749"/>
                      </a:lnTo>
                      <a:lnTo>
                        <a:pt x="887120" y="362228"/>
                      </a:lnTo>
                      <a:lnTo>
                        <a:pt x="911952" y="363718"/>
                      </a:lnTo>
                      <a:lnTo>
                        <a:pt x="946720" y="347391"/>
                      </a:lnTo>
                      <a:lnTo>
                        <a:pt x="979186" y="350166"/>
                      </a:lnTo>
                      <a:close/>
                      <a:moveTo>
                        <a:pt x="725181" y="340268"/>
                      </a:moveTo>
                      <a:lnTo>
                        <a:pt x="749015" y="345852"/>
                      </a:lnTo>
                      <a:lnTo>
                        <a:pt x="756798" y="368655"/>
                      </a:lnTo>
                      <a:lnTo>
                        <a:pt x="765846" y="385517"/>
                      </a:lnTo>
                      <a:lnTo>
                        <a:pt x="786401" y="377615"/>
                      </a:lnTo>
                      <a:lnTo>
                        <a:pt x="810590" y="379669"/>
                      </a:lnTo>
                      <a:lnTo>
                        <a:pt x="814653" y="402690"/>
                      </a:lnTo>
                      <a:lnTo>
                        <a:pt x="800607" y="424712"/>
                      </a:lnTo>
                      <a:lnTo>
                        <a:pt x="722437" y="431868"/>
                      </a:lnTo>
                      <a:lnTo>
                        <a:pt x="664198" y="451684"/>
                      </a:lnTo>
                      <a:lnTo>
                        <a:pt x="629095" y="452717"/>
                      </a:lnTo>
                      <a:lnTo>
                        <a:pt x="626151" y="437825"/>
                      </a:lnTo>
                      <a:lnTo>
                        <a:pt x="674097" y="417439"/>
                      </a:lnTo>
                      <a:lnTo>
                        <a:pt x="569810" y="422950"/>
                      </a:lnTo>
                      <a:lnTo>
                        <a:pt x="537535" y="414670"/>
                      </a:lnTo>
                      <a:lnTo>
                        <a:pt x="569029" y="368781"/>
                      </a:lnTo>
                      <a:lnTo>
                        <a:pt x="590753" y="355428"/>
                      </a:lnTo>
                      <a:lnTo>
                        <a:pt x="655715" y="371522"/>
                      </a:lnTo>
                      <a:lnTo>
                        <a:pt x="696718" y="399432"/>
                      </a:lnTo>
                      <a:lnTo>
                        <a:pt x="737046" y="402984"/>
                      </a:lnTo>
                      <a:lnTo>
                        <a:pt x="704034" y="357775"/>
                      </a:lnTo>
                      <a:close/>
                      <a:moveTo>
                        <a:pt x="1021470" y="322456"/>
                      </a:moveTo>
                      <a:lnTo>
                        <a:pt x="1069044" y="325549"/>
                      </a:lnTo>
                      <a:lnTo>
                        <a:pt x="1094670" y="341130"/>
                      </a:lnTo>
                      <a:lnTo>
                        <a:pt x="1140117" y="341023"/>
                      </a:lnTo>
                      <a:lnTo>
                        <a:pt x="1160042" y="356829"/>
                      </a:lnTo>
                      <a:lnTo>
                        <a:pt x="1154783" y="374716"/>
                      </a:lnTo>
                      <a:lnTo>
                        <a:pt x="1181269" y="385410"/>
                      </a:lnTo>
                      <a:lnTo>
                        <a:pt x="1195930" y="396577"/>
                      </a:lnTo>
                      <a:lnTo>
                        <a:pt x="1227064" y="398637"/>
                      </a:lnTo>
                      <a:lnTo>
                        <a:pt x="1260744" y="402554"/>
                      </a:lnTo>
                      <a:lnTo>
                        <a:pt x="1297435" y="392400"/>
                      </a:lnTo>
                      <a:lnTo>
                        <a:pt x="1344436" y="388399"/>
                      </a:lnTo>
                      <a:lnTo>
                        <a:pt x="1381943" y="391706"/>
                      </a:lnTo>
                      <a:lnTo>
                        <a:pt x="1406665" y="409341"/>
                      </a:lnTo>
                      <a:lnTo>
                        <a:pt x="1411826" y="428502"/>
                      </a:lnTo>
                      <a:lnTo>
                        <a:pt x="1397426" y="440711"/>
                      </a:lnTo>
                      <a:lnTo>
                        <a:pt x="1363008" y="450523"/>
                      </a:lnTo>
                      <a:lnTo>
                        <a:pt x="1333461" y="444977"/>
                      </a:lnTo>
                      <a:lnTo>
                        <a:pt x="1267247" y="452000"/>
                      </a:lnTo>
                      <a:lnTo>
                        <a:pt x="1219860" y="452807"/>
                      </a:lnTo>
                      <a:lnTo>
                        <a:pt x="1182596" y="447191"/>
                      </a:lnTo>
                      <a:lnTo>
                        <a:pt x="1121249" y="432431"/>
                      </a:lnTo>
                      <a:lnTo>
                        <a:pt x="1113266" y="407014"/>
                      </a:lnTo>
                      <a:lnTo>
                        <a:pt x="1110459" y="383766"/>
                      </a:lnTo>
                      <a:lnTo>
                        <a:pt x="1087286" y="363056"/>
                      </a:lnTo>
                      <a:lnTo>
                        <a:pt x="1039536" y="357222"/>
                      </a:lnTo>
                      <a:lnTo>
                        <a:pt x="1012785" y="342347"/>
                      </a:lnTo>
                      <a:close/>
                      <a:moveTo>
                        <a:pt x="572432" y="298724"/>
                      </a:moveTo>
                      <a:lnTo>
                        <a:pt x="569265" y="336266"/>
                      </a:lnTo>
                      <a:lnTo>
                        <a:pt x="551485" y="352976"/>
                      </a:lnTo>
                      <a:lnTo>
                        <a:pt x="529918" y="355317"/>
                      </a:lnTo>
                      <a:lnTo>
                        <a:pt x="487009" y="375702"/>
                      </a:lnTo>
                      <a:lnTo>
                        <a:pt x="450061" y="382946"/>
                      </a:lnTo>
                      <a:lnTo>
                        <a:pt x="418786" y="372699"/>
                      </a:lnTo>
                      <a:lnTo>
                        <a:pt x="457966" y="336869"/>
                      </a:lnTo>
                      <a:lnTo>
                        <a:pt x="505369" y="305280"/>
                      </a:lnTo>
                      <a:lnTo>
                        <a:pt x="540773" y="305963"/>
                      </a:lnTo>
                      <a:close/>
                      <a:moveTo>
                        <a:pt x="1028599" y="289355"/>
                      </a:moveTo>
                      <a:lnTo>
                        <a:pt x="1075081" y="290080"/>
                      </a:lnTo>
                      <a:lnTo>
                        <a:pt x="1091283" y="299264"/>
                      </a:lnTo>
                      <a:lnTo>
                        <a:pt x="1088528" y="304897"/>
                      </a:lnTo>
                      <a:lnTo>
                        <a:pt x="1078011" y="306307"/>
                      </a:lnTo>
                      <a:lnTo>
                        <a:pt x="1034753" y="303169"/>
                      </a:lnTo>
                      <a:close/>
                      <a:moveTo>
                        <a:pt x="686325" y="273498"/>
                      </a:moveTo>
                      <a:lnTo>
                        <a:pt x="718872" y="281317"/>
                      </a:lnTo>
                      <a:lnTo>
                        <a:pt x="711197" y="296169"/>
                      </a:lnTo>
                      <a:lnTo>
                        <a:pt x="668165" y="310339"/>
                      </a:lnTo>
                      <a:lnTo>
                        <a:pt x="633931" y="294429"/>
                      </a:lnTo>
                      <a:lnTo>
                        <a:pt x="652621" y="278589"/>
                      </a:lnTo>
                      <a:close/>
                      <a:moveTo>
                        <a:pt x="680888" y="238296"/>
                      </a:moveTo>
                      <a:lnTo>
                        <a:pt x="693268" y="240617"/>
                      </a:lnTo>
                      <a:lnTo>
                        <a:pt x="723288" y="250898"/>
                      </a:lnTo>
                      <a:lnTo>
                        <a:pt x="695169" y="260749"/>
                      </a:lnTo>
                      <a:lnTo>
                        <a:pt x="656834" y="260700"/>
                      </a:lnTo>
                      <a:lnTo>
                        <a:pt x="657208" y="253500"/>
                      </a:lnTo>
                      <a:close/>
                      <a:moveTo>
                        <a:pt x="977916" y="237177"/>
                      </a:moveTo>
                      <a:lnTo>
                        <a:pt x="1007803" y="239214"/>
                      </a:lnTo>
                      <a:lnTo>
                        <a:pt x="1021256" y="242583"/>
                      </a:lnTo>
                      <a:lnTo>
                        <a:pt x="1048843" y="260175"/>
                      </a:lnTo>
                      <a:lnTo>
                        <a:pt x="1042587" y="278295"/>
                      </a:lnTo>
                      <a:lnTo>
                        <a:pt x="1008435" y="288563"/>
                      </a:lnTo>
                      <a:lnTo>
                        <a:pt x="989635" y="277002"/>
                      </a:lnTo>
                      <a:lnTo>
                        <a:pt x="979743" y="258169"/>
                      </a:lnTo>
                      <a:close/>
                      <a:moveTo>
                        <a:pt x="819562" y="215127"/>
                      </a:moveTo>
                      <a:lnTo>
                        <a:pt x="864874" y="222148"/>
                      </a:lnTo>
                      <a:lnTo>
                        <a:pt x="927292" y="240820"/>
                      </a:lnTo>
                      <a:lnTo>
                        <a:pt x="944950" y="264883"/>
                      </a:lnTo>
                      <a:lnTo>
                        <a:pt x="953935" y="285735"/>
                      </a:lnTo>
                      <a:lnTo>
                        <a:pt x="916241" y="280188"/>
                      </a:lnTo>
                      <a:lnTo>
                        <a:pt x="878249" y="263954"/>
                      </a:lnTo>
                      <a:lnTo>
                        <a:pt x="826860" y="262088"/>
                      </a:lnTo>
                      <a:lnTo>
                        <a:pt x="849151" y="247074"/>
                      </a:lnTo>
                      <a:lnTo>
                        <a:pt x="821241" y="234808"/>
                      </a:lnTo>
                      <a:close/>
                      <a:moveTo>
                        <a:pt x="1121540" y="111281"/>
                      </a:moveTo>
                      <a:lnTo>
                        <a:pt x="1151015" y="140220"/>
                      </a:lnTo>
                      <a:lnTo>
                        <a:pt x="1189861" y="151698"/>
                      </a:lnTo>
                      <a:lnTo>
                        <a:pt x="1227717" y="161787"/>
                      </a:lnTo>
                      <a:lnTo>
                        <a:pt x="1245952" y="196531"/>
                      </a:lnTo>
                      <a:lnTo>
                        <a:pt x="1273782" y="213304"/>
                      </a:lnTo>
                      <a:lnTo>
                        <a:pt x="1242084" y="228619"/>
                      </a:lnTo>
                      <a:lnTo>
                        <a:pt x="1199432" y="266768"/>
                      </a:lnTo>
                      <a:lnTo>
                        <a:pt x="1158599" y="270375"/>
                      </a:lnTo>
                      <a:lnTo>
                        <a:pt x="1110764" y="263949"/>
                      </a:lnTo>
                      <a:lnTo>
                        <a:pt x="1085962" y="243337"/>
                      </a:lnTo>
                      <a:lnTo>
                        <a:pt x="1086318" y="224801"/>
                      </a:lnTo>
                      <a:lnTo>
                        <a:pt x="1104565" y="211070"/>
                      </a:lnTo>
                      <a:lnTo>
                        <a:pt x="1062352" y="211464"/>
                      </a:lnTo>
                      <a:lnTo>
                        <a:pt x="1036912" y="194182"/>
                      </a:lnTo>
                      <a:lnTo>
                        <a:pt x="1022288" y="170389"/>
                      </a:lnTo>
                      <a:lnTo>
                        <a:pt x="1038290" y="146722"/>
                      </a:lnTo>
                      <a:lnTo>
                        <a:pt x="1054286" y="130308"/>
                      </a:lnTo>
                      <a:lnTo>
                        <a:pt x="1077946" y="126521"/>
                      </a:lnTo>
                      <a:lnTo>
                        <a:pt x="1067859" y="114062"/>
                      </a:lnTo>
                      <a:close/>
                      <a:moveTo>
                        <a:pt x="1573460" y="0"/>
                      </a:moveTo>
                      <a:lnTo>
                        <a:pt x="1623451" y="3682"/>
                      </a:lnTo>
                      <a:lnTo>
                        <a:pt x="1673443" y="7357"/>
                      </a:lnTo>
                      <a:lnTo>
                        <a:pt x="1735135" y="11882"/>
                      </a:lnTo>
                      <a:lnTo>
                        <a:pt x="1784702" y="19254"/>
                      </a:lnTo>
                      <a:lnTo>
                        <a:pt x="1826943" y="34785"/>
                      </a:lnTo>
                      <a:lnTo>
                        <a:pt x="1825930" y="49933"/>
                      </a:lnTo>
                      <a:lnTo>
                        <a:pt x="1769606" y="74286"/>
                      </a:lnTo>
                      <a:lnTo>
                        <a:pt x="1713759" y="85540"/>
                      </a:lnTo>
                      <a:lnTo>
                        <a:pt x="1692889" y="97902"/>
                      </a:lnTo>
                      <a:lnTo>
                        <a:pt x="1743146" y="97618"/>
                      </a:lnTo>
                      <a:lnTo>
                        <a:pt x="1688678" y="130702"/>
                      </a:lnTo>
                      <a:lnTo>
                        <a:pt x="1651060" y="145945"/>
                      </a:lnTo>
                      <a:lnTo>
                        <a:pt x="1611581" y="189216"/>
                      </a:lnTo>
                      <a:lnTo>
                        <a:pt x="1563967" y="197879"/>
                      </a:lnTo>
                      <a:lnTo>
                        <a:pt x="1549259" y="208478"/>
                      </a:lnTo>
                      <a:lnTo>
                        <a:pt x="1479370" y="214017"/>
                      </a:lnTo>
                      <a:lnTo>
                        <a:pt x="1511190" y="220485"/>
                      </a:lnTo>
                      <a:lnTo>
                        <a:pt x="1495234" y="229656"/>
                      </a:lnTo>
                      <a:lnTo>
                        <a:pt x="1514324" y="254751"/>
                      </a:lnTo>
                      <a:lnTo>
                        <a:pt x="1492393" y="271996"/>
                      </a:lnTo>
                      <a:lnTo>
                        <a:pt x="1456731" y="286114"/>
                      </a:lnTo>
                      <a:lnTo>
                        <a:pt x="1445786" y="305458"/>
                      </a:lnTo>
                      <a:lnTo>
                        <a:pt x="1413544" y="320101"/>
                      </a:lnTo>
                      <a:lnTo>
                        <a:pt x="1416772" y="331112"/>
                      </a:lnTo>
                      <a:lnTo>
                        <a:pt x="1456215" y="329235"/>
                      </a:lnTo>
                      <a:lnTo>
                        <a:pt x="1456717" y="341050"/>
                      </a:lnTo>
                      <a:lnTo>
                        <a:pt x="1395037" y="369775"/>
                      </a:lnTo>
                      <a:lnTo>
                        <a:pt x="1334719" y="356616"/>
                      </a:lnTo>
                      <a:lnTo>
                        <a:pt x="1266915" y="364021"/>
                      </a:lnTo>
                      <a:lnTo>
                        <a:pt x="1232564" y="358245"/>
                      </a:lnTo>
                      <a:lnTo>
                        <a:pt x="1188922" y="355738"/>
                      </a:lnTo>
                      <a:lnTo>
                        <a:pt x="1186027" y="332626"/>
                      </a:lnTo>
                      <a:lnTo>
                        <a:pt x="1228700" y="321630"/>
                      </a:lnTo>
                      <a:lnTo>
                        <a:pt x="1217329" y="286110"/>
                      </a:lnTo>
                      <a:lnTo>
                        <a:pt x="1231410" y="282617"/>
                      </a:lnTo>
                      <a:lnTo>
                        <a:pt x="1293125" y="303976"/>
                      </a:lnTo>
                      <a:lnTo>
                        <a:pt x="1261648" y="272144"/>
                      </a:lnTo>
                      <a:lnTo>
                        <a:pt x="1224210" y="262517"/>
                      </a:lnTo>
                      <a:lnTo>
                        <a:pt x="1242906" y="242946"/>
                      </a:lnTo>
                      <a:lnTo>
                        <a:pt x="1283838" y="230791"/>
                      </a:lnTo>
                      <a:lnTo>
                        <a:pt x="1290387" y="212863"/>
                      </a:lnTo>
                      <a:lnTo>
                        <a:pt x="1257786" y="192551"/>
                      </a:lnTo>
                      <a:lnTo>
                        <a:pt x="1247988" y="165427"/>
                      </a:lnTo>
                      <a:lnTo>
                        <a:pt x="1311081" y="167711"/>
                      </a:lnTo>
                      <a:lnTo>
                        <a:pt x="1329310" y="173442"/>
                      </a:lnTo>
                      <a:lnTo>
                        <a:pt x="1365330" y="154096"/>
                      </a:lnTo>
                      <a:lnTo>
                        <a:pt x="1313354" y="147918"/>
                      </a:lnTo>
                      <a:lnTo>
                        <a:pt x="1232588" y="151327"/>
                      </a:lnTo>
                      <a:lnTo>
                        <a:pt x="1191785" y="133096"/>
                      </a:lnTo>
                      <a:lnTo>
                        <a:pt x="1172549" y="111139"/>
                      </a:lnTo>
                      <a:lnTo>
                        <a:pt x="1145592" y="95055"/>
                      </a:lnTo>
                      <a:lnTo>
                        <a:pt x="1140533" y="76151"/>
                      </a:lnTo>
                      <a:lnTo>
                        <a:pt x="1174858" y="65498"/>
                      </a:lnTo>
                      <a:lnTo>
                        <a:pt x="1201812" y="63676"/>
                      </a:lnTo>
                      <a:lnTo>
                        <a:pt x="1247101" y="54563"/>
                      </a:lnTo>
                      <a:lnTo>
                        <a:pt x="1281038" y="33436"/>
                      </a:lnTo>
                      <a:lnTo>
                        <a:pt x="1309660" y="36414"/>
                      </a:lnTo>
                      <a:lnTo>
                        <a:pt x="1334590" y="52285"/>
                      </a:lnTo>
                      <a:lnTo>
                        <a:pt x="1352132" y="21552"/>
                      </a:lnTo>
                      <a:lnTo>
                        <a:pt x="1382601" y="12345"/>
                      </a:lnTo>
                      <a:lnTo>
                        <a:pt x="1423997" y="5954"/>
                      </a:lnTo>
                      <a:lnTo>
                        <a:pt x="1494553" y="3550"/>
                      </a:lnTo>
                      <a:lnTo>
                        <a:pt x="1506814" y="9802"/>
                      </a:lnTo>
                      <a:close/>
                    </a:path>
                  </a:pathLst>
                </a:custGeom>
                <a:solidFill>
                  <a:schemeClr val="accent1"/>
                </a:solidFill>
                <a:ln cap="rnd" w="3175">
                  <a:solidFill>
                    <a:srgbClr val="009fdf">
                      <a:lumMod val="60000"/>
                      <a:lumOff val="40000"/>
                    </a:srgbClr>
                  </a:solidFill>
                </a:ln>
              </p:spPr>
              <p:style>
                <a:lnRef idx="2">
                  <a:schemeClr val="accent1">
                    <a:shade val="50000"/>
                  </a:schemeClr>
                </a:lnRef>
                <a:fillRef idx="1">
                  <a:schemeClr val="accent1"/>
                </a:fillRef>
                <a:effectRef idx="0">
                  <a:schemeClr val="accent1"/>
                </a:effectRef>
                <a:fontRef idx="minor"/>
              </p:style>
              <p:txBody>
                <a:bodyPr numCol="1" spcCol="0" horzOverflow="overflow" lIns="72000" rIns="72000" tIns="72000" bIns="72000" anchor="ctr">
                  <a:noAutofit/>
                </a:bodyPr>
                <a:p>
                  <a:pPr algn="ctr" defTabSz="457200">
                    <a:lnSpc>
                      <a:spcPct val="100000"/>
                    </a:lnSpc>
                    <a:tabLst>
                      <a:tab algn="l" pos="0"/>
                    </a:tabLst>
                  </a:pPr>
                  <a:endParaRPr b="0" lang="de-DE" sz="1600" spc="-1" strike="noStrike">
                    <a:solidFill>
                      <a:srgbClr val="000000"/>
                    </a:solidFill>
                    <a:latin typeface="Arial"/>
                    <a:ea typeface="Arial"/>
                  </a:endParaRPr>
                </a:p>
              </p:txBody>
            </p:sp>
            <p:sp>
              <p:nvSpPr>
                <p:cNvPr id="370" name="Freeform 9"/>
                <p:cNvSpPr/>
                <p:nvPr/>
              </p:nvSpPr>
              <p:spPr>
                <a:xfrm>
                  <a:off x="5625720" y="4585680"/>
                  <a:ext cx="199800" cy="1023840"/>
                </a:xfrm>
                <a:custGeom>
                  <a:avLst/>
                  <a:gdLst>
                    <a:gd name="textAreaLeft" fmla="*/ 0 w 199800"/>
                    <a:gd name="textAreaRight" fmla="*/ 200160 w 199800"/>
                    <a:gd name="textAreaTop" fmla="*/ 0 h 1023840"/>
                    <a:gd name="textAreaBottom" fmla="*/ 1024200 h 1023840"/>
                  </a:gdLst>
                  <a:ahLst/>
                  <a:rect l="textAreaLeft" t="textAreaTop" r="textAreaRight" b="textAreaBottom"/>
                  <a:pathLst>
                    <a:path w="200460" h="1026393">
                      <a:moveTo>
                        <a:pt x="145391" y="928332"/>
                      </a:moveTo>
                      <a:lnTo>
                        <a:pt x="161818" y="932003"/>
                      </a:lnTo>
                      <a:lnTo>
                        <a:pt x="161833" y="1002494"/>
                      </a:lnTo>
                      <a:lnTo>
                        <a:pt x="186552" y="1002511"/>
                      </a:lnTo>
                      <a:lnTo>
                        <a:pt x="200460" y="1003369"/>
                      </a:lnTo>
                      <a:lnTo>
                        <a:pt x="192817" y="1016364"/>
                      </a:lnTo>
                      <a:lnTo>
                        <a:pt x="173022" y="1026393"/>
                      </a:lnTo>
                      <a:lnTo>
                        <a:pt x="161680" y="1025364"/>
                      </a:lnTo>
                      <a:lnTo>
                        <a:pt x="148012" y="1022747"/>
                      </a:lnTo>
                      <a:lnTo>
                        <a:pt x="131255" y="1013055"/>
                      </a:lnTo>
                      <a:lnTo>
                        <a:pt x="107073" y="1008406"/>
                      </a:lnTo>
                      <a:lnTo>
                        <a:pt x="78030" y="990533"/>
                      </a:lnTo>
                      <a:lnTo>
                        <a:pt x="54456" y="973458"/>
                      </a:lnTo>
                      <a:lnTo>
                        <a:pt x="22664" y="938269"/>
                      </a:lnTo>
                      <a:lnTo>
                        <a:pt x="41694" y="944826"/>
                      </a:lnTo>
                      <a:lnTo>
                        <a:pt x="74100" y="965808"/>
                      </a:lnTo>
                      <a:lnTo>
                        <a:pt x="104718" y="977158"/>
                      </a:lnTo>
                      <a:lnTo>
                        <a:pt x="116627" y="962669"/>
                      </a:lnTo>
                      <a:lnTo>
                        <a:pt x="124113" y="941194"/>
                      </a:lnTo>
                      <a:close/>
                      <a:moveTo>
                        <a:pt x="139741" y="0"/>
                      </a:moveTo>
                      <a:lnTo>
                        <a:pt x="151056" y="16203"/>
                      </a:lnTo>
                      <a:lnTo>
                        <a:pt x="154136" y="33438"/>
                      </a:lnTo>
                      <a:lnTo>
                        <a:pt x="166245" y="43573"/>
                      </a:lnTo>
                      <a:lnTo>
                        <a:pt x="158975" y="66797"/>
                      </a:lnTo>
                      <a:lnTo>
                        <a:pt x="171376" y="93836"/>
                      </a:lnTo>
                      <a:lnTo>
                        <a:pt x="180419" y="127248"/>
                      </a:lnTo>
                      <a:lnTo>
                        <a:pt x="197073" y="123918"/>
                      </a:lnTo>
                      <a:lnTo>
                        <a:pt x="199876" y="130006"/>
                      </a:lnTo>
                      <a:lnTo>
                        <a:pt x="191954" y="155341"/>
                      </a:lnTo>
                      <a:lnTo>
                        <a:pt x="166812" y="167413"/>
                      </a:lnTo>
                      <a:lnTo>
                        <a:pt x="167543" y="208423"/>
                      </a:lnTo>
                      <a:lnTo>
                        <a:pt x="162723" y="216386"/>
                      </a:lnTo>
                      <a:lnTo>
                        <a:pt x="169631" y="226112"/>
                      </a:lnTo>
                      <a:lnTo>
                        <a:pt x="153341" y="241569"/>
                      </a:lnTo>
                      <a:lnTo>
                        <a:pt x="138225" y="264985"/>
                      </a:lnTo>
                      <a:lnTo>
                        <a:pt x="129974" y="287796"/>
                      </a:lnTo>
                      <a:lnTo>
                        <a:pt x="132157" y="312243"/>
                      </a:lnTo>
                      <a:lnTo>
                        <a:pt x="117936" y="338375"/>
                      </a:lnTo>
                      <a:lnTo>
                        <a:pt x="128570" y="382627"/>
                      </a:lnTo>
                      <a:lnTo>
                        <a:pt x="134563" y="387340"/>
                      </a:lnTo>
                      <a:lnTo>
                        <a:pt x="134504" y="411163"/>
                      </a:lnTo>
                      <a:lnTo>
                        <a:pt x="121330" y="436622"/>
                      </a:lnTo>
                      <a:lnTo>
                        <a:pt x="121867" y="458559"/>
                      </a:lnTo>
                      <a:lnTo>
                        <a:pt x="104391" y="475804"/>
                      </a:lnTo>
                      <a:lnTo>
                        <a:pt x="104466" y="500216"/>
                      </a:lnTo>
                      <a:lnTo>
                        <a:pt x="111482" y="526354"/>
                      </a:lnTo>
                      <a:lnTo>
                        <a:pt x="97659" y="536129"/>
                      </a:lnTo>
                      <a:lnTo>
                        <a:pt x="91491" y="560279"/>
                      </a:lnTo>
                      <a:lnTo>
                        <a:pt x="86067" y="588234"/>
                      </a:lnTo>
                      <a:lnTo>
                        <a:pt x="89966" y="621845"/>
                      </a:lnTo>
                      <a:lnTo>
                        <a:pt x="80685" y="627493"/>
                      </a:lnTo>
                      <a:lnTo>
                        <a:pt x="86074" y="659716"/>
                      </a:lnTo>
                      <a:lnTo>
                        <a:pt x="96493" y="670382"/>
                      </a:lnTo>
                      <a:lnTo>
                        <a:pt x="88885" y="682233"/>
                      </a:lnTo>
                      <a:lnTo>
                        <a:pt x="99592" y="687910"/>
                      </a:lnTo>
                      <a:lnTo>
                        <a:pt x="102062" y="698615"/>
                      </a:lnTo>
                      <a:lnTo>
                        <a:pt x="91986" y="704013"/>
                      </a:lnTo>
                      <a:lnTo>
                        <a:pt x="94463" y="720808"/>
                      </a:lnTo>
                      <a:lnTo>
                        <a:pt x="86032" y="759069"/>
                      </a:lnTo>
                      <a:lnTo>
                        <a:pt x="73796" y="784025"/>
                      </a:lnTo>
                      <a:lnTo>
                        <a:pt x="76478" y="798918"/>
                      </a:lnTo>
                      <a:lnTo>
                        <a:pt x="69158" y="817721"/>
                      </a:lnTo>
                      <a:lnTo>
                        <a:pt x="51450" y="830836"/>
                      </a:lnTo>
                      <a:lnTo>
                        <a:pt x="53467" y="862731"/>
                      </a:lnTo>
                      <a:lnTo>
                        <a:pt x="61599" y="873731"/>
                      </a:lnTo>
                      <a:lnTo>
                        <a:pt x="76967" y="871773"/>
                      </a:lnTo>
                      <a:lnTo>
                        <a:pt x="76518" y="894625"/>
                      </a:lnTo>
                      <a:lnTo>
                        <a:pt x="86088" y="912560"/>
                      </a:lnTo>
                      <a:lnTo>
                        <a:pt x="141866" y="916692"/>
                      </a:lnTo>
                      <a:lnTo>
                        <a:pt x="163260" y="921542"/>
                      </a:lnTo>
                      <a:lnTo>
                        <a:pt x="142722" y="921310"/>
                      </a:lnTo>
                      <a:lnTo>
                        <a:pt x="131608" y="928942"/>
                      </a:lnTo>
                      <a:lnTo>
                        <a:pt x="110780" y="940194"/>
                      </a:lnTo>
                      <a:lnTo>
                        <a:pt x="107058" y="969529"/>
                      </a:lnTo>
                      <a:lnTo>
                        <a:pt x="97284" y="970262"/>
                      </a:lnTo>
                      <a:lnTo>
                        <a:pt x="71243" y="960010"/>
                      </a:lnTo>
                      <a:lnTo>
                        <a:pt x="44818" y="938193"/>
                      </a:lnTo>
                      <a:lnTo>
                        <a:pt x="16103" y="920406"/>
                      </a:lnTo>
                      <a:lnTo>
                        <a:pt x="8872" y="900867"/>
                      </a:lnTo>
                      <a:lnTo>
                        <a:pt x="15413" y="882926"/>
                      </a:lnTo>
                      <a:lnTo>
                        <a:pt x="3800" y="862718"/>
                      </a:lnTo>
                      <a:lnTo>
                        <a:pt x="839" y="811635"/>
                      </a:lnTo>
                      <a:lnTo>
                        <a:pt x="10655" y="783243"/>
                      </a:lnTo>
                      <a:lnTo>
                        <a:pt x="35035" y="760652"/>
                      </a:lnTo>
                      <a:lnTo>
                        <a:pt x="0" y="752175"/>
                      </a:lnTo>
                      <a:lnTo>
                        <a:pt x="21980" y="726647"/>
                      </a:lnTo>
                      <a:lnTo>
                        <a:pt x="29838" y="679287"/>
                      </a:lnTo>
                      <a:lnTo>
                        <a:pt x="55491" y="689256"/>
                      </a:lnTo>
                      <a:lnTo>
                        <a:pt x="67553" y="631064"/>
                      </a:lnTo>
                      <a:lnTo>
                        <a:pt x="52062" y="623680"/>
                      </a:lnTo>
                      <a:lnTo>
                        <a:pt x="44850" y="658515"/>
                      </a:lnTo>
                      <a:lnTo>
                        <a:pt x="30294" y="654564"/>
                      </a:lnTo>
                      <a:lnTo>
                        <a:pt x="37542" y="614740"/>
                      </a:lnTo>
                      <a:lnTo>
                        <a:pt x="45410" y="563924"/>
                      </a:lnTo>
                      <a:lnTo>
                        <a:pt x="56016" y="545383"/>
                      </a:lnTo>
                      <a:lnTo>
                        <a:pt x="49369" y="519101"/>
                      </a:lnTo>
                      <a:lnTo>
                        <a:pt x="47465" y="489019"/>
                      </a:lnTo>
                      <a:lnTo>
                        <a:pt x="57191" y="488155"/>
                      </a:lnTo>
                      <a:lnTo>
                        <a:pt x="71354" y="445511"/>
                      </a:lnTo>
                      <a:lnTo>
                        <a:pt x="87313" y="403778"/>
                      </a:lnTo>
                      <a:lnTo>
                        <a:pt x="97084" y="365330"/>
                      </a:lnTo>
                      <a:lnTo>
                        <a:pt x="91769" y="327065"/>
                      </a:lnTo>
                      <a:lnTo>
                        <a:pt x="98662" y="306154"/>
                      </a:lnTo>
                      <a:lnTo>
                        <a:pt x="95897" y="275067"/>
                      </a:lnTo>
                      <a:lnTo>
                        <a:pt x="109394" y="244537"/>
                      </a:lnTo>
                      <a:lnTo>
                        <a:pt x="113553" y="196597"/>
                      </a:lnTo>
                      <a:lnTo>
                        <a:pt x="120962" y="145662"/>
                      </a:lnTo>
                      <a:lnTo>
                        <a:pt x="128181" y="91395"/>
                      </a:lnTo>
                      <a:lnTo>
                        <a:pt x="126492" y="51997"/>
                      </a:lnTo>
                      <a:lnTo>
                        <a:pt x="121687" y="18299"/>
                      </a:lnTo>
                      <a:lnTo>
                        <a:pt x="133555" y="12211"/>
                      </a:lnTo>
                      <a:close/>
                    </a:path>
                  </a:pathLst>
                </a:custGeom>
                <a:solidFill>
                  <a:schemeClr val="accent1"/>
                </a:solidFill>
                <a:ln cap="rnd" w="3175">
                  <a:solidFill>
                    <a:srgbClr val="009fdf">
                      <a:lumMod val="60000"/>
                      <a:lumOff val="40000"/>
                    </a:srgbClr>
                  </a:solidFill>
                </a:ln>
              </p:spPr>
              <p:style>
                <a:lnRef idx="2">
                  <a:schemeClr val="accent1">
                    <a:shade val="50000"/>
                  </a:schemeClr>
                </a:lnRef>
                <a:fillRef idx="1">
                  <a:schemeClr val="accent1"/>
                </a:fillRef>
                <a:effectRef idx="0">
                  <a:schemeClr val="accent1"/>
                </a:effectRef>
                <a:fontRef idx="minor"/>
              </p:style>
              <p:txBody>
                <a:bodyPr numCol="1" spcCol="0" horzOverflow="overflow" lIns="72000" rIns="72000" tIns="72000" bIns="72000" anchor="ctr">
                  <a:noAutofit/>
                </a:bodyPr>
                <a:p>
                  <a:pPr algn="ctr" defTabSz="457200">
                    <a:lnSpc>
                      <a:spcPct val="100000"/>
                    </a:lnSpc>
                    <a:tabLst>
                      <a:tab algn="l" pos="0"/>
                    </a:tabLst>
                  </a:pPr>
                  <a:endParaRPr b="0" lang="de-DE" sz="1600" spc="-1" strike="noStrike">
                    <a:solidFill>
                      <a:srgbClr val="000000"/>
                    </a:solidFill>
                    <a:latin typeface="Arial"/>
                    <a:ea typeface="Arial"/>
                  </a:endParaRPr>
                </a:p>
              </p:txBody>
            </p:sp>
            <p:sp>
              <p:nvSpPr>
                <p:cNvPr id="371" name="Freeform 10"/>
                <p:cNvSpPr/>
                <p:nvPr/>
              </p:nvSpPr>
              <p:spPr>
                <a:xfrm>
                  <a:off x="5548680" y="3888360"/>
                  <a:ext cx="278640" cy="386640"/>
                </a:xfrm>
                <a:custGeom>
                  <a:avLst/>
                  <a:gdLst/>
                  <a:ahLst/>
                  <a:rect l="l" t="t" r="r" b="b"/>
                  <a:pathLst>
                    <a:path w="279639" h="387815">
                      <a:moveTo>
                        <a:pt x="83507" y="292050"/>
                      </a:moveTo>
                      <a:lnTo>
                        <a:pt x="73622" y="286583"/>
                      </a:lnTo>
                      <a:lnTo>
                        <a:pt x="62292" y="278937"/>
                      </a:lnTo>
                      <a:lnTo>
                        <a:pt x="55735" y="282610"/>
                      </a:lnTo>
                      <a:lnTo>
                        <a:pt x="36147" y="279407"/>
                      </a:lnTo>
                      <a:lnTo>
                        <a:pt x="30523" y="269476"/>
                      </a:lnTo>
                      <a:lnTo>
                        <a:pt x="26219" y="269845"/>
                      </a:lnTo>
                      <a:lnTo>
                        <a:pt x="3132" y="256663"/>
                      </a:lnTo>
                      <a:lnTo>
                        <a:pt x="0" y="249496"/>
                      </a:lnTo>
                      <a:lnTo>
                        <a:pt x="8613" y="247763"/>
                      </a:lnTo>
                      <a:lnTo>
                        <a:pt x="7590" y="236195"/>
                      </a:lnTo>
                      <a:lnTo>
                        <a:pt x="13003" y="227830"/>
                      </a:lnTo>
                      <a:lnTo>
                        <a:pt x="24454" y="226281"/>
                      </a:lnTo>
                      <a:lnTo>
                        <a:pt x="34174" y="211763"/>
                      </a:lnTo>
                      <a:lnTo>
                        <a:pt x="43009" y="199638"/>
                      </a:lnTo>
                      <a:lnTo>
                        <a:pt x="34501" y="194137"/>
                      </a:lnTo>
                      <a:lnTo>
                        <a:pt x="38856" y="180715"/>
                      </a:lnTo>
                      <a:lnTo>
                        <a:pt x="33648" y="159544"/>
                      </a:lnTo>
                      <a:lnTo>
                        <a:pt x="38597" y="153464"/>
                      </a:lnTo>
                      <a:lnTo>
                        <a:pt x="34954" y="133867"/>
                      </a:lnTo>
                      <a:lnTo>
                        <a:pt x="25607" y="121513"/>
                      </a:lnTo>
                      <a:lnTo>
                        <a:pt x="28566" y="110232"/>
                      </a:lnTo>
                      <a:lnTo>
                        <a:pt x="36005" y="111899"/>
                      </a:lnTo>
                      <a:lnTo>
                        <a:pt x="40357" y="104997"/>
                      </a:lnTo>
                      <a:lnTo>
                        <a:pt x="34998" y="91311"/>
                      </a:lnTo>
                      <a:lnTo>
                        <a:pt x="37800" y="87911"/>
                      </a:lnTo>
                      <a:lnTo>
                        <a:pt x="49726" y="88650"/>
                      </a:lnTo>
                      <a:lnTo>
                        <a:pt x="67045" y="72409"/>
                      </a:lnTo>
                      <a:lnTo>
                        <a:pt x="76550" y="69931"/>
                      </a:lnTo>
                      <a:lnTo>
                        <a:pt x="76779" y="62227"/>
                      </a:lnTo>
                      <a:lnTo>
                        <a:pt x="81032" y="42523"/>
                      </a:lnTo>
                      <a:lnTo>
                        <a:pt x="94271" y="31687"/>
                      </a:lnTo>
                      <a:lnTo>
                        <a:pt x="108816" y="31243"/>
                      </a:lnTo>
                      <a:lnTo>
                        <a:pt x="110652" y="26372"/>
                      </a:lnTo>
                      <a:lnTo>
                        <a:pt x="128713" y="28323"/>
                      </a:lnTo>
                      <a:lnTo>
                        <a:pt x="146878" y="16516"/>
                      </a:lnTo>
                      <a:lnTo>
                        <a:pt x="155872" y="11284"/>
                      </a:lnTo>
                      <a:lnTo>
                        <a:pt x="167046" y="0"/>
                      </a:lnTo>
                      <a:lnTo>
                        <a:pt x="175223" y="1436"/>
                      </a:lnTo>
                      <a:lnTo>
                        <a:pt x="181280" y="7598"/>
                      </a:lnTo>
                      <a:lnTo>
                        <a:pt x="176799" y="15479"/>
                      </a:lnTo>
                      <a:lnTo>
                        <a:pt x="161972" y="19400"/>
                      </a:lnTo>
                      <a:lnTo>
                        <a:pt x="156117" y="31088"/>
                      </a:lnTo>
                      <a:lnTo>
                        <a:pt x="147182" y="37785"/>
                      </a:lnTo>
                      <a:lnTo>
                        <a:pt x="140473" y="46458"/>
                      </a:lnTo>
                      <a:lnTo>
                        <a:pt x="137650" y="63094"/>
                      </a:lnTo>
                      <a:lnTo>
                        <a:pt x="131248" y="76711"/>
                      </a:lnTo>
                      <a:lnTo>
                        <a:pt x="143164" y="78269"/>
                      </a:lnTo>
                      <a:lnTo>
                        <a:pt x="146124" y="88963"/>
                      </a:lnTo>
                      <a:lnTo>
                        <a:pt x="151216" y="94078"/>
                      </a:lnTo>
                      <a:lnTo>
                        <a:pt x="153039" y="103433"/>
                      </a:lnTo>
                      <a:lnTo>
                        <a:pt x="150298" y="112028"/>
                      </a:lnTo>
                      <a:lnTo>
                        <a:pt x="151110" y="116872"/>
                      </a:lnTo>
                      <a:lnTo>
                        <a:pt x="156791" y="118806"/>
                      </a:lnTo>
                      <a:lnTo>
                        <a:pt x="162289" y="126898"/>
                      </a:lnTo>
                      <a:lnTo>
                        <a:pt x="191972" y="124668"/>
                      </a:lnTo>
                      <a:lnTo>
                        <a:pt x="205381" y="127623"/>
                      </a:lnTo>
                      <a:lnTo>
                        <a:pt x="221627" y="147569"/>
                      </a:lnTo>
                      <a:lnTo>
                        <a:pt x="230957" y="145091"/>
                      </a:lnTo>
                      <a:lnTo>
                        <a:pt x="247582" y="146332"/>
                      </a:lnTo>
                      <a:lnTo>
                        <a:pt x="260739" y="143689"/>
                      </a:lnTo>
                      <a:lnTo>
                        <a:pt x="268902" y="147671"/>
                      </a:lnTo>
                      <a:lnTo>
                        <a:pt x="264745" y="160144"/>
                      </a:lnTo>
                      <a:lnTo>
                        <a:pt x="259594" y="167916"/>
                      </a:lnTo>
                      <a:lnTo>
                        <a:pt x="257786" y="184509"/>
                      </a:lnTo>
                      <a:lnTo>
                        <a:pt x="262429" y="199873"/>
                      </a:lnTo>
                      <a:lnTo>
                        <a:pt x="268991" y="206740"/>
                      </a:lnTo>
                      <a:lnTo>
                        <a:pt x="269785" y="211914"/>
                      </a:lnTo>
                      <a:lnTo>
                        <a:pt x="258088" y="223415"/>
                      </a:lnTo>
                      <a:lnTo>
                        <a:pt x="266463" y="228506"/>
                      </a:lnTo>
                      <a:lnTo>
                        <a:pt x="272598" y="236581"/>
                      </a:lnTo>
                      <a:lnTo>
                        <a:pt x="279638" y="259608"/>
                      </a:lnTo>
                      <a:lnTo>
                        <a:pt x="275282" y="262453"/>
                      </a:lnTo>
                      <a:lnTo>
                        <a:pt x="270782" y="248834"/>
                      </a:lnTo>
                      <a:lnTo>
                        <a:pt x="264369" y="241511"/>
                      </a:lnTo>
                      <a:lnTo>
                        <a:pt x="256734" y="249470"/>
                      </a:lnTo>
                      <a:lnTo>
                        <a:pt x="211760" y="248955"/>
                      </a:lnTo>
                      <a:lnTo>
                        <a:pt x="212046" y="263401"/>
                      </a:lnTo>
                      <a:lnTo>
                        <a:pt x="225571" y="265788"/>
                      </a:lnTo>
                      <a:lnTo>
                        <a:pt x="224791" y="274630"/>
                      </a:lnTo>
                      <a:lnTo>
                        <a:pt x="220175" y="272240"/>
                      </a:lnTo>
                      <a:lnTo>
                        <a:pt x="207176" y="276043"/>
                      </a:lnTo>
                      <a:lnTo>
                        <a:pt x="207058" y="292815"/>
                      </a:lnTo>
                      <a:lnTo>
                        <a:pt x="217298" y="301236"/>
                      </a:lnTo>
                      <a:lnTo>
                        <a:pt x="220912" y="314455"/>
                      </a:lnTo>
                      <a:lnTo>
                        <a:pt x="220367" y="324467"/>
                      </a:lnTo>
                      <a:lnTo>
                        <a:pt x="209990" y="387814"/>
                      </a:lnTo>
                      <a:lnTo>
                        <a:pt x="198440" y="375524"/>
                      </a:lnTo>
                      <a:lnTo>
                        <a:pt x="191546" y="374976"/>
                      </a:lnTo>
                      <a:lnTo>
                        <a:pt x="206434" y="351460"/>
                      </a:lnTo>
                      <a:lnTo>
                        <a:pt x="188758" y="340644"/>
                      </a:lnTo>
                      <a:lnTo>
                        <a:pt x="174905" y="342628"/>
                      </a:lnTo>
                      <a:lnTo>
                        <a:pt x="166569" y="338633"/>
                      </a:lnTo>
                      <a:lnTo>
                        <a:pt x="153850" y="344740"/>
                      </a:lnTo>
                      <a:lnTo>
                        <a:pt x="136662" y="341847"/>
                      </a:lnTo>
                      <a:lnTo>
                        <a:pt x="123064" y="317638"/>
                      </a:lnTo>
                      <a:lnTo>
                        <a:pt x="112379" y="311689"/>
                      </a:lnTo>
                      <a:lnTo>
                        <a:pt x="105011" y="300793"/>
                      </a:lnTo>
                      <a:lnTo>
                        <a:pt x="89661" y="289861"/>
                      </a:lnTo>
                      <a:close/>
                    </a:path>
                  </a:pathLst>
                </a:custGeom>
                <a:solidFill>
                  <a:schemeClr val="accent1">
                    <a:lumMod val="20000"/>
                    <a:lumOff val="80000"/>
                  </a:schemeClr>
                </a:solidFill>
                <a:ln cap="rnd" w="3175">
                  <a:solidFill>
                    <a:srgbClr val="009fdf">
                      <a:lumMod val="60000"/>
                      <a:lumOff val="40000"/>
                    </a:srgbClr>
                  </a:solidFill>
                </a:ln>
              </p:spPr>
              <p:style>
                <a:lnRef idx="2">
                  <a:schemeClr val="accent1">
                    <a:shade val="50000"/>
                  </a:schemeClr>
                </a:lnRef>
                <a:fillRef idx="1">
                  <a:schemeClr val="accent1"/>
                </a:fillRef>
                <a:effectRef idx="0">
                  <a:schemeClr val="accent1"/>
                </a:effectRef>
                <a:fontRef idx="minor"/>
              </p:style>
              <p:txBody>
                <a:bodyPr numCol="1" spcCol="0" horzOverflow="overflow" lIns="72000" rIns="72000" tIns="72000" bIns="72000" anchor="ctr">
                  <a:noAutofit/>
                </a:bodyPr>
                <a:p>
                  <a:pPr algn="ctr" defTabSz="457200">
                    <a:lnSpc>
                      <a:spcPct val="100000"/>
                    </a:lnSpc>
                    <a:tabLst>
                      <a:tab algn="l" pos="0"/>
                    </a:tabLst>
                  </a:pPr>
                  <a:endParaRPr b="0" lang="de-DE" sz="1600" spc="-1" strike="noStrike">
                    <a:solidFill>
                      <a:srgbClr val="000000"/>
                    </a:solidFill>
                    <a:latin typeface="Arial"/>
                    <a:ea typeface="Arial"/>
                  </a:endParaRPr>
                </a:p>
              </p:txBody>
            </p:sp>
            <p:sp>
              <p:nvSpPr>
                <p:cNvPr id="372" name="Freeform 11"/>
                <p:cNvSpPr/>
                <p:nvPr/>
              </p:nvSpPr>
              <p:spPr>
                <a:xfrm>
                  <a:off x="5388480" y="3916800"/>
                  <a:ext cx="77760" cy="69120"/>
                </a:xfrm>
                <a:custGeom>
                  <a:avLst/>
                  <a:gdLst/>
                  <a:ahLst/>
                  <a:rect l="l" t="t" r="r" b="b"/>
                  <a:pathLst>
                    <a:path w="78379" h="69713">
                      <a:moveTo>
                        <a:pt x="68693" y="69712"/>
                      </a:moveTo>
                      <a:lnTo>
                        <a:pt x="56167" y="64555"/>
                      </a:lnTo>
                      <a:lnTo>
                        <a:pt x="51481" y="59675"/>
                      </a:lnTo>
                      <a:lnTo>
                        <a:pt x="54139" y="55638"/>
                      </a:lnTo>
                      <a:lnTo>
                        <a:pt x="53300" y="50498"/>
                      </a:lnTo>
                      <a:lnTo>
                        <a:pt x="46901" y="44926"/>
                      </a:lnTo>
                      <a:lnTo>
                        <a:pt x="37817" y="40350"/>
                      </a:lnTo>
                      <a:lnTo>
                        <a:pt x="29871" y="37364"/>
                      </a:lnTo>
                      <a:lnTo>
                        <a:pt x="28355" y="30549"/>
                      </a:lnTo>
                      <a:lnTo>
                        <a:pt x="22300" y="26384"/>
                      </a:lnTo>
                      <a:lnTo>
                        <a:pt x="23784" y="33160"/>
                      </a:lnTo>
                      <a:lnTo>
                        <a:pt x="19178" y="38727"/>
                      </a:lnTo>
                      <a:lnTo>
                        <a:pt x="13902" y="32262"/>
                      </a:lnTo>
                      <a:lnTo>
                        <a:pt x="6485" y="29960"/>
                      </a:lnTo>
                      <a:lnTo>
                        <a:pt x="3331" y="25262"/>
                      </a:lnTo>
                      <a:lnTo>
                        <a:pt x="3463" y="18161"/>
                      </a:lnTo>
                      <a:lnTo>
                        <a:pt x="6519" y="10810"/>
                      </a:lnTo>
                      <a:lnTo>
                        <a:pt x="0" y="7519"/>
                      </a:lnTo>
                      <a:lnTo>
                        <a:pt x="5291" y="3007"/>
                      </a:lnTo>
                      <a:lnTo>
                        <a:pt x="8769" y="0"/>
                      </a:lnTo>
                      <a:lnTo>
                        <a:pt x="23977" y="6187"/>
                      </a:lnTo>
                      <a:lnTo>
                        <a:pt x="29284" y="3142"/>
                      </a:lnTo>
                      <a:lnTo>
                        <a:pt x="36605" y="5091"/>
                      </a:lnTo>
                      <a:lnTo>
                        <a:pt x="40431" y="9896"/>
                      </a:lnTo>
                      <a:lnTo>
                        <a:pt x="47243" y="11451"/>
                      </a:lnTo>
                      <a:lnTo>
                        <a:pt x="52770" y="6503"/>
                      </a:lnTo>
                      <a:lnTo>
                        <a:pt x="58617" y="19185"/>
                      </a:lnTo>
                      <a:lnTo>
                        <a:pt x="67541" y="28570"/>
                      </a:lnTo>
                      <a:lnTo>
                        <a:pt x="78378" y="38515"/>
                      </a:lnTo>
                      <a:lnTo>
                        <a:pt x="69452" y="40595"/>
                      </a:lnTo>
                      <a:lnTo>
                        <a:pt x="69585" y="49964"/>
                      </a:lnTo>
                      <a:lnTo>
                        <a:pt x="74385" y="53422"/>
                      </a:lnTo>
                      <a:lnTo>
                        <a:pt x="70935" y="56177"/>
                      </a:lnTo>
                      <a:lnTo>
                        <a:pt x="71833" y="60386"/>
                      </a:lnTo>
                      <a:lnTo>
                        <a:pt x="69908" y="65100"/>
                      </a:lnTo>
                      <a:close/>
                    </a:path>
                  </a:pathLst>
                </a:custGeom>
                <a:solidFill>
                  <a:schemeClr val="accent1"/>
                </a:solidFill>
                <a:ln cap="rnd" w="3175">
                  <a:solidFill>
                    <a:srgbClr val="009fdf">
                      <a:lumMod val="60000"/>
                      <a:lumOff val="40000"/>
                    </a:srgbClr>
                  </a:solidFill>
                </a:ln>
              </p:spPr>
              <p:style>
                <a:lnRef idx="2">
                  <a:schemeClr val="accent1">
                    <a:shade val="50000"/>
                  </a:schemeClr>
                </a:lnRef>
                <a:fillRef idx="1">
                  <a:schemeClr val="accent1"/>
                </a:fillRef>
                <a:effectRef idx="0">
                  <a:schemeClr val="accent1"/>
                </a:effectRef>
                <a:fontRef idx="minor"/>
              </p:style>
              <p:txBody>
                <a:bodyPr numCol="1" spcCol="0" horzOverflow="overflow" lIns="72000" rIns="72000" tIns="34560" bIns="34560" anchor="ctr">
                  <a:noAutofit/>
                </a:bodyPr>
                <a:p>
                  <a:pPr algn="ctr" defTabSz="457200">
                    <a:lnSpc>
                      <a:spcPct val="100000"/>
                    </a:lnSpc>
                    <a:tabLst>
                      <a:tab algn="l" pos="0"/>
                    </a:tabLst>
                  </a:pPr>
                  <a:endParaRPr b="0" lang="de-DE" sz="1600" spc="-1" strike="noStrike">
                    <a:solidFill>
                      <a:srgbClr val="000000"/>
                    </a:solidFill>
                    <a:latin typeface="Arial"/>
                    <a:ea typeface="Arial"/>
                  </a:endParaRPr>
                </a:p>
              </p:txBody>
            </p:sp>
            <p:sp>
              <p:nvSpPr>
                <p:cNvPr id="373" name="Freeform 12"/>
                <p:cNvSpPr/>
                <p:nvPr/>
              </p:nvSpPr>
              <p:spPr>
                <a:xfrm>
                  <a:off x="5410800" y="3632760"/>
                  <a:ext cx="248400" cy="79920"/>
                </a:xfrm>
                <a:custGeom>
                  <a:avLst/>
                  <a:gdLst/>
                  <a:ahLst/>
                  <a:rect l="l" t="t" r="r" b="b"/>
                  <a:pathLst>
                    <a:path w="249222" h="80557">
                      <a:moveTo>
                        <a:pt x="62479" y="0"/>
                      </a:moveTo>
                      <a:lnTo>
                        <a:pt x="82416" y="1736"/>
                      </a:lnTo>
                      <a:lnTo>
                        <a:pt x="100552" y="2011"/>
                      </a:lnTo>
                      <a:lnTo>
                        <a:pt x="122232" y="10296"/>
                      </a:lnTo>
                      <a:lnTo>
                        <a:pt x="131420" y="19185"/>
                      </a:lnTo>
                      <a:lnTo>
                        <a:pt x="152980" y="16444"/>
                      </a:lnTo>
                      <a:lnTo>
                        <a:pt x="161155" y="22144"/>
                      </a:lnTo>
                      <a:lnTo>
                        <a:pt x="180703" y="37140"/>
                      </a:lnTo>
                      <a:lnTo>
                        <a:pt x="195074" y="48036"/>
                      </a:lnTo>
                      <a:lnTo>
                        <a:pt x="202673" y="47704"/>
                      </a:lnTo>
                      <a:lnTo>
                        <a:pt x="216439" y="52624"/>
                      </a:lnTo>
                      <a:lnTo>
                        <a:pt x="214758" y="59408"/>
                      </a:lnTo>
                      <a:lnTo>
                        <a:pt x="231774" y="60400"/>
                      </a:lnTo>
                      <a:lnTo>
                        <a:pt x="249221" y="70248"/>
                      </a:lnTo>
                      <a:lnTo>
                        <a:pt x="246483" y="75877"/>
                      </a:lnTo>
                      <a:lnTo>
                        <a:pt x="231134" y="78924"/>
                      </a:lnTo>
                      <a:lnTo>
                        <a:pt x="215598" y="80117"/>
                      </a:lnTo>
                      <a:lnTo>
                        <a:pt x="199694" y="78217"/>
                      </a:lnTo>
                      <a:lnTo>
                        <a:pt x="166644" y="80556"/>
                      </a:lnTo>
                      <a:lnTo>
                        <a:pt x="182118" y="67152"/>
                      </a:lnTo>
                      <a:lnTo>
                        <a:pt x="172711" y="60901"/>
                      </a:lnTo>
                      <a:lnTo>
                        <a:pt x="157831" y="59291"/>
                      </a:lnTo>
                      <a:lnTo>
                        <a:pt x="149855" y="52335"/>
                      </a:lnTo>
                      <a:lnTo>
                        <a:pt x="144383" y="38584"/>
                      </a:lnTo>
                      <a:lnTo>
                        <a:pt x="131338" y="39526"/>
                      </a:lnTo>
                      <a:lnTo>
                        <a:pt x="109814" y="33041"/>
                      </a:lnTo>
                      <a:lnTo>
                        <a:pt x="102888" y="27963"/>
                      </a:lnTo>
                      <a:lnTo>
                        <a:pt x="72802" y="24208"/>
                      </a:lnTo>
                      <a:lnTo>
                        <a:pt x="64745" y="19478"/>
                      </a:lnTo>
                      <a:lnTo>
                        <a:pt x="73401" y="13414"/>
                      </a:lnTo>
                      <a:lnTo>
                        <a:pt x="50759" y="12171"/>
                      </a:lnTo>
                      <a:lnTo>
                        <a:pt x="34173" y="24778"/>
                      </a:lnTo>
                      <a:lnTo>
                        <a:pt x="24609" y="25116"/>
                      </a:lnTo>
                      <a:lnTo>
                        <a:pt x="21300" y="31026"/>
                      </a:lnTo>
                      <a:lnTo>
                        <a:pt x="9877" y="33672"/>
                      </a:lnTo>
                      <a:lnTo>
                        <a:pt x="0" y="31378"/>
                      </a:lnTo>
                      <a:lnTo>
                        <a:pt x="12184" y="23896"/>
                      </a:lnTo>
                      <a:lnTo>
                        <a:pt x="17186" y="15143"/>
                      </a:lnTo>
                      <a:lnTo>
                        <a:pt x="27623" y="9742"/>
                      </a:lnTo>
                      <a:lnTo>
                        <a:pt x="39411" y="5003"/>
                      </a:lnTo>
                      <a:lnTo>
                        <a:pt x="56887" y="2674"/>
                      </a:lnTo>
                      <a:close/>
                    </a:path>
                  </a:pathLst>
                </a:custGeom>
                <a:solidFill>
                  <a:schemeClr val="accent1"/>
                </a:solidFill>
                <a:ln cap="rnd" w="3175">
                  <a:solidFill>
                    <a:srgbClr val="009fdf">
                      <a:lumMod val="60000"/>
                      <a:lumOff val="40000"/>
                    </a:srgbClr>
                  </a:solidFill>
                </a:ln>
              </p:spPr>
              <p:style>
                <a:lnRef idx="2">
                  <a:schemeClr val="accent1">
                    <a:shade val="50000"/>
                  </a:schemeClr>
                </a:lnRef>
                <a:fillRef idx="1">
                  <a:schemeClr val="accent1"/>
                </a:fillRef>
                <a:effectRef idx="0">
                  <a:schemeClr val="accent1"/>
                </a:effectRef>
                <a:fontRef idx="minor"/>
              </p:style>
              <p:txBody>
                <a:bodyPr numCol="1" spcCol="0" horzOverflow="overflow" lIns="72000" rIns="72000" tIns="39960" bIns="39960" anchor="ctr">
                  <a:noAutofit/>
                </a:bodyPr>
                <a:p>
                  <a:pPr algn="ctr" defTabSz="457200">
                    <a:lnSpc>
                      <a:spcPct val="100000"/>
                    </a:lnSpc>
                    <a:tabLst>
                      <a:tab algn="l" pos="0"/>
                    </a:tabLst>
                  </a:pPr>
                  <a:endParaRPr b="0" lang="de-DE" sz="1600" spc="-1" strike="noStrike">
                    <a:solidFill>
                      <a:srgbClr val="000000"/>
                    </a:solidFill>
                    <a:latin typeface="Arial"/>
                    <a:ea typeface="Arial"/>
                  </a:endParaRPr>
                </a:p>
              </p:txBody>
            </p:sp>
            <p:sp>
              <p:nvSpPr>
                <p:cNvPr id="374" name="Freeform 13"/>
                <p:cNvSpPr/>
                <p:nvPr/>
              </p:nvSpPr>
              <p:spPr>
                <a:xfrm>
                  <a:off x="5710680" y="3712320"/>
                  <a:ext cx="83160" cy="54000"/>
                </a:xfrm>
                <a:custGeom>
                  <a:avLst/>
                  <a:gdLst/>
                  <a:ahLst/>
                  <a:rect l="l" t="t" r="r" b="b"/>
                  <a:pathLst>
                    <a:path w="83726" h="54639">
                      <a:moveTo>
                        <a:pt x="5372" y="4090"/>
                      </a:moveTo>
                      <a:lnTo>
                        <a:pt x="8259" y="0"/>
                      </a:lnTo>
                      <a:lnTo>
                        <a:pt x="26277" y="111"/>
                      </a:lnTo>
                      <a:lnTo>
                        <a:pt x="39950" y="6286"/>
                      </a:lnTo>
                      <a:lnTo>
                        <a:pt x="46034" y="5684"/>
                      </a:lnTo>
                      <a:lnTo>
                        <a:pt x="50225" y="14184"/>
                      </a:lnTo>
                      <a:lnTo>
                        <a:pt x="62854" y="13707"/>
                      </a:lnTo>
                      <a:lnTo>
                        <a:pt x="62110" y="20840"/>
                      </a:lnTo>
                      <a:lnTo>
                        <a:pt x="72380" y="21703"/>
                      </a:lnTo>
                      <a:lnTo>
                        <a:pt x="83725" y="30472"/>
                      </a:lnTo>
                      <a:lnTo>
                        <a:pt x="75152" y="40187"/>
                      </a:lnTo>
                      <a:lnTo>
                        <a:pt x="64173" y="34998"/>
                      </a:lnTo>
                      <a:lnTo>
                        <a:pt x="53578" y="35999"/>
                      </a:lnTo>
                      <a:lnTo>
                        <a:pt x="45984" y="34863"/>
                      </a:lnTo>
                      <a:lnTo>
                        <a:pt x="41823" y="39215"/>
                      </a:lnTo>
                      <a:lnTo>
                        <a:pt x="32961" y="40684"/>
                      </a:lnTo>
                      <a:lnTo>
                        <a:pt x="29449" y="34897"/>
                      </a:lnTo>
                      <a:lnTo>
                        <a:pt x="21817" y="38322"/>
                      </a:lnTo>
                      <a:lnTo>
                        <a:pt x="12578" y="54638"/>
                      </a:lnTo>
                      <a:lnTo>
                        <a:pt x="6635" y="50853"/>
                      </a:lnTo>
                      <a:lnTo>
                        <a:pt x="5466" y="44006"/>
                      </a:lnTo>
                      <a:lnTo>
                        <a:pt x="5941" y="37527"/>
                      </a:lnTo>
                      <a:lnTo>
                        <a:pt x="0" y="30360"/>
                      </a:lnTo>
                      <a:lnTo>
                        <a:pt x="5627" y="26333"/>
                      </a:lnTo>
                      <a:lnTo>
                        <a:pt x="7392" y="17139"/>
                      </a:lnTo>
                      <a:close/>
                    </a:path>
                  </a:pathLst>
                </a:custGeom>
                <a:solidFill>
                  <a:schemeClr val="accent1">
                    <a:lumMod val="20000"/>
                    <a:lumOff val="80000"/>
                  </a:schemeClr>
                </a:solidFill>
                <a:ln cap="rnd" w="3175">
                  <a:solidFill>
                    <a:srgbClr val="009fdf">
                      <a:lumMod val="60000"/>
                      <a:lumOff val="40000"/>
                    </a:srgbClr>
                  </a:solidFill>
                </a:ln>
              </p:spPr>
              <p:style>
                <a:lnRef idx="2">
                  <a:schemeClr val="accent1">
                    <a:shade val="50000"/>
                  </a:schemeClr>
                </a:lnRef>
                <a:fillRef idx="1">
                  <a:schemeClr val="accent1"/>
                </a:fillRef>
                <a:effectRef idx="0">
                  <a:schemeClr val="accent1"/>
                </a:effectRef>
                <a:fontRef idx="minor"/>
              </p:style>
              <p:txBody>
                <a:bodyPr numCol="1" spcCol="0" horzOverflow="overflow" lIns="72000" rIns="72000" tIns="27000" bIns="27000" anchor="ctr">
                  <a:noAutofit/>
                </a:bodyPr>
                <a:p>
                  <a:pPr algn="ctr" defTabSz="457200">
                    <a:lnSpc>
                      <a:spcPct val="100000"/>
                    </a:lnSpc>
                    <a:tabLst>
                      <a:tab algn="l" pos="0"/>
                    </a:tabLst>
                  </a:pPr>
                  <a:endParaRPr b="0" lang="de-DE" sz="1600" spc="-1" strike="noStrike">
                    <a:solidFill>
                      <a:srgbClr val="000000"/>
                    </a:solidFill>
                    <a:latin typeface="Arial"/>
                    <a:ea typeface="Arial"/>
                  </a:endParaRPr>
                </a:p>
              </p:txBody>
            </p:sp>
            <p:sp>
              <p:nvSpPr>
                <p:cNvPr id="375" name="Freeform 14"/>
                <p:cNvSpPr/>
                <p:nvPr/>
              </p:nvSpPr>
              <p:spPr>
                <a:xfrm>
                  <a:off x="5502960" y="4144680"/>
                  <a:ext cx="131760" cy="145800"/>
                </a:xfrm>
                <a:custGeom>
                  <a:avLst/>
                  <a:gdLst/>
                  <a:ahLst/>
                  <a:rect l="l" t="t" r="r" b="b"/>
                  <a:pathLst>
                    <a:path w="132358" h="146440">
                      <a:moveTo>
                        <a:pt x="15354" y="110500"/>
                      </a:moveTo>
                      <a:lnTo>
                        <a:pt x="27641" y="93234"/>
                      </a:lnTo>
                      <a:lnTo>
                        <a:pt x="22649" y="83148"/>
                      </a:lnTo>
                      <a:lnTo>
                        <a:pt x="13826" y="93873"/>
                      </a:lnTo>
                      <a:lnTo>
                        <a:pt x="0" y="83751"/>
                      </a:lnTo>
                      <a:lnTo>
                        <a:pt x="4685" y="77242"/>
                      </a:lnTo>
                      <a:lnTo>
                        <a:pt x="787" y="56287"/>
                      </a:lnTo>
                      <a:lnTo>
                        <a:pt x="8873" y="52806"/>
                      </a:lnTo>
                      <a:lnTo>
                        <a:pt x="13121" y="38426"/>
                      </a:lnTo>
                      <a:lnTo>
                        <a:pt x="21856" y="23560"/>
                      </a:lnTo>
                      <a:lnTo>
                        <a:pt x="20247" y="14140"/>
                      </a:lnTo>
                      <a:lnTo>
                        <a:pt x="32893" y="9188"/>
                      </a:lnTo>
                      <a:lnTo>
                        <a:pt x="48762" y="0"/>
                      </a:lnTo>
                      <a:lnTo>
                        <a:pt x="71849" y="13182"/>
                      </a:lnTo>
                      <a:lnTo>
                        <a:pt x="76153" y="12813"/>
                      </a:lnTo>
                      <a:lnTo>
                        <a:pt x="81777" y="22744"/>
                      </a:lnTo>
                      <a:lnTo>
                        <a:pt x="101365" y="25947"/>
                      </a:lnTo>
                      <a:lnTo>
                        <a:pt x="107922" y="22274"/>
                      </a:lnTo>
                      <a:lnTo>
                        <a:pt x="119252" y="29920"/>
                      </a:lnTo>
                      <a:lnTo>
                        <a:pt x="129137" y="35387"/>
                      </a:lnTo>
                      <a:lnTo>
                        <a:pt x="132357" y="52916"/>
                      </a:lnTo>
                      <a:lnTo>
                        <a:pt x="125172" y="67926"/>
                      </a:lnTo>
                      <a:lnTo>
                        <a:pt x="100003" y="92106"/>
                      </a:lnTo>
                      <a:lnTo>
                        <a:pt x="72245" y="101216"/>
                      </a:lnTo>
                      <a:lnTo>
                        <a:pt x="58101" y="121322"/>
                      </a:lnTo>
                      <a:lnTo>
                        <a:pt x="53733" y="136923"/>
                      </a:lnTo>
                      <a:lnTo>
                        <a:pt x="40682" y="146439"/>
                      </a:lnTo>
                      <a:lnTo>
                        <a:pt x="30995" y="134759"/>
                      </a:lnTo>
                      <a:lnTo>
                        <a:pt x="21671" y="132259"/>
                      </a:lnTo>
                      <a:lnTo>
                        <a:pt x="12130" y="134100"/>
                      </a:lnTo>
                      <a:lnTo>
                        <a:pt x="11506" y="125627"/>
                      </a:lnTo>
                      <a:lnTo>
                        <a:pt x="18091" y="120122"/>
                      </a:lnTo>
                      <a:close/>
                    </a:path>
                  </a:pathLst>
                </a:custGeom>
                <a:solidFill>
                  <a:schemeClr val="accent1"/>
                </a:solidFill>
                <a:ln cap="rnd" w="3175">
                  <a:solidFill>
                    <a:srgbClr val="009fdf">
                      <a:lumMod val="60000"/>
                      <a:lumOff val="40000"/>
                    </a:srgbClr>
                  </a:solidFill>
                </a:ln>
              </p:spPr>
              <p:style>
                <a:lnRef idx="2">
                  <a:schemeClr val="accent1">
                    <a:shade val="50000"/>
                  </a:schemeClr>
                </a:lnRef>
                <a:fillRef idx="1">
                  <a:schemeClr val="accent1"/>
                </a:fillRef>
                <a:effectRef idx="0">
                  <a:schemeClr val="accent1"/>
                </a:effectRef>
                <a:fontRef idx="minor"/>
              </p:style>
              <p:txBody>
                <a:bodyPr numCol="1" spcCol="0" horzOverflow="overflow" lIns="72000" rIns="72000" tIns="72000" bIns="72000" anchor="ctr">
                  <a:noAutofit/>
                </a:bodyPr>
                <a:p>
                  <a:pPr algn="ctr" defTabSz="457200">
                    <a:lnSpc>
                      <a:spcPct val="100000"/>
                    </a:lnSpc>
                    <a:tabLst>
                      <a:tab algn="l" pos="0"/>
                    </a:tabLst>
                  </a:pPr>
                  <a:endParaRPr b="0" lang="de-DE" sz="1600" spc="-1" strike="noStrike">
                    <a:solidFill>
                      <a:srgbClr val="000000"/>
                    </a:solidFill>
                    <a:latin typeface="Arial"/>
                    <a:ea typeface="Arial"/>
                  </a:endParaRPr>
                </a:p>
              </p:txBody>
            </p:sp>
            <p:sp>
              <p:nvSpPr>
                <p:cNvPr id="376" name="Freeform 15"/>
                <p:cNvSpPr/>
                <p:nvPr/>
              </p:nvSpPr>
              <p:spPr>
                <a:xfrm>
                  <a:off x="5243400" y="3761640"/>
                  <a:ext cx="91800" cy="96120"/>
                </a:xfrm>
                <a:custGeom>
                  <a:avLst/>
                  <a:gdLst/>
                  <a:ahLst/>
                  <a:rect l="l" t="t" r="r" b="b"/>
                  <a:pathLst>
                    <a:path w="92429" h="96620">
                      <a:moveTo>
                        <a:pt x="49251" y="96619"/>
                      </a:moveTo>
                      <a:lnTo>
                        <a:pt x="37408" y="92516"/>
                      </a:lnTo>
                      <a:lnTo>
                        <a:pt x="23009" y="92091"/>
                      </a:lnTo>
                      <a:lnTo>
                        <a:pt x="12453" y="87423"/>
                      </a:lnTo>
                      <a:lnTo>
                        <a:pt x="34" y="77705"/>
                      </a:lnTo>
                      <a:lnTo>
                        <a:pt x="600" y="70837"/>
                      </a:lnTo>
                      <a:lnTo>
                        <a:pt x="3278" y="65305"/>
                      </a:lnTo>
                      <a:lnTo>
                        <a:pt x="0" y="60893"/>
                      </a:lnTo>
                      <a:lnTo>
                        <a:pt x="11109" y="41619"/>
                      </a:lnTo>
                      <a:lnTo>
                        <a:pt x="40735" y="41548"/>
                      </a:lnTo>
                      <a:lnTo>
                        <a:pt x="41327" y="33481"/>
                      </a:lnTo>
                      <a:lnTo>
                        <a:pt x="37587" y="32043"/>
                      </a:lnTo>
                      <a:lnTo>
                        <a:pt x="35026" y="26903"/>
                      </a:lnTo>
                      <a:lnTo>
                        <a:pt x="26489" y="21421"/>
                      </a:lnTo>
                      <a:lnTo>
                        <a:pt x="17896" y="13494"/>
                      </a:lnTo>
                      <a:lnTo>
                        <a:pt x="28322" y="13435"/>
                      </a:lnTo>
                      <a:lnTo>
                        <a:pt x="28339" y="41"/>
                      </a:lnTo>
                      <a:lnTo>
                        <a:pt x="49889" y="0"/>
                      </a:lnTo>
                      <a:lnTo>
                        <a:pt x="71237" y="262"/>
                      </a:lnTo>
                      <a:lnTo>
                        <a:pt x="71058" y="19116"/>
                      </a:lnTo>
                      <a:lnTo>
                        <a:pt x="69251" y="45870"/>
                      </a:lnTo>
                      <a:lnTo>
                        <a:pt x="76141" y="45863"/>
                      </a:lnTo>
                      <a:lnTo>
                        <a:pt x="83667" y="50142"/>
                      </a:lnTo>
                      <a:lnTo>
                        <a:pt x="85657" y="46617"/>
                      </a:lnTo>
                      <a:lnTo>
                        <a:pt x="92428" y="49637"/>
                      </a:lnTo>
                      <a:lnTo>
                        <a:pt x="81910" y="58654"/>
                      </a:lnTo>
                      <a:lnTo>
                        <a:pt x="70966" y="65262"/>
                      </a:lnTo>
                      <a:lnTo>
                        <a:pt x="69341" y="69795"/>
                      </a:lnTo>
                      <a:lnTo>
                        <a:pt x="71180" y="74424"/>
                      </a:lnTo>
                      <a:lnTo>
                        <a:pt x="66384" y="80407"/>
                      </a:lnTo>
                      <a:lnTo>
                        <a:pt x="60982" y="81857"/>
                      </a:lnTo>
                      <a:lnTo>
                        <a:pt x="62208" y="84631"/>
                      </a:lnTo>
                      <a:lnTo>
                        <a:pt x="57875" y="87234"/>
                      </a:lnTo>
                      <a:lnTo>
                        <a:pt x="49964" y="93170"/>
                      </a:lnTo>
                      <a:close/>
                    </a:path>
                  </a:pathLst>
                </a:custGeom>
                <a:solidFill>
                  <a:schemeClr val="accent1">
                    <a:lumMod val="20000"/>
                    <a:lumOff val="80000"/>
                  </a:schemeClr>
                </a:solidFill>
                <a:ln cap="rnd" w="3175">
                  <a:solidFill>
                    <a:srgbClr val="009fdf">
                      <a:lumMod val="60000"/>
                      <a:lumOff val="40000"/>
                    </a:srgbClr>
                  </a:solidFill>
                </a:ln>
              </p:spPr>
              <p:style>
                <a:lnRef idx="2">
                  <a:schemeClr val="accent1">
                    <a:shade val="50000"/>
                  </a:schemeClr>
                </a:lnRef>
                <a:fillRef idx="1">
                  <a:schemeClr val="accent1"/>
                </a:fillRef>
                <a:effectRef idx="0">
                  <a:schemeClr val="accent1"/>
                </a:effectRef>
                <a:fontRef idx="minor"/>
              </p:style>
              <p:txBody>
                <a:bodyPr numCol="1" spcCol="0" horzOverflow="overflow" lIns="72000" rIns="72000" tIns="47880" bIns="47880" anchor="ctr">
                  <a:noAutofit/>
                </a:bodyPr>
                <a:p>
                  <a:pPr algn="ctr" defTabSz="457200">
                    <a:lnSpc>
                      <a:spcPct val="100000"/>
                    </a:lnSpc>
                    <a:tabLst>
                      <a:tab algn="l" pos="0"/>
                    </a:tabLst>
                  </a:pPr>
                  <a:endParaRPr b="0" lang="de-DE" sz="1600" spc="-1" strike="noStrike">
                    <a:solidFill>
                      <a:srgbClr val="000000"/>
                    </a:solidFill>
                    <a:latin typeface="Arial"/>
                    <a:ea typeface="Arial"/>
                  </a:endParaRPr>
                </a:p>
              </p:txBody>
            </p:sp>
            <p:sp>
              <p:nvSpPr>
                <p:cNvPr id="377" name="Freeform 16"/>
                <p:cNvSpPr/>
                <p:nvPr/>
              </p:nvSpPr>
              <p:spPr>
                <a:xfrm>
                  <a:off x="5953680" y="3983040"/>
                  <a:ext cx="111960" cy="163440"/>
                </a:xfrm>
                <a:custGeom>
                  <a:avLst/>
                  <a:gdLst/>
                  <a:ahLst/>
                  <a:rect l="l" t="t" r="r" b="b"/>
                  <a:pathLst>
                    <a:path w="112435" h="164303">
                      <a:moveTo>
                        <a:pt x="38133" y="0"/>
                      </a:moveTo>
                      <a:lnTo>
                        <a:pt x="53289" y="8547"/>
                      </a:lnTo>
                      <a:lnTo>
                        <a:pt x="67571" y="23672"/>
                      </a:lnTo>
                      <a:lnTo>
                        <a:pt x="68220" y="35616"/>
                      </a:lnTo>
                      <a:lnTo>
                        <a:pt x="76917" y="36165"/>
                      </a:lnTo>
                      <a:lnTo>
                        <a:pt x="89286" y="47473"/>
                      </a:lnTo>
                      <a:lnTo>
                        <a:pt x="98399" y="55538"/>
                      </a:lnTo>
                      <a:lnTo>
                        <a:pt x="94710" y="76365"/>
                      </a:lnTo>
                      <a:lnTo>
                        <a:pt x="80698" y="82403"/>
                      </a:lnTo>
                      <a:lnTo>
                        <a:pt x="81946" y="87858"/>
                      </a:lnTo>
                      <a:lnTo>
                        <a:pt x="77688" y="99789"/>
                      </a:lnTo>
                      <a:lnTo>
                        <a:pt x="87916" y="116574"/>
                      </a:lnTo>
                      <a:lnTo>
                        <a:pt x="95306" y="116601"/>
                      </a:lnTo>
                      <a:lnTo>
                        <a:pt x="98337" y="129644"/>
                      </a:lnTo>
                      <a:lnTo>
                        <a:pt x="112434" y="149723"/>
                      </a:lnTo>
                      <a:lnTo>
                        <a:pt x="106818" y="150550"/>
                      </a:lnTo>
                      <a:lnTo>
                        <a:pt x="94050" y="148592"/>
                      </a:lnTo>
                      <a:lnTo>
                        <a:pt x="86545" y="154732"/>
                      </a:lnTo>
                      <a:lnTo>
                        <a:pt x="76100" y="158782"/>
                      </a:lnTo>
                      <a:lnTo>
                        <a:pt x="68806" y="159780"/>
                      </a:lnTo>
                      <a:lnTo>
                        <a:pt x="66254" y="164302"/>
                      </a:lnTo>
                      <a:lnTo>
                        <a:pt x="54924" y="163157"/>
                      </a:lnTo>
                      <a:lnTo>
                        <a:pt x="40724" y="152324"/>
                      </a:lnTo>
                      <a:lnTo>
                        <a:pt x="39051" y="141639"/>
                      </a:lnTo>
                      <a:lnTo>
                        <a:pt x="33142" y="129961"/>
                      </a:lnTo>
                      <a:lnTo>
                        <a:pt x="36815" y="110292"/>
                      </a:lnTo>
                      <a:lnTo>
                        <a:pt x="43217" y="102148"/>
                      </a:lnTo>
                      <a:lnTo>
                        <a:pt x="37923" y="91403"/>
                      </a:lnTo>
                      <a:lnTo>
                        <a:pt x="29992" y="87900"/>
                      </a:lnTo>
                      <a:lnTo>
                        <a:pt x="32993" y="77742"/>
                      </a:lnTo>
                      <a:lnTo>
                        <a:pt x="27621" y="72409"/>
                      </a:lnTo>
                      <a:lnTo>
                        <a:pt x="15621" y="73433"/>
                      </a:lnTo>
                      <a:lnTo>
                        <a:pt x="0" y="55864"/>
                      </a:lnTo>
                      <a:lnTo>
                        <a:pt x="6253" y="49488"/>
                      </a:lnTo>
                      <a:lnTo>
                        <a:pt x="5793" y="38786"/>
                      </a:lnTo>
                      <a:lnTo>
                        <a:pt x="19997" y="35064"/>
                      </a:lnTo>
                      <a:lnTo>
                        <a:pt x="25729" y="30719"/>
                      </a:lnTo>
                      <a:lnTo>
                        <a:pt x="17828" y="22110"/>
                      </a:lnTo>
                      <a:lnTo>
                        <a:pt x="19845" y="13646"/>
                      </a:lnTo>
                      <a:close/>
                    </a:path>
                  </a:pathLst>
                </a:custGeom>
                <a:solidFill>
                  <a:schemeClr val="accent1">
                    <a:lumMod val="20000"/>
                    <a:lumOff val="80000"/>
                  </a:schemeClr>
                </a:solidFill>
                <a:ln cap="rnd" w="3175">
                  <a:solidFill>
                    <a:srgbClr val="009fdf">
                      <a:lumMod val="60000"/>
                      <a:lumOff val="40000"/>
                    </a:srgbClr>
                  </a:solidFill>
                </a:ln>
              </p:spPr>
              <p:style>
                <a:lnRef idx="2">
                  <a:schemeClr val="accent1">
                    <a:shade val="50000"/>
                  </a:schemeClr>
                </a:lnRef>
                <a:fillRef idx="1">
                  <a:schemeClr val="accent1"/>
                </a:fillRef>
                <a:effectRef idx="0">
                  <a:schemeClr val="accent1"/>
                </a:effectRef>
                <a:fontRef idx="minor"/>
              </p:style>
              <p:txBody>
                <a:bodyPr numCol="1" spcCol="0" horzOverflow="overflow" lIns="72000" rIns="72000" tIns="72000" bIns="72000" anchor="ctr">
                  <a:noAutofit/>
                </a:bodyPr>
                <a:p>
                  <a:pPr algn="ctr" defTabSz="457200">
                    <a:lnSpc>
                      <a:spcPct val="100000"/>
                    </a:lnSpc>
                    <a:tabLst>
                      <a:tab algn="l" pos="0"/>
                    </a:tabLst>
                  </a:pPr>
                  <a:endParaRPr b="0" lang="de-DE" sz="1600" spc="-1" strike="noStrike">
                    <a:solidFill>
                      <a:srgbClr val="000000"/>
                    </a:solidFill>
                    <a:latin typeface="Arial"/>
                    <a:ea typeface="Arial"/>
                  </a:endParaRPr>
                </a:p>
              </p:txBody>
            </p:sp>
            <p:sp>
              <p:nvSpPr>
                <p:cNvPr id="378" name="Freeform 17"/>
                <p:cNvSpPr/>
                <p:nvPr/>
              </p:nvSpPr>
              <p:spPr>
                <a:xfrm>
                  <a:off x="5309640" y="3804480"/>
                  <a:ext cx="142560" cy="70560"/>
                </a:xfrm>
                <a:custGeom>
                  <a:avLst/>
                  <a:gdLst/>
                  <a:ahLst/>
                  <a:rect l="l" t="t" r="r" b="b"/>
                  <a:pathLst>
                    <a:path w="143254" h="71186">
                      <a:moveTo>
                        <a:pt x="47011" y="71185"/>
                      </a:moveTo>
                      <a:lnTo>
                        <a:pt x="43024" y="63840"/>
                      </a:lnTo>
                      <a:lnTo>
                        <a:pt x="36013" y="61798"/>
                      </a:lnTo>
                      <a:lnTo>
                        <a:pt x="37620" y="52383"/>
                      </a:lnTo>
                      <a:lnTo>
                        <a:pt x="34481" y="49836"/>
                      </a:lnTo>
                      <a:lnTo>
                        <a:pt x="29730" y="48158"/>
                      </a:lnTo>
                      <a:lnTo>
                        <a:pt x="19604" y="50961"/>
                      </a:lnTo>
                      <a:lnTo>
                        <a:pt x="18745" y="47793"/>
                      </a:lnTo>
                      <a:lnTo>
                        <a:pt x="11778" y="44019"/>
                      </a:lnTo>
                      <a:lnTo>
                        <a:pt x="6805" y="39321"/>
                      </a:lnTo>
                      <a:lnTo>
                        <a:pt x="0" y="37340"/>
                      </a:lnTo>
                      <a:lnTo>
                        <a:pt x="4796" y="31357"/>
                      </a:lnTo>
                      <a:lnTo>
                        <a:pt x="2957" y="26728"/>
                      </a:lnTo>
                      <a:lnTo>
                        <a:pt x="4582" y="22195"/>
                      </a:lnTo>
                      <a:lnTo>
                        <a:pt x="15526" y="15587"/>
                      </a:lnTo>
                      <a:lnTo>
                        <a:pt x="26044" y="6570"/>
                      </a:lnTo>
                      <a:lnTo>
                        <a:pt x="28441" y="7494"/>
                      </a:lnTo>
                      <a:lnTo>
                        <a:pt x="33504" y="3336"/>
                      </a:lnTo>
                      <a:lnTo>
                        <a:pt x="40109" y="2996"/>
                      </a:lnTo>
                      <a:lnTo>
                        <a:pt x="42250" y="4925"/>
                      </a:lnTo>
                      <a:lnTo>
                        <a:pt x="45832" y="3750"/>
                      </a:lnTo>
                      <a:lnTo>
                        <a:pt x="56555" y="5884"/>
                      </a:lnTo>
                      <a:lnTo>
                        <a:pt x="67225" y="5266"/>
                      </a:lnTo>
                      <a:lnTo>
                        <a:pt x="74651" y="2650"/>
                      </a:lnTo>
                      <a:lnTo>
                        <a:pt x="77358" y="0"/>
                      </a:lnTo>
                      <a:lnTo>
                        <a:pt x="84713" y="1225"/>
                      </a:lnTo>
                      <a:lnTo>
                        <a:pt x="90237" y="2832"/>
                      </a:lnTo>
                      <a:lnTo>
                        <a:pt x="96275" y="2278"/>
                      </a:lnTo>
                      <a:lnTo>
                        <a:pt x="100862" y="224"/>
                      </a:lnTo>
                      <a:lnTo>
                        <a:pt x="111405" y="3507"/>
                      </a:lnTo>
                      <a:lnTo>
                        <a:pt x="115068" y="4029"/>
                      </a:lnTo>
                      <a:lnTo>
                        <a:pt x="122113" y="8450"/>
                      </a:lnTo>
                      <a:lnTo>
                        <a:pt x="128786" y="13748"/>
                      </a:lnTo>
                      <a:lnTo>
                        <a:pt x="137179" y="17367"/>
                      </a:lnTo>
                      <a:lnTo>
                        <a:pt x="143253" y="23860"/>
                      </a:lnTo>
                      <a:lnTo>
                        <a:pt x="135341" y="23378"/>
                      </a:lnTo>
                      <a:lnTo>
                        <a:pt x="132142" y="26592"/>
                      </a:lnTo>
                      <a:lnTo>
                        <a:pt x="124129" y="29673"/>
                      </a:lnTo>
                      <a:lnTo>
                        <a:pt x="118298" y="29689"/>
                      </a:lnTo>
                      <a:lnTo>
                        <a:pt x="113197" y="32687"/>
                      </a:lnTo>
                      <a:lnTo>
                        <a:pt x="108575" y="31621"/>
                      </a:lnTo>
                      <a:lnTo>
                        <a:pt x="104640" y="28018"/>
                      </a:lnTo>
                      <a:lnTo>
                        <a:pt x="102229" y="28705"/>
                      </a:lnTo>
                      <a:lnTo>
                        <a:pt x="99267" y="34338"/>
                      </a:lnTo>
                      <a:lnTo>
                        <a:pt x="97053" y="34134"/>
                      </a:lnTo>
                      <a:lnTo>
                        <a:pt x="96669" y="38983"/>
                      </a:lnTo>
                      <a:lnTo>
                        <a:pt x="88612" y="45467"/>
                      </a:lnTo>
                      <a:lnTo>
                        <a:pt x="84359" y="48265"/>
                      </a:lnTo>
                      <a:lnTo>
                        <a:pt x="81990" y="51183"/>
                      </a:lnTo>
                      <a:lnTo>
                        <a:pt x="75181" y="46428"/>
                      </a:lnTo>
                      <a:lnTo>
                        <a:pt x="70198" y="52705"/>
                      </a:lnTo>
                      <a:lnTo>
                        <a:pt x="65384" y="52537"/>
                      </a:lnTo>
                      <a:lnTo>
                        <a:pt x="59974" y="53093"/>
                      </a:lnTo>
                      <a:lnTo>
                        <a:pt x="60465" y="64649"/>
                      </a:lnTo>
                      <a:lnTo>
                        <a:pt x="57078" y="64858"/>
                      </a:lnTo>
                      <a:lnTo>
                        <a:pt x="54187" y="70220"/>
                      </a:lnTo>
                      <a:close/>
                    </a:path>
                  </a:pathLst>
                </a:custGeom>
                <a:solidFill>
                  <a:schemeClr val="accent1">
                    <a:lumMod val="20000"/>
                    <a:lumOff val="80000"/>
                  </a:schemeClr>
                </a:solidFill>
                <a:ln cap="rnd" w="3175">
                  <a:solidFill>
                    <a:srgbClr val="009fdf">
                      <a:lumMod val="60000"/>
                      <a:lumOff val="40000"/>
                    </a:srgbClr>
                  </a:solidFill>
                </a:ln>
              </p:spPr>
              <p:style>
                <a:lnRef idx="2">
                  <a:schemeClr val="accent1">
                    <a:shade val="50000"/>
                  </a:schemeClr>
                </a:lnRef>
                <a:fillRef idx="1">
                  <a:schemeClr val="accent1"/>
                </a:fillRef>
                <a:effectRef idx="0">
                  <a:schemeClr val="accent1"/>
                </a:effectRef>
                <a:fontRef idx="minor"/>
              </p:style>
              <p:txBody>
                <a:bodyPr numCol="1" spcCol="0" horzOverflow="overflow" lIns="72000" rIns="72000" tIns="35280" bIns="35280" anchor="ctr">
                  <a:noAutofit/>
                </a:bodyPr>
                <a:p>
                  <a:pPr algn="ctr" defTabSz="457200">
                    <a:lnSpc>
                      <a:spcPct val="100000"/>
                    </a:lnSpc>
                    <a:tabLst>
                      <a:tab algn="l" pos="0"/>
                    </a:tabLst>
                  </a:pPr>
                  <a:endParaRPr b="0" lang="de-DE" sz="1600" spc="-1" strike="noStrike">
                    <a:solidFill>
                      <a:srgbClr val="000000"/>
                    </a:solidFill>
                    <a:latin typeface="Arial"/>
                    <a:ea typeface="Arial"/>
                  </a:endParaRPr>
                </a:p>
              </p:txBody>
            </p:sp>
            <p:sp>
              <p:nvSpPr>
                <p:cNvPr id="379" name="Freeform 18"/>
                <p:cNvSpPr/>
                <p:nvPr/>
              </p:nvSpPr>
              <p:spPr>
                <a:xfrm>
                  <a:off x="5653080" y="3711600"/>
                  <a:ext cx="64800" cy="44640"/>
                </a:xfrm>
                <a:custGeom>
                  <a:avLst/>
                  <a:gdLst/>
                  <a:ahLst/>
                  <a:rect l="l" t="t" r="r" b="b"/>
                  <a:pathLst>
                    <a:path w="65398" h="45079">
                      <a:moveTo>
                        <a:pt x="29274" y="0"/>
                      </a:moveTo>
                      <a:lnTo>
                        <a:pt x="43357" y="1061"/>
                      </a:lnTo>
                      <a:lnTo>
                        <a:pt x="63377" y="4829"/>
                      </a:lnTo>
                      <a:lnTo>
                        <a:pt x="65397" y="17878"/>
                      </a:lnTo>
                      <a:lnTo>
                        <a:pt x="63632" y="27072"/>
                      </a:lnTo>
                      <a:lnTo>
                        <a:pt x="58005" y="31099"/>
                      </a:lnTo>
                      <a:lnTo>
                        <a:pt x="63946" y="38266"/>
                      </a:lnTo>
                      <a:lnTo>
                        <a:pt x="63471" y="44745"/>
                      </a:lnTo>
                      <a:lnTo>
                        <a:pt x="48140" y="40692"/>
                      </a:lnTo>
                      <a:lnTo>
                        <a:pt x="37246" y="42346"/>
                      </a:lnTo>
                      <a:lnTo>
                        <a:pt x="23163" y="40622"/>
                      </a:lnTo>
                      <a:lnTo>
                        <a:pt x="12363" y="45078"/>
                      </a:lnTo>
                      <a:lnTo>
                        <a:pt x="0" y="37649"/>
                      </a:lnTo>
                      <a:lnTo>
                        <a:pt x="2034" y="29952"/>
                      </a:lnTo>
                      <a:lnTo>
                        <a:pt x="23279" y="33269"/>
                      </a:lnTo>
                      <a:lnTo>
                        <a:pt x="40697" y="35184"/>
                      </a:lnTo>
                      <a:lnTo>
                        <a:pt x="49008" y="29868"/>
                      </a:lnTo>
                      <a:lnTo>
                        <a:pt x="38464" y="19511"/>
                      </a:lnTo>
                      <a:lnTo>
                        <a:pt x="38639" y="10364"/>
                      </a:lnTo>
                      <a:lnTo>
                        <a:pt x="24075" y="6626"/>
                      </a:lnTo>
                      <a:close/>
                    </a:path>
                  </a:pathLst>
                </a:custGeom>
                <a:solidFill>
                  <a:schemeClr val="accent1">
                    <a:lumMod val="20000"/>
                    <a:lumOff val="80000"/>
                  </a:schemeClr>
                </a:solidFill>
                <a:ln cap="rnd" w="3175">
                  <a:solidFill>
                    <a:srgbClr val="009fdf">
                      <a:lumMod val="60000"/>
                      <a:lumOff val="40000"/>
                    </a:srgbClr>
                  </a:solidFill>
                </a:ln>
              </p:spPr>
              <p:style>
                <a:lnRef idx="2">
                  <a:schemeClr val="accent1">
                    <a:shade val="50000"/>
                  </a:schemeClr>
                </a:lnRef>
                <a:fillRef idx="1">
                  <a:schemeClr val="accent1"/>
                </a:fillRef>
                <a:effectRef idx="0">
                  <a:schemeClr val="accent1"/>
                </a:effectRef>
                <a:fontRef idx="minor"/>
              </p:style>
              <p:txBody>
                <a:bodyPr numCol="1" spcCol="0" horzOverflow="overflow" lIns="72000" rIns="72000" tIns="22320" bIns="22320" anchor="ctr">
                  <a:noAutofit/>
                </a:bodyPr>
                <a:p>
                  <a:pPr algn="ctr" defTabSz="457200">
                    <a:lnSpc>
                      <a:spcPct val="100000"/>
                    </a:lnSpc>
                    <a:tabLst>
                      <a:tab algn="l" pos="0"/>
                    </a:tabLst>
                  </a:pPr>
                  <a:endParaRPr b="0" lang="de-DE" sz="1600" spc="-1" strike="noStrike">
                    <a:solidFill>
                      <a:srgbClr val="000000"/>
                    </a:solidFill>
                    <a:latin typeface="Arial"/>
                    <a:ea typeface="Arial"/>
                  </a:endParaRPr>
                </a:p>
              </p:txBody>
            </p:sp>
            <p:sp>
              <p:nvSpPr>
                <p:cNvPr id="380" name="Freeform 19"/>
                <p:cNvSpPr/>
                <p:nvPr/>
              </p:nvSpPr>
              <p:spPr>
                <a:xfrm>
                  <a:off x="5563440" y="3744720"/>
                  <a:ext cx="48960" cy="19080"/>
                </a:xfrm>
                <a:custGeom>
                  <a:avLst/>
                  <a:gdLst/>
                  <a:ahLst/>
                  <a:rect l="l" t="t" r="r" b="b"/>
                  <a:pathLst>
                    <a:path w="49353" h="19625">
                      <a:moveTo>
                        <a:pt x="17730" y="805"/>
                      </a:moveTo>
                      <a:lnTo>
                        <a:pt x="33265" y="2945"/>
                      </a:lnTo>
                      <a:lnTo>
                        <a:pt x="45528" y="8674"/>
                      </a:lnTo>
                      <a:lnTo>
                        <a:pt x="49352" y="15201"/>
                      </a:lnTo>
                      <a:lnTo>
                        <a:pt x="33127" y="15644"/>
                      </a:lnTo>
                      <a:lnTo>
                        <a:pt x="26115" y="19624"/>
                      </a:lnTo>
                      <a:lnTo>
                        <a:pt x="13197" y="15802"/>
                      </a:lnTo>
                      <a:lnTo>
                        <a:pt x="0" y="7118"/>
                      </a:lnTo>
                      <a:lnTo>
                        <a:pt x="2770" y="1664"/>
                      </a:lnTo>
                      <a:lnTo>
                        <a:pt x="12473" y="0"/>
                      </a:lnTo>
                      <a:close/>
                    </a:path>
                  </a:pathLst>
                </a:custGeom>
                <a:solidFill>
                  <a:schemeClr val="accent1">
                    <a:lumMod val="20000"/>
                    <a:lumOff val="80000"/>
                  </a:schemeClr>
                </a:solidFill>
                <a:ln cap="rnd" w="3175">
                  <a:solidFill>
                    <a:srgbClr val="009fdf">
                      <a:lumMod val="60000"/>
                      <a:lumOff val="40000"/>
                    </a:srgbClr>
                  </a:solidFill>
                </a:ln>
              </p:spPr>
              <p:style>
                <a:lnRef idx="2">
                  <a:schemeClr val="accent1">
                    <a:shade val="50000"/>
                  </a:schemeClr>
                </a:lnRef>
                <a:fillRef idx="1">
                  <a:schemeClr val="accent1"/>
                </a:fillRef>
                <a:effectRef idx="0">
                  <a:schemeClr val="accent1"/>
                </a:effectRef>
                <a:fontRef idx="minor"/>
              </p:style>
              <p:txBody>
                <a:bodyPr numCol="1" spcCol="0" horzOverflow="overflow" lIns="72000" rIns="72000" tIns="9360" bIns="9360" anchor="ctr">
                  <a:noAutofit/>
                </a:bodyPr>
                <a:p>
                  <a:pPr algn="ctr" defTabSz="457200">
                    <a:lnSpc>
                      <a:spcPct val="100000"/>
                    </a:lnSpc>
                    <a:tabLst>
                      <a:tab algn="l" pos="0"/>
                    </a:tabLst>
                  </a:pPr>
                  <a:endParaRPr b="0" lang="de-DE" sz="1600" spc="-1" strike="noStrike">
                    <a:solidFill>
                      <a:srgbClr val="000000"/>
                    </a:solidFill>
                    <a:latin typeface="Arial"/>
                    <a:ea typeface="Arial"/>
                  </a:endParaRPr>
                </a:p>
              </p:txBody>
            </p:sp>
            <p:sp>
              <p:nvSpPr>
                <p:cNvPr id="381" name="Freeform 20"/>
                <p:cNvSpPr/>
                <p:nvPr/>
              </p:nvSpPr>
              <p:spPr>
                <a:xfrm>
                  <a:off x="4669920" y="3394800"/>
                  <a:ext cx="698040" cy="443880"/>
                </a:xfrm>
                <a:custGeom>
                  <a:avLst/>
                  <a:gdLst/>
                  <a:ahLst/>
                  <a:rect l="l" t="t" r="r" b="b"/>
                  <a:pathLst>
                    <a:path w="699770" h="445097">
                      <a:moveTo>
                        <a:pt x="461371" y="172445"/>
                      </a:moveTo>
                      <a:lnTo>
                        <a:pt x="452414" y="194057"/>
                      </a:lnTo>
                      <a:lnTo>
                        <a:pt x="448377" y="211705"/>
                      </a:lnTo>
                      <a:lnTo>
                        <a:pt x="446690" y="244390"/>
                      </a:lnTo>
                      <a:lnTo>
                        <a:pt x="444466" y="256253"/>
                      </a:lnTo>
                      <a:lnTo>
                        <a:pt x="448467" y="269474"/>
                      </a:lnTo>
                      <a:lnTo>
                        <a:pt x="455625" y="281265"/>
                      </a:lnTo>
                      <a:lnTo>
                        <a:pt x="460233" y="299968"/>
                      </a:lnTo>
                      <a:lnTo>
                        <a:pt x="475554" y="317865"/>
                      </a:lnTo>
                      <a:lnTo>
                        <a:pt x="480943" y="331544"/>
                      </a:lnTo>
                      <a:lnTo>
                        <a:pt x="489973" y="343324"/>
                      </a:lnTo>
                      <a:lnTo>
                        <a:pt x="514483" y="349663"/>
                      </a:lnTo>
                      <a:lnTo>
                        <a:pt x="524024" y="359645"/>
                      </a:lnTo>
                      <a:lnTo>
                        <a:pt x="544269" y="352979"/>
                      </a:lnTo>
                      <a:lnTo>
                        <a:pt x="561871" y="350567"/>
                      </a:lnTo>
                      <a:lnTo>
                        <a:pt x="579154" y="346274"/>
                      </a:lnTo>
                      <a:lnTo>
                        <a:pt x="593684" y="342175"/>
                      </a:lnTo>
                      <a:lnTo>
                        <a:pt x="608365" y="332412"/>
                      </a:lnTo>
                      <a:lnTo>
                        <a:pt x="613865" y="318429"/>
                      </a:lnTo>
                      <a:lnTo>
                        <a:pt x="615760" y="298232"/>
                      </a:lnTo>
                      <a:lnTo>
                        <a:pt x="619750" y="291188"/>
                      </a:lnTo>
                      <a:lnTo>
                        <a:pt x="635384" y="284870"/>
                      </a:lnTo>
                      <a:lnTo>
                        <a:pt x="659793" y="279268"/>
                      </a:lnTo>
                      <a:lnTo>
                        <a:pt x="680232" y="280110"/>
                      </a:lnTo>
                      <a:lnTo>
                        <a:pt x="694232" y="278064"/>
                      </a:lnTo>
                      <a:lnTo>
                        <a:pt x="699769" y="283185"/>
                      </a:lnTo>
                      <a:lnTo>
                        <a:pt x="698986" y="294803"/>
                      </a:lnTo>
                      <a:lnTo>
                        <a:pt x="686582" y="309110"/>
                      </a:lnTo>
                      <a:lnTo>
                        <a:pt x="681094" y="323727"/>
                      </a:lnTo>
                      <a:lnTo>
                        <a:pt x="685348" y="327902"/>
                      </a:lnTo>
                      <a:lnTo>
                        <a:pt x="681890" y="338252"/>
                      </a:lnTo>
                      <a:lnTo>
                        <a:pt x="676105" y="356892"/>
                      </a:lnTo>
                      <a:lnTo>
                        <a:pt x="670254" y="350763"/>
                      </a:lnTo>
                      <a:lnTo>
                        <a:pt x="665421" y="351161"/>
                      </a:lnTo>
                      <a:lnTo>
                        <a:pt x="661034" y="351475"/>
                      </a:lnTo>
                      <a:lnTo>
                        <a:pt x="652765" y="365870"/>
                      </a:lnTo>
                      <a:lnTo>
                        <a:pt x="648575" y="363051"/>
                      </a:lnTo>
                      <a:lnTo>
                        <a:pt x="645781" y="364148"/>
                      </a:lnTo>
                      <a:lnTo>
                        <a:pt x="645962" y="367653"/>
                      </a:lnTo>
                      <a:lnTo>
                        <a:pt x="624614" y="367391"/>
                      </a:lnTo>
                      <a:lnTo>
                        <a:pt x="603064" y="367432"/>
                      </a:lnTo>
                      <a:lnTo>
                        <a:pt x="603047" y="380826"/>
                      </a:lnTo>
                      <a:lnTo>
                        <a:pt x="592621" y="380885"/>
                      </a:lnTo>
                      <a:lnTo>
                        <a:pt x="601214" y="388812"/>
                      </a:lnTo>
                      <a:lnTo>
                        <a:pt x="609751" y="394294"/>
                      </a:lnTo>
                      <a:lnTo>
                        <a:pt x="612312" y="399434"/>
                      </a:lnTo>
                      <a:lnTo>
                        <a:pt x="616052" y="400872"/>
                      </a:lnTo>
                      <a:lnTo>
                        <a:pt x="615460" y="408939"/>
                      </a:lnTo>
                      <a:lnTo>
                        <a:pt x="585834" y="409010"/>
                      </a:lnTo>
                      <a:lnTo>
                        <a:pt x="574725" y="428284"/>
                      </a:lnTo>
                      <a:lnTo>
                        <a:pt x="578003" y="432696"/>
                      </a:lnTo>
                      <a:lnTo>
                        <a:pt x="575325" y="438228"/>
                      </a:lnTo>
                      <a:lnTo>
                        <a:pt x="574759" y="445096"/>
                      </a:lnTo>
                      <a:lnTo>
                        <a:pt x="548636" y="419684"/>
                      </a:lnTo>
                      <a:lnTo>
                        <a:pt x="536733" y="412002"/>
                      </a:lnTo>
                      <a:lnTo>
                        <a:pt x="517886" y="405827"/>
                      </a:lnTo>
                      <a:lnTo>
                        <a:pt x="504992" y="407548"/>
                      </a:lnTo>
                      <a:lnTo>
                        <a:pt x="486453" y="416452"/>
                      </a:lnTo>
                      <a:lnTo>
                        <a:pt x="474818" y="418783"/>
                      </a:lnTo>
                      <a:lnTo>
                        <a:pt x="458518" y="412549"/>
                      </a:lnTo>
                      <a:lnTo>
                        <a:pt x="441219" y="408045"/>
                      </a:lnTo>
                      <a:lnTo>
                        <a:pt x="419645" y="397175"/>
                      </a:lnTo>
                      <a:lnTo>
                        <a:pt x="402340" y="393851"/>
                      </a:lnTo>
                      <a:lnTo>
                        <a:pt x="376208" y="382813"/>
                      </a:lnTo>
                      <a:lnTo>
                        <a:pt x="356897" y="371446"/>
                      </a:lnTo>
                      <a:lnTo>
                        <a:pt x="351070" y="365087"/>
                      </a:lnTo>
                      <a:lnTo>
                        <a:pt x="338153" y="363665"/>
                      </a:lnTo>
                      <a:lnTo>
                        <a:pt x="314543" y="356118"/>
                      </a:lnTo>
                      <a:lnTo>
                        <a:pt x="304928" y="345223"/>
                      </a:lnTo>
                      <a:lnTo>
                        <a:pt x="280126" y="331646"/>
                      </a:lnTo>
                      <a:lnTo>
                        <a:pt x="268561" y="316524"/>
                      </a:lnTo>
                      <a:lnTo>
                        <a:pt x="263059" y="304813"/>
                      </a:lnTo>
                      <a:lnTo>
                        <a:pt x="270760" y="302464"/>
                      </a:lnTo>
                      <a:lnTo>
                        <a:pt x="268385" y="295598"/>
                      </a:lnTo>
                      <a:lnTo>
                        <a:pt x="273692" y="289345"/>
                      </a:lnTo>
                      <a:lnTo>
                        <a:pt x="273806" y="280997"/>
                      </a:lnTo>
                      <a:lnTo>
                        <a:pt x="266019" y="270140"/>
                      </a:lnTo>
                      <a:lnTo>
                        <a:pt x="263936" y="260501"/>
                      </a:lnTo>
                      <a:lnTo>
                        <a:pt x="256196" y="248251"/>
                      </a:lnTo>
                      <a:lnTo>
                        <a:pt x="235854" y="224039"/>
                      </a:lnTo>
                      <a:lnTo>
                        <a:pt x="212645" y="204932"/>
                      </a:lnTo>
                      <a:lnTo>
                        <a:pt x="201417" y="189629"/>
                      </a:lnTo>
                      <a:lnTo>
                        <a:pt x="181605" y="179580"/>
                      </a:lnTo>
                      <a:lnTo>
                        <a:pt x="177360" y="173558"/>
                      </a:lnTo>
                      <a:lnTo>
                        <a:pt x="180879" y="158286"/>
                      </a:lnTo>
                      <a:lnTo>
                        <a:pt x="169111" y="152510"/>
                      </a:lnTo>
                      <a:lnTo>
                        <a:pt x="155486" y="140451"/>
                      </a:lnTo>
                      <a:lnTo>
                        <a:pt x="149732" y="123079"/>
                      </a:lnTo>
                      <a:lnTo>
                        <a:pt x="137316" y="121049"/>
                      </a:lnTo>
                      <a:lnTo>
                        <a:pt x="123912" y="107883"/>
                      </a:lnTo>
                      <a:lnTo>
                        <a:pt x="113095" y="95687"/>
                      </a:lnTo>
                      <a:lnTo>
                        <a:pt x="112088" y="87836"/>
                      </a:lnTo>
                      <a:lnTo>
                        <a:pt x="99675" y="68819"/>
                      </a:lnTo>
                      <a:lnTo>
                        <a:pt x="91499" y="49421"/>
                      </a:lnTo>
                      <a:lnTo>
                        <a:pt x="91848" y="39656"/>
                      </a:lnTo>
                      <a:lnTo>
                        <a:pt x="75155" y="29546"/>
                      </a:lnTo>
                      <a:lnTo>
                        <a:pt x="67449" y="30658"/>
                      </a:lnTo>
                      <a:lnTo>
                        <a:pt x="54275" y="23622"/>
                      </a:lnTo>
                      <a:lnTo>
                        <a:pt x="50576" y="33988"/>
                      </a:lnTo>
                      <a:lnTo>
                        <a:pt x="54395" y="46202"/>
                      </a:lnTo>
                      <a:lnTo>
                        <a:pt x="56642" y="65240"/>
                      </a:lnTo>
                      <a:lnTo>
                        <a:pt x="64558" y="75654"/>
                      </a:lnTo>
                      <a:lnTo>
                        <a:pt x="81687" y="92995"/>
                      </a:lnTo>
                      <a:lnTo>
                        <a:pt x="85492" y="98905"/>
                      </a:lnTo>
                      <a:lnTo>
                        <a:pt x="89002" y="100696"/>
                      </a:lnTo>
                      <a:lnTo>
                        <a:pt x="92048" y="109301"/>
                      </a:lnTo>
                      <a:lnTo>
                        <a:pt x="96150" y="108953"/>
                      </a:lnTo>
                      <a:lnTo>
                        <a:pt x="100783" y="125065"/>
                      </a:lnTo>
                      <a:lnTo>
                        <a:pt x="107793" y="131405"/>
                      </a:lnTo>
                      <a:lnTo>
                        <a:pt x="112709" y="140212"/>
                      </a:lnTo>
                      <a:lnTo>
                        <a:pt x="127215" y="152841"/>
                      </a:lnTo>
                      <a:lnTo>
                        <a:pt x="134874" y="175834"/>
                      </a:lnTo>
                      <a:lnTo>
                        <a:pt x="141727" y="186621"/>
                      </a:lnTo>
                      <a:lnTo>
                        <a:pt x="148139" y="198136"/>
                      </a:lnTo>
                      <a:lnTo>
                        <a:pt x="149408" y="211063"/>
                      </a:lnTo>
                      <a:lnTo>
                        <a:pt x="160538" y="211871"/>
                      </a:lnTo>
                      <a:lnTo>
                        <a:pt x="169794" y="222979"/>
                      </a:lnTo>
                      <a:lnTo>
                        <a:pt x="178168" y="233871"/>
                      </a:lnTo>
                      <a:lnTo>
                        <a:pt x="177607" y="238233"/>
                      </a:lnTo>
                      <a:lnTo>
                        <a:pt x="167893" y="247169"/>
                      </a:lnTo>
                      <a:lnTo>
                        <a:pt x="163803" y="247052"/>
                      </a:lnTo>
                      <a:lnTo>
                        <a:pt x="157717" y="232255"/>
                      </a:lnTo>
                      <a:lnTo>
                        <a:pt x="142611" y="218343"/>
                      </a:lnTo>
                      <a:lnTo>
                        <a:pt x="125967" y="206512"/>
                      </a:lnTo>
                      <a:lnTo>
                        <a:pt x="114161" y="200285"/>
                      </a:lnTo>
                      <a:lnTo>
                        <a:pt x="114924" y="182302"/>
                      </a:lnTo>
                      <a:lnTo>
                        <a:pt x="111421" y="168940"/>
                      </a:lnTo>
                      <a:lnTo>
                        <a:pt x="100421" y="161280"/>
                      </a:lnTo>
                      <a:lnTo>
                        <a:pt x="84554" y="150229"/>
                      </a:lnTo>
                      <a:lnTo>
                        <a:pt x="81506" y="153420"/>
                      </a:lnTo>
                      <a:lnTo>
                        <a:pt x="75684" y="146958"/>
                      </a:lnTo>
                      <a:lnTo>
                        <a:pt x="61447" y="140949"/>
                      </a:lnTo>
                      <a:lnTo>
                        <a:pt x="47842" y="126499"/>
                      </a:lnTo>
                      <a:lnTo>
                        <a:pt x="49524" y="124617"/>
                      </a:lnTo>
                      <a:lnTo>
                        <a:pt x="59032" y="126031"/>
                      </a:lnTo>
                      <a:lnTo>
                        <a:pt x="67596" y="116710"/>
                      </a:lnTo>
                      <a:lnTo>
                        <a:pt x="68458" y="105425"/>
                      </a:lnTo>
                      <a:lnTo>
                        <a:pt x="50688" y="87518"/>
                      </a:lnTo>
                      <a:lnTo>
                        <a:pt x="37143" y="80547"/>
                      </a:lnTo>
                      <a:lnTo>
                        <a:pt x="28632" y="64782"/>
                      </a:lnTo>
                      <a:lnTo>
                        <a:pt x="20069" y="48162"/>
                      </a:lnTo>
                      <a:lnTo>
                        <a:pt x="9377" y="27807"/>
                      </a:lnTo>
                      <a:lnTo>
                        <a:pt x="0" y="4768"/>
                      </a:lnTo>
                      <a:lnTo>
                        <a:pt x="26232" y="2788"/>
                      </a:lnTo>
                      <a:lnTo>
                        <a:pt x="55546" y="0"/>
                      </a:lnTo>
                      <a:lnTo>
                        <a:pt x="53385" y="5027"/>
                      </a:lnTo>
                      <a:lnTo>
                        <a:pt x="88240" y="17493"/>
                      </a:lnTo>
                      <a:lnTo>
                        <a:pt x="140900" y="35485"/>
                      </a:lnTo>
                      <a:lnTo>
                        <a:pt x="186803" y="35302"/>
                      </a:lnTo>
                      <a:lnTo>
                        <a:pt x="205109" y="35294"/>
                      </a:lnTo>
                      <a:lnTo>
                        <a:pt x="205154" y="24764"/>
                      </a:lnTo>
                      <a:lnTo>
                        <a:pt x="245142" y="24773"/>
                      </a:lnTo>
                      <a:lnTo>
                        <a:pt x="253560" y="33823"/>
                      </a:lnTo>
                      <a:lnTo>
                        <a:pt x="265363" y="41874"/>
                      </a:lnTo>
                      <a:lnTo>
                        <a:pt x="279079" y="53047"/>
                      </a:lnTo>
                      <a:lnTo>
                        <a:pt x="286734" y="66276"/>
                      </a:lnTo>
                      <a:lnTo>
                        <a:pt x="292476" y="80154"/>
                      </a:lnTo>
                      <a:lnTo>
                        <a:pt x="304409" y="87756"/>
                      </a:lnTo>
                      <a:lnTo>
                        <a:pt x="323568" y="95296"/>
                      </a:lnTo>
                      <a:lnTo>
                        <a:pt x="338110" y="75412"/>
                      </a:lnTo>
                      <a:lnTo>
                        <a:pt x="356982" y="74926"/>
                      </a:lnTo>
                      <a:lnTo>
                        <a:pt x="373251" y="84971"/>
                      </a:lnTo>
                      <a:lnTo>
                        <a:pt x="384833" y="102167"/>
                      </a:lnTo>
                      <a:lnTo>
                        <a:pt x="392816" y="116835"/>
                      </a:lnTo>
                      <a:lnTo>
                        <a:pt x="406435" y="131051"/>
                      </a:lnTo>
                      <a:lnTo>
                        <a:pt x="411513" y="148448"/>
                      </a:lnTo>
                      <a:lnTo>
                        <a:pt x="417976" y="160091"/>
                      </a:lnTo>
                      <a:lnTo>
                        <a:pt x="435981" y="167754"/>
                      </a:lnTo>
                      <a:lnTo>
                        <a:pt x="452369" y="173185"/>
                      </a:lnTo>
                      <a:close/>
                    </a:path>
                  </a:pathLst>
                </a:custGeom>
                <a:solidFill>
                  <a:schemeClr val="accent1"/>
                </a:solidFill>
                <a:ln cap="rnd" w="3175">
                  <a:solidFill>
                    <a:srgbClr val="009fdf">
                      <a:lumMod val="60000"/>
                      <a:lumOff val="40000"/>
                    </a:srgbClr>
                  </a:solidFill>
                </a:ln>
              </p:spPr>
              <p:style>
                <a:lnRef idx="2">
                  <a:schemeClr val="accent1">
                    <a:shade val="50000"/>
                  </a:schemeClr>
                </a:lnRef>
                <a:fillRef idx="1">
                  <a:schemeClr val="accent1"/>
                </a:fillRef>
                <a:effectRef idx="0">
                  <a:schemeClr val="accent1"/>
                </a:effectRef>
                <a:fontRef idx="minor"/>
              </p:style>
              <p:txBody>
                <a:bodyPr numCol="1" spcCol="0" horzOverflow="overflow" lIns="72000" rIns="72000" tIns="72000" bIns="72000" anchor="ctr">
                  <a:noAutofit/>
                </a:bodyPr>
                <a:p>
                  <a:pPr algn="ctr" defTabSz="457200">
                    <a:lnSpc>
                      <a:spcPct val="100000"/>
                    </a:lnSpc>
                    <a:tabLst>
                      <a:tab algn="l" pos="0"/>
                    </a:tabLst>
                  </a:pPr>
                  <a:endParaRPr b="0" lang="de-DE" sz="1600" spc="-1" strike="noStrike">
                    <a:solidFill>
                      <a:srgbClr val="000000"/>
                    </a:solidFill>
                    <a:latin typeface="Arial"/>
                    <a:ea typeface="Arial"/>
                  </a:endParaRPr>
                </a:p>
              </p:txBody>
            </p:sp>
            <p:sp>
              <p:nvSpPr>
                <p:cNvPr id="382" name="Freeform 21"/>
                <p:cNvSpPr/>
                <p:nvPr/>
              </p:nvSpPr>
              <p:spPr>
                <a:xfrm>
                  <a:off x="5348520" y="3827880"/>
                  <a:ext cx="103680" cy="100080"/>
                </a:xfrm>
                <a:custGeom>
                  <a:avLst/>
                  <a:gdLst/>
                  <a:ahLst/>
                  <a:rect l="l" t="t" r="r" b="b"/>
                  <a:pathLst>
                    <a:path w="104364" h="100649">
                      <a:moveTo>
                        <a:pt x="45149" y="92204"/>
                      </a:moveTo>
                      <a:lnTo>
                        <a:pt x="37163" y="84842"/>
                      </a:lnTo>
                      <a:lnTo>
                        <a:pt x="26375" y="75406"/>
                      </a:lnTo>
                      <a:lnTo>
                        <a:pt x="21294" y="67515"/>
                      </a:lnTo>
                      <a:lnTo>
                        <a:pt x="11564" y="60152"/>
                      </a:lnTo>
                      <a:lnTo>
                        <a:pt x="0" y="49561"/>
                      </a:lnTo>
                      <a:lnTo>
                        <a:pt x="2563" y="45932"/>
                      </a:lnTo>
                      <a:lnTo>
                        <a:pt x="6373" y="49465"/>
                      </a:lnTo>
                      <a:lnTo>
                        <a:pt x="8121" y="47807"/>
                      </a:lnTo>
                      <a:lnTo>
                        <a:pt x="15297" y="46842"/>
                      </a:lnTo>
                      <a:lnTo>
                        <a:pt x="18188" y="41480"/>
                      </a:lnTo>
                      <a:lnTo>
                        <a:pt x="21575" y="41271"/>
                      </a:lnTo>
                      <a:lnTo>
                        <a:pt x="21084" y="29715"/>
                      </a:lnTo>
                      <a:lnTo>
                        <a:pt x="26494" y="29159"/>
                      </a:lnTo>
                      <a:lnTo>
                        <a:pt x="31308" y="29327"/>
                      </a:lnTo>
                      <a:lnTo>
                        <a:pt x="36291" y="23050"/>
                      </a:lnTo>
                      <a:lnTo>
                        <a:pt x="43100" y="27805"/>
                      </a:lnTo>
                      <a:lnTo>
                        <a:pt x="45469" y="24887"/>
                      </a:lnTo>
                      <a:lnTo>
                        <a:pt x="49722" y="22089"/>
                      </a:lnTo>
                      <a:lnTo>
                        <a:pt x="57779" y="15605"/>
                      </a:lnTo>
                      <a:lnTo>
                        <a:pt x="58163" y="10756"/>
                      </a:lnTo>
                      <a:lnTo>
                        <a:pt x="60377" y="10960"/>
                      </a:lnTo>
                      <a:lnTo>
                        <a:pt x="63339" y="5327"/>
                      </a:lnTo>
                      <a:lnTo>
                        <a:pt x="65750" y="4640"/>
                      </a:lnTo>
                      <a:lnTo>
                        <a:pt x="69685" y="8243"/>
                      </a:lnTo>
                      <a:lnTo>
                        <a:pt x="74307" y="9309"/>
                      </a:lnTo>
                      <a:lnTo>
                        <a:pt x="79408" y="6311"/>
                      </a:lnTo>
                      <a:lnTo>
                        <a:pt x="85239" y="6295"/>
                      </a:lnTo>
                      <a:lnTo>
                        <a:pt x="93252" y="3214"/>
                      </a:lnTo>
                      <a:lnTo>
                        <a:pt x="96451" y="0"/>
                      </a:lnTo>
                      <a:lnTo>
                        <a:pt x="104363" y="482"/>
                      </a:lnTo>
                      <a:lnTo>
                        <a:pt x="102378" y="2747"/>
                      </a:lnTo>
                      <a:lnTo>
                        <a:pt x="101202" y="8012"/>
                      </a:lnTo>
                      <a:lnTo>
                        <a:pt x="103557" y="16634"/>
                      </a:lnTo>
                      <a:lnTo>
                        <a:pt x="98240" y="24652"/>
                      </a:lnTo>
                      <a:lnTo>
                        <a:pt x="95762" y="34115"/>
                      </a:lnTo>
                      <a:lnTo>
                        <a:pt x="95015" y="44465"/>
                      </a:lnTo>
                      <a:lnTo>
                        <a:pt x="96254" y="50514"/>
                      </a:lnTo>
                      <a:lnTo>
                        <a:pt x="96836" y="61070"/>
                      </a:lnTo>
                      <a:lnTo>
                        <a:pt x="93309" y="63372"/>
                      </a:lnTo>
                      <a:lnTo>
                        <a:pt x="91151" y="73388"/>
                      </a:lnTo>
                      <a:lnTo>
                        <a:pt x="92738" y="79567"/>
                      </a:lnTo>
                      <a:lnTo>
                        <a:pt x="88015" y="85547"/>
                      </a:lnTo>
                      <a:lnTo>
                        <a:pt x="89089" y="91863"/>
                      </a:lnTo>
                      <a:lnTo>
                        <a:pt x="92628" y="95700"/>
                      </a:lnTo>
                      <a:lnTo>
                        <a:pt x="87101" y="100648"/>
                      </a:lnTo>
                      <a:lnTo>
                        <a:pt x="80289" y="99093"/>
                      </a:lnTo>
                      <a:lnTo>
                        <a:pt x="76463" y="94288"/>
                      </a:lnTo>
                      <a:lnTo>
                        <a:pt x="69142" y="92339"/>
                      </a:lnTo>
                      <a:lnTo>
                        <a:pt x="63835" y="95384"/>
                      </a:lnTo>
                      <a:lnTo>
                        <a:pt x="48627" y="89197"/>
                      </a:lnTo>
                      <a:close/>
                    </a:path>
                  </a:pathLst>
                </a:custGeom>
                <a:solidFill>
                  <a:schemeClr val="accent1">
                    <a:lumMod val="20000"/>
                    <a:lumOff val="80000"/>
                  </a:schemeClr>
                </a:solidFill>
                <a:ln cap="rnd" w="3175">
                  <a:solidFill>
                    <a:srgbClr val="009fdf">
                      <a:lumMod val="60000"/>
                      <a:lumOff val="40000"/>
                    </a:srgbClr>
                  </a:solidFill>
                </a:ln>
              </p:spPr>
              <p:style>
                <a:lnRef idx="2">
                  <a:schemeClr val="accent1">
                    <a:shade val="50000"/>
                  </a:schemeClr>
                </a:lnRef>
                <a:fillRef idx="1">
                  <a:schemeClr val="accent1"/>
                </a:fillRef>
                <a:effectRef idx="0">
                  <a:schemeClr val="accent1"/>
                </a:effectRef>
                <a:fontRef idx="minor"/>
              </p:style>
              <p:txBody>
                <a:bodyPr numCol="1" spcCol="0" horzOverflow="overflow" lIns="72000" rIns="72000" tIns="50040" bIns="50040" anchor="ctr">
                  <a:noAutofit/>
                </a:bodyPr>
                <a:p>
                  <a:pPr algn="ctr" defTabSz="457200">
                    <a:lnSpc>
                      <a:spcPct val="100000"/>
                    </a:lnSpc>
                    <a:tabLst>
                      <a:tab algn="l" pos="0"/>
                    </a:tabLst>
                  </a:pPr>
                  <a:endParaRPr b="0" lang="de-DE" sz="1600" spc="-1" strike="noStrike">
                    <a:solidFill>
                      <a:srgbClr val="000000"/>
                    </a:solidFill>
                    <a:latin typeface="Arial"/>
                    <a:ea typeface="Arial"/>
                  </a:endParaRPr>
                </a:p>
              </p:txBody>
            </p:sp>
            <p:sp>
              <p:nvSpPr>
                <p:cNvPr id="383" name="Freeform 22"/>
                <p:cNvSpPr/>
                <p:nvPr/>
              </p:nvSpPr>
              <p:spPr>
                <a:xfrm>
                  <a:off x="5456880" y="3954240"/>
                  <a:ext cx="131400" cy="55080"/>
                </a:xfrm>
                <a:custGeom>
                  <a:avLst/>
                  <a:gdLst/>
                  <a:ahLst/>
                  <a:rect l="l" t="t" r="r" b="b"/>
                  <a:pathLst>
                    <a:path w="132108" h="55579">
                      <a:moveTo>
                        <a:pt x="117357" y="55503"/>
                      </a:moveTo>
                      <a:lnTo>
                        <a:pt x="109662" y="48809"/>
                      </a:lnTo>
                      <a:lnTo>
                        <a:pt x="104718" y="36275"/>
                      </a:lnTo>
                      <a:lnTo>
                        <a:pt x="110420" y="30068"/>
                      </a:lnTo>
                      <a:lnTo>
                        <a:pt x="104572" y="28476"/>
                      </a:lnTo>
                      <a:lnTo>
                        <a:pt x="100264" y="20794"/>
                      </a:lnTo>
                      <a:lnTo>
                        <a:pt x="88764" y="14328"/>
                      </a:lnTo>
                      <a:lnTo>
                        <a:pt x="78664" y="15811"/>
                      </a:lnTo>
                      <a:lnTo>
                        <a:pt x="73985" y="23901"/>
                      </a:lnTo>
                      <a:lnTo>
                        <a:pt x="64662" y="29740"/>
                      </a:lnTo>
                      <a:lnTo>
                        <a:pt x="59626" y="30551"/>
                      </a:lnTo>
                      <a:lnTo>
                        <a:pt x="57363" y="35386"/>
                      </a:lnTo>
                      <a:lnTo>
                        <a:pt x="68373" y="47990"/>
                      </a:lnTo>
                      <a:lnTo>
                        <a:pt x="62072" y="50956"/>
                      </a:lnTo>
                      <a:lnTo>
                        <a:pt x="58737" y="54394"/>
                      </a:lnTo>
                      <a:lnTo>
                        <a:pt x="47998" y="55578"/>
                      </a:lnTo>
                      <a:lnTo>
                        <a:pt x="44001" y="41712"/>
                      </a:lnTo>
                      <a:lnTo>
                        <a:pt x="40997" y="45660"/>
                      </a:lnTo>
                      <a:lnTo>
                        <a:pt x="33384" y="44297"/>
                      </a:lnTo>
                      <a:lnTo>
                        <a:pt x="28726" y="34953"/>
                      </a:lnTo>
                      <a:lnTo>
                        <a:pt x="19259" y="33410"/>
                      </a:lnTo>
                      <a:lnTo>
                        <a:pt x="13269" y="30691"/>
                      </a:lnTo>
                      <a:lnTo>
                        <a:pt x="3363" y="30726"/>
                      </a:lnTo>
                      <a:lnTo>
                        <a:pt x="2651" y="35769"/>
                      </a:lnTo>
                      <a:lnTo>
                        <a:pt x="0" y="32256"/>
                      </a:lnTo>
                      <a:lnTo>
                        <a:pt x="1215" y="27644"/>
                      </a:lnTo>
                      <a:lnTo>
                        <a:pt x="3140" y="22930"/>
                      </a:lnTo>
                      <a:lnTo>
                        <a:pt x="2242" y="18721"/>
                      </a:lnTo>
                      <a:lnTo>
                        <a:pt x="5692" y="15966"/>
                      </a:lnTo>
                      <a:lnTo>
                        <a:pt x="892" y="12508"/>
                      </a:lnTo>
                      <a:lnTo>
                        <a:pt x="759" y="3139"/>
                      </a:lnTo>
                      <a:lnTo>
                        <a:pt x="9685" y="1059"/>
                      </a:lnTo>
                      <a:lnTo>
                        <a:pt x="17974" y="9410"/>
                      </a:lnTo>
                      <a:lnTo>
                        <a:pt x="17501" y="14341"/>
                      </a:lnTo>
                      <a:lnTo>
                        <a:pt x="26712" y="15387"/>
                      </a:lnTo>
                      <a:lnTo>
                        <a:pt x="28891" y="13494"/>
                      </a:lnTo>
                      <a:lnTo>
                        <a:pt x="35236" y="19210"/>
                      </a:lnTo>
                      <a:lnTo>
                        <a:pt x="46592" y="17529"/>
                      </a:lnTo>
                      <a:lnTo>
                        <a:pt x="56411" y="11653"/>
                      </a:lnTo>
                      <a:lnTo>
                        <a:pt x="70430" y="6959"/>
                      </a:lnTo>
                      <a:lnTo>
                        <a:pt x="78308" y="0"/>
                      </a:lnTo>
                      <a:lnTo>
                        <a:pt x="91052" y="1366"/>
                      </a:lnTo>
                      <a:lnTo>
                        <a:pt x="90192" y="3657"/>
                      </a:lnTo>
                      <a:lnTo>
                        <a:pt x="103062" y="4452"/>
                      </a:lnTo>
                      <a:lnTo>
                        <a:pt x="113333" y="8473"/>
                      </a:lnTo>
                      <a:lnTo>
                        <a:pt x="120867" y="15474"/>
                      </a:lnTo>
                      <a:lnTo>
                        <a:pt x="129550" y="21901"/>
                      </a:lnTo>
                      <a:lnTo>
                        <a:pt x="126748" y="25301"/>
                      </a:lnTo>
                      <a:lnTo>
                        <a:pt x="132107" y="38987"/>
                      </a:lnTo>
                      <a:lnTo>
                        <a:pt x="127755" y="45889"/>
                      </a:lnTo>
                      <a:lnTo>
                        <a:pt x="120316" y="44222"/>
                      </a:lnTo>
                      <a:close/>
                    </a:path>
                  </a:pathLst>
                </a:custGeom>
                <a:solidFill>
                  <a:schemeClr val="accent1">
                    <a:lumMod val="20000"/>
                    <a:lumOff val="80000"/>
                  </a:schemeClr>
                </a:solidFill>
                <a:ln cap="rnd" w="3175">
                  <a:solidFill>
                    <a:srgbClr val="009fdf">
                      <a:lumMod val="60000"/>
                      <a:lumOff val="40000"/>
                    </a:srgbClr>
                  </a:solidFill>
                </a:ln>
              </p:spPr>
              <p:style>
                <a:lnRef idx="2">
                  <a:schemeClr val="accent1">
                    <a:shade val="50000"/>
                  </a:schemeClr>
                </a:lnRef>
                <a:fillRef idx="1">
                  <a:schemeClr val="accent1"/>
                </a:fillRef>
                <a:effectRef idx="0">
                  <a:schemeClr val="accent1"/>
                </a:effectRef>
                <a:fontRef idx="minor"/>
              </p:style>
              <p:txBody>
                <a:bodyPr numCol="1" spcCol="0" horzOverflow="overflow" lIns="72000" rIns="72000" tIns="27360" bIns="27360" anchor="ctr">
                  <a:noAutofit/>
                </a:bodyPr>
                <a:p>
                  <a:pPr algn="ctr" defTabSz="457200">
                    <a:lnSpc>
                      <a:spcPct val="100000"/>
                    </a:lnSpc>
                    <a:tabLst>
                      <a:tab algn="l" pos="0"/>
                    </a:tabLst>
                  </a:pPr>
                  <a:endParaRPr b="0" lang="de-DE" sz="1600" spc="-1" strike="noStrike">
                    <a:solidFill>
                      <a:srgbClr val="000000"/>
                    </a:solidFill>
                    <a:latin typeface="Arial"/>
                    <a:ea typeface="Arial"/>
                  </a:endParaRPr>
                </a:p>
              </p:txBody>
            </p:sp>
            <p:sp>
              <p:nvSpPr>
                <p:cNvPr id="384" name="Freeform 23"/>
                <p:cNvSpPr/>
                <p:nvPr/>
              </p:nvSpPr>
              <p:spPr>
                <a:xfrm>
                  <a:off x="5492880" y="4177800"/>
                  <a:ext cx="293400" cy="425880"/>
                </a:xfrm>
                <a:custGeom>
                  <a:avLst/>
                  <a:gdLst/>
                  <a:ahLst/>
                  <a:rect l="l" t="t" r="r" b="b"/>
                  <a:pathLst>
                    <a:path w="294210" h="426911">
                      <a:moveTo>
                        <a:pt x="272849" y="408611"/>
                      </a:moveTo>
                      <a:lnTo>
                        <a:pt x="266663" y="420822"/>
                      </a:lnTo>
                      <a:lnTo>
                        <a:pt x="254795" y="426910"/>
                      </a:lnTo>
                      <a:lnTo>
                        <a:pt x="231651" y="413224"/>
                      </a:lnTo>
                      <a:lnTo>
                        <a:pt x="229647" y="403460"/>
                      </a:lnTo>
                      <a:lnTo>
                        <a:pt x="183886" y="379625"/>
                      </a:lnTo>
                      <a:lnTo>
                        <a:pt x="142491" y="353751"/>
                      </a:lnTo>
                      <a:lnTo>
                        <a:pt x="124687" y="339207"/>
                      </a:lnTo>
                      <a:lnTo>
                        <a:pt x="115124" y="319755"/>
                      </a:lnTo>
                      <a:lnTo>
                        <a:pt x="118915" y="312981"/>
                      </a:lnTo>
                      <a:lnTo>
                        <a:pt x="99365" y="282192"/>
                      </a:lnTo>
                      <a:lnTo>
                        <a:pt x="76607" y="239068"/>
                      </a:lnTo>
                      <a:lnTo>
                        <a:pt x="54798" y="192708"/>
                      </a:lnTo>
                      <a:lnTo>
                        <a:pt x="45358" y="182120"/>
                      </a:lnTo>
                      <a:lnTo>
                        <a:pt x="38095" y="165024"/>
                      </a:lnTo>
                      <a:lnTo>
                        <a:pt x="20162" y="149889"/>
                      </a:lnTo>
                      <a:lnTo>
                        <a:pt x="3715" y="140508"/>
                      </a:lnTo>
                      <a:lnTo>
                        <a:pt x="11186" y="130171"/>
                      </a:lnTo>
                      <a:lnTo>
                        <a:pt x="0" y="108096"/>
                      </a:lnTo>
                      <a:lnTo>
                        <a:pt x="7185" y="91900"/>
                      </a:lnTo>
                      <a:lnTo>
                        <a:pt x="25584" y="77302"/>
                      </a:lnTo>
                      <a:lnTo>
                        <a:pt x="28321" y="86924"/>
                      </a:lnTo>
                      <a:lnTo>
                        <a:pt x="21736" y="92429"/>
                      </a:lnTo>
                      <a:lnTo>
                        <a:pt x="22360" y="100902"/>
                      </a:lnTo>
                      <a:lnTo>
                        <a:pt x="31901" y="99061"/>
                      </a:lnTo>
                      <a:lnTo>
                        <a:pt x="41225" y="101561"/>
                      </a:lnTo>
                      <a:lnTo>
                        <a:pt x="50912" y="113241"/>
                      </a:lnTo>
                      <a:lnTo>
                        <a:pt x="63963" y="103725"/>
                      </a:lnTo>
                      <a:lnTo>
                        <a:pt x="68331" y="88124"/>
                      </a:lnTo>
                      <a:lnTo>
                        <a:pt x="82475" y="68018"/>
                      </a:lnTo>
                      <a:lnTo>
                        <a:pt x="110233" y="58908"/>
                      </a:lnTo>
                      <a:lnTo>
                        <a:pt x="135402" y="34728"/>
                      </a:lnTo>
                      <a:lnTo>
                        <a:pt x="142587" y="19718"/>
                      </a:lnTo>
                      <a:lnTo>
                        <a:pt x="139367" y="2189"/>
                      </a:lnTo>
                      <a:lnTo>
                        <a:pt x="145521" y="0"/>
                      </a:lnTo>
                      <a:lnTo>
                        <a:pt x="160871" y="10932"/>
                      </a:lnTo>
                      <a:lnTo>
                        <a:pt x="168239" y="21828"/>
                      </a:lnTo>
                      <a:lnTo>
                        <a:pt x="178924" y="27777"/>
                      </a:lnTo>
                      <a:lnTo>
                        <a:pt x="192522" y="51986"/>
                      </a:lnTo>
                      <a:lnTo>
                        <a:pt x="209710" y="54879"/>
                      </a:lnTo>
                      <a:lnTo>
                        <a:pt x="222429" y="48772"/>
                      </a:lnTo>
                      <a:lnTo>
                        <a:pt x="230765" y="52767"/>
                      </a:lnTo>
                      <a:lnTo>
                        <a:pt x="244618" y="50783"/>
                      </a:lnTo>
                      <a:lnTo>
                        <a:pt x="262294" y="61599"/>
                      </a:lnTo>
                      <a:lnTo>
                        <a:pt x="247406" y="85115"/>
                      </a:lnTo>
                      <a:lnTo>
                        <a:pt x="254300" y="85663"/>
                      </a:lnTo>
                      <a:lnTo>
                        <a:pt x="265850" y="97953"/>
                      </a:lnTo>
                      <a:lnTo>
                        <a:pt x="245050" y="96868"/>
                      </a:lnTo>
                      <a:lnTo>
                        <a:pt x="241955" y="100344"/>
                      </a:lnTo>
                      <a:lnTo>
                        <a:pt x="223037" y="104794"/>
                      </a:lnTo>
                      <a:lnTo>
                        <a:pt x="196642" y="120541"/>
                      </a:lnTo>
                      <a:lnTo>
                        <a:pt x="194966" y="131345"/>
                      </a:lnTo>
                      <a:lnTo>
                        <a:pt x="189076" y="139404"/>
                      </a:lnTo>
                      <a:lnTo>
                        <a:pt x="191377" y="151935"/>
                      </a:lnTo>
                      <a:lnTo>
                        <a:pt x="177424" y="158628"/>
                      </a:lnTo>
                      <a:lnTo>
                        <a:pt x="177449" y="168427"/>
                      </a:lnTo>
                      <a:lnTo>
                        <a:pt x="171359" y="172670"/>
                      </a:lnTo>
                      <a:lnTo>
                        <a:pt x="180965" y="193589"/>
                      </a:lnTo>
                      <a:lnTo>
                        <a:pt x="193792" y="207737"/>
                      </a:lnTo>
                      <a:lnTo>
                        <a:pt x="188914" y="217731"/>
                      </a:lnTo>
                      <a:lnTo>
                        <a:pt x="204233" y="219081"/>
                      </a:lnTo>
                      <a:lnTo>
                        <a:pt x="212962" y="231509"/>
                      </a:lnTo>
                      <a:lnTo>
                        <a:pt x="233332" y="232112"/>
                      </a:lnTo>
                      <a:lnTo>
                        <a:pt x="252272" y="218381"/>
                      </a:lnTo>
                      <a:lnTo>
                        <a:pt x="250730" y="253807"/>
                      </a:lnTo>
                      <a:lnTo>
                        <a:pt x="261231" y="256489"/>
                      </a:lnTo>
                      <a:lnTo>
                        <a:pt x="274251" y="252466"/>
                      </a:lnTo>
                      <a:lnTo>
                        <a:pt x="294209" y="290126"/>
                      </a:lnTo>
                      <a:lnTo>
                        <a:pt x="289246" y="298063"/>
                      </a:lnTo>
                      <a:lnTo>
                        <a:pt x="288111" y="314571"/>
                      </a:lnTo>
                      <a:lnTo>
                        <a:pt x="287658" y="334596"/>
                      </a:lnTo>
                      <a:lnTo>
                        <a:pt x="278641" y="346375"/>
                      </a:lnTo>
                      <a:lnTo>
                        <a:pt x="282777" y="355128"/>
                      </a:lnTo>
                      <a:lnTo>
                        <a:pt x="277481" y="363073"/>
                      </a:lnTo>
                      <a:lnTo>
                        <a:pt x="287410" y="382975"/>
                      </a:lnTo>
                      <a:close/>
                    </a:path>
                  </a:pathLst>
                </a:custGeom>
                <a:solidFill>
                  <a:schemeClr val="accent1"/>
                </a:solidFill>
                <a:ln cap="rnd" w="3175">
                  <a:solidFill>
                    <a:srgbClr val="009fdf">
                      <a:lumMod val="60000"/>
                      <a:lumOff val="40000"/>
                    </a:srgbClr>
                  </a:solidFill>
                </a:ln>
              </p:spPr>
              <p:style>
                <a:lnRef idx="2">
                  <a:schemeClr val="accent1">
                    <a:shade val="50000"/>
                  </a:schemeClr>
                </a:lnRef>
                <a:fillRef idx="1">
                  <a:schemeClr val="accent1"/>
                </a:fillRef>
                <a:effectRef idx="0">
                  <a:schemeClr val="accent1"/>
                </a:effectRef>
                <a:fontRef idx="minor"/>
              </p:style>
              <p:txBody>
                <a:bodyPr numCol="1" spcCol="0" horzOverflow="overflow" lIns="72000" rIns="72000" tIns="72000" bIns="72000" anchor="ctr">
                  <a:noAutofit/>
                </a:bodyPr>
                <a:p>
                  <a:pPr algn="ctr" defTabSz="457200">
                    <a:lnSpc>
                      <a:spcPct val="100000"/>
                    </a:lnSpc>
                    <a:tabLst>
                      <a:tab algn="l" pos="0"/>
                    </a:tabLst>
                  </a:pPr>
                  <a:endParaRPr b="0" lang="de-DE" sz="1600" spc="-1" strike="noStrike">
                    <a:solidFill>
                      <a:srgbClr val="000000"/>
                    </a:solidFill>
                    <a:latin typeface="Arial"/>
                    <a:ea typeface="Arial"/>
                  </a:endParaRPr>
                </a:p>
              </p:txBody>
            </p:sp>
            <p:sp>
              <p:nvSpPr>
                <p:cNvPr id="385" name="Freeform 24"/>
                <p:cNvSpPr/>
                <p:nvPr/>
              </p:nvSpPr>
              <p:spPr>
                <a:xfrm>
                  <a:off x="5924160" y="4627440"/>
                  <a:ext cx="192960" cy="199440"/>
                </a:xfrm>
                <a:custGeom>
                  <a:avLst/>
                  <a:gdLst/>
                  <a:ahLst/>
                  <a:rect l="l" t="t" r="r" b="b"/>
                  <a:pathLst>
                    <a:path w="193713" h="200169">
                      <a:moveTo>
                        <a:pt x="0" y="70021"/>
                      </a:moveTo>
                      <a:lnTo>
                        <a:pt x="9091" y="41069"/>
                      </a:lnTo>
                      <a:lnTo>
                        <a:pt x="9674" y="28111"/>
                      </a:lnTo>
                      <a:lnTo>
                        <a:pt x="20745" y="6973"/>
                      </a:lnTo>
                      <a:lnTo>
                        <a:pt x="60972" y="0"/>
                      </a:lnTo>
                      <a:lnTo>
                        <a:pt x="82405" y="339"/>
                      </a:lnTo>
                      <a:lnTo>
                        <a:pt x="103908" y="12603"/>
                      </a:lnTo>
                      <a:lnTo>
                        <a:pt x="104302" y="20007"/>
                      </a:lnTo>
                      <a:lnTo>
                        <a:pt x="111128" y="33382"/>
                      </a:lnTo>
                      <a:lnTo>
                        <a:pt x="109594" y="66172"/>
                      </a:lnTo>
                      <a:lnTo>
                        <a:pt x="133961" y="70824"/>
                      </a:lnTo>
                      <a:lnTo>
                        <a:pt x="143383" y="66077"/>
                      </a:lnTo>
                      <a:lnTo>
                        <a:pt x="158972" y="72638"/>
                      </a:lnTo>
                      <a:lnTo>
                        <a:pt x="163295" y="79887"/>
                      </a:lnTo>
                      <a:lnTo>
                        <a:pt x="165443" y="102192"/>
                      </a:lnTo>
                      <a:lnTo>
                        <a:pt x="168141" y="111589"/>
                      </a:lnTo>
                      <a:lnTo>
                        <a:pt x="176747" y="112673"/>
                      </a:lnTo>
                      <a:lnTo>
                        <a:pt x="185405" y="108723"/>
                      </a:lnTo>
                      <a:lnTo>
                        <a:pt x="193712" y="113156"/>
                      </a:lnTo>
                      <a:lnTo>
                        <a:pt x="193700" y="126613"/>
                      </a:lnTo>
                      <a:lnTo>
                        <a:pt x="190573" y="141130"/>
                      </a:lnTo>
                      <a:lnTo>
                        <a:pt x="186041" y="155338"/>
                      </a:lnTo>
                      <a:lnTo>
                        <a:pt x="182267" y="177151"/>
                      </a:lnTo>
                      <a:lnTo>
                        <a:pt x="161329" y="196169"/>
                      </a:lnTo>
                      <a:lnTo>
                        <a:pt x="143074" y="200168"/>
                      </a:lnTo>
                      <a:lnTo>
                        <a:pt x="117151" y="196370"/>
                      </a:lnTo>
                      <a:lnTo>
                        <a:pt x="93874" y="189603"/>
                      </a:lnTo>
                      <a:lnTo>
                        <a:pt x="116599" y="151996"/>
                      </a:lnTo>
                      <a:lnTo>
                        <a:pt x="113286" y="141134"/>
                      </a:lnTo>
                      <a:lnTo>
                        <a:pt x="89512" y="131534"/>
                      </a:lnTo>
                      <a:lnTo>
                        <a:pt x="61309" y="113444"/>
                      </a:lnTo>
                      <a:lnTo>
                        <a:pt x="42437" y="109727"/>
                      </a:lnTo>
                      <a:close/>
                    </a:path>
                  </a:pathLst>
                </a:custGeom>
                <a:solidFill>
                  <a:schemeClr val="accent1">
                    <a:lumMod val="20000"/>
                    <a:lumOff val="80000"/>
                  </a:schemeClr>
                </a:solidFill>
                <a:ln cap="rnd" w="3175">
                  <a:solidFill>
                    <a:srgbClr val="009fdf">
                      <a:lumMod val="60000"/>
                      <a:lumOff val="40000"/>
                    </a:srgbClr>
                  </a:solidFill>
                </a:ln>
              </p:spPr>
              <p:style>
                <a:lnRef idx="2">
                  <a:schemeClr val="accent1">
                    <a:shade val="50000"/>
                  </a:schemeClr>
                </a:lnRef>
                <a:fillRef idx="1">
                  <a:schemeClr val="accent1"/>
                </a:fillRef>
                <a:effectRef idx="0">
                  <a:schemeClr val="accent1"/>
                </a:effectRef>
                <a:fontRef idx="minor"/>
              </p:style>
              <p:txBody>
                <a:bodyPr numCol="1" spcCol="0" horzOverflow="overflow" lIns="72000" rIns="72000" tIns="72000" bIns="72000" anchor="ctr">
                  <a:noAutofit/>
                </a:bodyPr>
                <a:p>
                  <a:pPr algn="ctr" defTabSz="457200">
                    <a:lnSpc>
                      <a:spcPct val="100000"/>
                    </a:lnSpc>
                    <a:tabLst>
                      <a:tab algn="l" pos="0"/>
                    </a:tabLst>
                  </a:pPr>
                  <a:endParaRPr b="0" lang="de-DE" sz="1600" spc="-1" strike="noStrike">
                    <a:solidFill>
                      <a:srgbClr val="000000"/>
                    </a:solidFill>
                    <a:latin typeface="Arial"/>
                    <a:ea typeface="Arial"/>
                  </a:endParaRPr>
                </a:p>
              </p:txBody>
            </p:sp>
            <p:sp>
              <p:nvSpPr>
                <p:cNvPr id="386" name="Freeform 25"/>
                <p:cNvSpPr/>
                <p:nvPr/>
              </p:nvSpPr>
              <p:spPr>
                <a:xfrm>
                  <a:off x="5292720" y="3841920"/>
                  <a:ext cx="54360" cy="29520"/>
                </a:xfrm>
                <a:custGeom>
                  <a:avLst/>
                  <a:gdLst/>
                  <a:ahLst/>
                  <a:rect l="l" t="t" r="r" b="b"/>
                  <a:pathLst>
                    <a:path w="54754" h="29988">
                      <a:moveTo>
                        <a:pt x="53146" y="24458"/>
                      </a:moveTo>
                      <a:lnTo>
                        <a:pt x="50584" y="29987"/>
                      </a:lnTo>
                      <a:lnTo>
                        <a:pt x="37215" y="29637"/>
                      </a:lnTo>
                      <a:lnTo>
                        <a:pt x="28907" y="27388"/>
                      </a:lnTo>
                      <a:lnTo>
                        <a:pt x="19362" y="22718"/>
                      </a:lnTo>
                      <a:lnTo>
                        <a:pt x="6536" y="21259"/>
                      </a:lnTo>
                      <a:lnTo>
                        <a:pt x="0" y="16212"/>
                      </a:lnTo>
                      <a:lnTo>
                        <a:pt x="713" y="12763"/>
                      </a:lnTo>
                      <a:lnTo>
                        <a:pt x="8624" y="6827"/>
                      </a:lnTo>
                      <a:lnTo>
                        <a:pt x="12957" y="4224"/>
                      </a:lnTo>
                      <a:lnTo>
                        <a:pt x="11731" y="1450"/>
                      </a:lnTo>
                      <a:lnTo>
                        <a:pt x="17133" y="0"/>
                      </a:lnTo>
                      <a:lnTo>
                        <a:pt x="23938" y="1981"/>
                      </a:lnTo>
                      <a:lnTo>
                        <a:pt x="28911" y="6679"/>
                      </a:lnTo>
                      <a:lnTo>
                        <a:pt x="35878" y="10453"/>
                      </a:lnTo>
                      <a:lnTo>
                        <a:pt x="36737" y="13621"/>
                      </a:lnTo>
                      <a:lnTo>
                        <a:pt x="46863" y="10818"/>
                      </a:lnTo>
                      <a:lnTo>
                        <a:pt x="51614" y="12496"/>
                      </a:lnTo>
                      <a:lnTo>
                        <a:pt x="54753" y="15043"/>
                      </a:lnTo>
                      <a:close/>
                    </a:path>
                  </a:pathLst>
                </a:custGeom>
                <a:solidFill>
                  <a:schemeClr val="accent1">
                    <a:lumMod val="20000"/>
                    <a:lumOff val="80000"/>
                  </a:schemeClr>
                </a:solidFill>
                <a:ln cap="rnd" w="3175">
                  <a:solidFill>
                    <a:srgbClr val="009fdf">
                      <a:lumMod val="60000"/>
                      <a:lumOff val="40000"/>
                    </a:srgbClr>
                  </a:solidFill>
                </a:ln>
              </p:spPr>
              <p:style>
                <a:lnRef idx="2">
                  <a:schemeClr val="accent1">
                    <a:shade val="50000"/>
                  </a:schemeClr>
                </a:lnRef>
                <a:fillRef idx="1">
                  <a:schemeClr val="accent1"/>
                </a:fillRef>
                <a:effectRef idx="0">
                  <a:schemeClr val="accent1"/>
                </a:effectRef>
                <a:fontRef idx="minor"/>
              </p:style>
              <p:txBody>
                <a:bodyPr numCol="1" spcCol="0" horzOverflow="overflow" lIns="72000" rIns="72000" tIns="14760" bIns="14760" anchor="ctr">
                  <a:noAutofit/>
                </a:bodyPr>
                <a:p>
                  <a:pPr algn="ctr" defTabSz="457200">
                    <a:lnSpc>
                      <a:spcPct val="100000"/>
                    </a:lnSpc>
                    <a:tabLst>
                      <a:tab algn="l" pos="0"/>
                    </a:tabLst>
                  </a:pPr>
                  <a:endParaRPr b="0" lang="de-DE" sz="1600" spc="-1" strike="noStrike">
                    <a:solidFill>
                      <a:srgbClr val="000000"/>
                    </a:solidFill>
                    <a:latin typeface="Arial"/>
                    <a:ea typeface="Arial"/>
                  </a:endParaRPr>
                </a:p>
              </p:txBody>
            </p:sp>
            <p:sp>
              <p:nvSpPr>
                <p:cNvPr id="387" name="Freeform 26"/>
                <p:cNvSpPr/>
                <p:nvPr/>
              </p:nvSpPr>
              <p:spPr>
                <a:xfrm>
                  <a:off x="6031080" y="4037400"/>
                  <a:ext cx="93960" cy="96840"/>
                </a:xfrm>
                <a:custGeom>
                  <a:avLst/>
                  <a:gdLst/>
                  <a:ahLst/>
                  <a:rect l="l" t="t" r="r" b="b"/>
                  <a:pathLst>
                    <a:path w="94331" h="97285">
                      <a:moveTo>
                        <a:pt x="20711" y="1208"/>
                      </a:moveTo>
                      <a:lnTo>
                        <a:pt x="48366" y="5846"/>
                      </a:lnTo>
                      <a:lnTo>
                        <a:pt x="50849" y="1672"/>
                      </a:lnTo>
                      <a:lnTo>
                        <a:pt x="69512" y="0"/>
                      </a:lnTo>
                      <a:lnTo>
                        <a:pt x="94330" y="6225"/>
                      </a:lnTo>
                      <a:lnTo>
                        <a:pt x="82314" y="26126"/>
                      </a:lnTo>
                      <a:lnTo>
                        <a:pt x="84139" y="41950"/>
                      </a:lnTo>
                      <a:lnTo>
                        <a:pt x="93202" y="55649"/>
                      </a:lnTo>
                      <a:lnTo>
                        <a:pt x="89167" y="65592"/>
                      </a:lnTo>
                      <a:lnTo>
                        <a:pt x="87137" y="76158"/>
                      </a:lnTo>
                      <a:lnTo>
                        <a:pt x="81249" y="85872"/>
                      </a:lnTo>
                      <a:lnTo>
                        <a:pt x="68027" y="80978"/>
                      </a:lnTo>
                      <a:lnTo>
                        <a:pt x="57128" y="83339"/>
                      </a:lnTo>
                      <a:lnTo>
                        <a:pt x="47812" y="81287"/>
                      </a:lnTo>
                      <a:lnTo>
                        <a:pt x="45504" y="87974"/>
                      </a:lnTo>
                      <a:lnTo>
                        <a:pt x="49376" y="92565"/>
                      </a:lnTo>
                      <a:lnTo>
                        <a:pt x="47296" y="97284"/>
                      </a:lnTo>
                      <a:lnTo>
                        <a:pt x="34746" y="95393"/>
                      </a:lnTo>
                      <a:lnTo>
                        <a:pt x="20649" y="75314"/>
                      </a:lnTo>
                      <a:lnTo>
                        <a:pt x="17618" y="62271"/>
                      </a:lnTo>
                      <a:lnTo>
                        <a:pt x="10228" y="62244"/>
                      </a:lnTo>
                      <a:lnTo>
                        <a:pt x="0" y="45459"/>
                      </a:lnTo>
                      <a:lnTo>
                        <a:pt x="4258" y="33528"/>
                      </a:lnTo>
                      <a:lnTo>
                        <a:pt x="3010" y="28073"/>
                      </a:lnTo>
                      <a:lnTo>
                        <a:pt x="17022" y="22035"/>
                      </a:lnTo>
                      <a:close/>
                    </a:path>
                  </a:pathLst>
                </a:custGeom>
                <a:solidFill>
                  <a:schemeClr val="accent1">
                    <a:lumMod val="20000"/>
                    <a:lumOff val="80000"/>
                  </a:schemeClr>
                </a:solidFill>
                <a:ln cap="rnd" w="3175">
                  <a:solidFill>
                    <a:srgbClr val="009fdf">
                      <a:lumMod val="60000"/>
                      <a:lumOff val="40000"/>
                    </a:srgbClr>
                  </a:solidFill>
                </a:ln>
              </p:spPr>
              <p:style>
                <a:lnRef idx="2">
                  <a:schemeClr val="accent1">
                    <a:shade val="50000"/>
                  </a:schemeClr>
                </a:lnRef>
                <a:fillRef idx="1">
                  <a:schemeClr val="accent1"/>
                </a:fillRef>
                <a:effectRef idx="0">
                  <a:schemeClr val="accent1"/>
                </a:effectRef>
                <a:fontRef idx="minor"/>
              </p:style>
              <p:txBody>
                <a:bodyPr numCol="1" spcCol="0" horzOverflow="overflow" lIns="72000" rIns="72000" tIns="48240" bIns="48240" anchor="ctr">
                  <a:noAutofit/>
                </a:bodyPr>
                <a:p>
                  <a:pPr algn="ctr" defTabSz="457200">
                    <a:lnSpc>
                      <a:spcPct val="100000"/>
                    </a:lnSpc>
                    <a:tabLst>
                      <a:tab algn="l" pos="0"/>
                    </a:tabLst>
                  </a:pPr>
                  <a:endParaRPr b="0" lang="de-DE" sz="1600" spc="-1" strike="noStrike">
                    <a:solidFill>
                      <a:srgbClr val="000000"/>
                    </a:solidFill>
                    <a:latin typeface="Arial"/>
                    <a:ea typeface="Arial"/>
                  </a:endParaRPr>
                </a:p>
              </p:txBody>
            </p:sp>
            <p:sp>
              <p:nvSpPr>
                <p:cNvPr id="388" name="Freeform 27"/>
                <p:cNvSpPr/>
                <p:nvPr/>
              </p:nvSpPr>
              <p:spPr>
                <a:xfrm>
                  <a:off x="5941080" y="3924720"/>
                  <a:ext cx="24120" cy="20520"/>
                </a:xfrm>
                <a:custGeom>
                  <a:avLst/>
                  <a:gdLst/>
                  <a:ahLst/>
                  <a:rect l="l" t="t" r="r" b="b"/>
                  <a:pathLst>
                    <a:path w="24353" h="20765">
                      <a:moveTo>
                        <a:pt x="6232" y="3035"/>
                      </a:moveTo>
                      <a:lnTo>
                        <a:pt x="19505" y="0"/>
                      </a:lnTo>
                      <a:lnTo>
                        <a:pt x="24352" y="817"/>
                      </a:lnTo>
                      <a:lnTo>
                        <a:pt x="23429" y="18200"/>
                      </a:lnTo>
                      <a:lnTo>
                        <a:pt x="4155" y="20764"/>
                      </a:lnTo>
                      <a:lnTo>
                        <a:pt x="0" y="18666"/>
                      </a:lnTo>
                      <a:lnTo>
                        <a:pt x="6694" y="12253"/>
                      </a:lnTo>
                      <a:close/>
                    </a:path>
                  </a:pathLst>
                </a:custGeom>
                <a:solidFill>
                  <a:schemeClr val="accent1"/>
                </a:solidFill>
                <a:ln cap="rnd" w="3175">
                  <a:solidFill>
                    <a:srgbClr val="009fdf">
                      <a:lumMod val="60000"/>
                      <a:lumOff val="40000"/>
                    </a:srgbClr>
                  </a:solidFill>
                </a:ln>
              </p:spPr>
              <p:style>
                <a:lnRef idx="2">
                  <a:schemeClr val="accent1">
                    <a:shade val="50000"/>
                  </a:schemeClr>
                </a:lnRef>
                <a:fillRef idx="1">
                  <a:schemeClr val="accent1"/>
                </a:fillRef>
                <a:effectRef idx="0">
                  <a:schemeClr val="accent1"/>
                </a:effectRef>
                <a:fontRef idx="minor"/>
              </p:style>
              <p:txBody>
                <a:bodyPr numCol="1" spcCol="0" horzOverflow="overflow" lIns="72000" rIns="72000" tIns="10080" bIns="10080" anchor="ctr">
                  <a:noAutofit/>
                </a:bodyPr>
                <a:p>
                  <a:pPr algn="ctr" defTabSz="457200">
                    <a:lnSpc>
                      <a:spcPct val="100000"/>
                    </a:lnSpc>
                    <a:tabLst>
                      <a:tab algn="l" pos="0"/>
                    </a:tabLst>
                  </a:pPr>
                  <a:endParaRPr b="0" lang="de-DE" sz="1600" spc="-1" strike="noStrike">
                    <a:solidFill>
                      <a:srgbClr val="000000"/>
                    </a:solidFill>
                    <a:latin typeface="Arial"/>
                    <a:ea typeface="Arial"/>
                  </a:endParaRPr>
                </a:p>
              </p:txBody>
            </p:sp>
            <p:sp>
              <p:nvSpPr>
                <p:cNvPr id="389" name="Freeform 28"/>
                <p:cNvSpPr/>
                <p:nvPr/>
              </p:nvSpPr>
              <p:spPr>
                <a:xfrm>
                  <a:off x="6022080" y="4891320"/>
                  <a:ext cx="119880" cy="123840"/>
                </a:xfrm>
                <a:custGeom>
                  <a:avLst/>
                  <a:gdLst/>
                  <a:ahLst/>
                  <a:rect l="l" t="t" r="r" b="b"/>
                  <a:pathLst>
                    <a:path w="120435" h="124438">
                      <a:moveTo>
                        <a:pt x="18511" y="2696"/>
                      </a:moveTo>
                      <a:lnTo>
                        <a:pt x="33494" y="0"/>
                      </a:lnTo>
                      <a:lnTo>
                        <a:pt x="56641" y="19602"/>
                      </a:lnTo>
                      <a:lnTo>
                        <a:pt x="65222" y="18861"/>
                      </a:lnTo>
                      <a:lnTo>
                        <a:pt x="88975" y="35169"/>
                      </a:lnTo>
                      <a:lnTo>
                        <a:pt x="107084" y="49294"/>
                      </a:lnTo>
                      <a:lnTo>
                        <a:pt x="120434" y="66756"/>
                      </a:lnTo>
                      <a:lnTo>
                        <a:pt x="110255" y="78977"/>
                      </a:lnTo>
                      <a:lnTo>
                        <a:pt x="116647" y="93622"/>
                      </a:lnTo>
                      <a:lnTo>
                        <a:pt x="106657" y="109941"/>
                      </a:lnTo>
                      <a:lnTo>
                        <a:pt x="80587" y="124437"/>
                      </a:lnTo>
                      <a:lnTo>
                        <a:pt x="63547" y="119215"/>
                      </a:lnTo>
                      <a:lnTo>
                        <a:pt x="51054" y="122013"/>
                      </a:lnTo>
                      <a:lnTo>
                        <a:pt x="29717" y="110817"/>
                      </a:lnTo>
                      <a:lnTo>
                        <a:pt x="14063" y="111653"/>
                      </a:lnTo>
                      <a:lnTo>
                        <a:pt x="0" y="97279"/>
                      </a:lnTo>
                      <a:lnTo>
                        <a:pt x="1788" y="80556"/>
                      </a:lnTo>
                      <a:lnTo>
                        <a:pt x="6796" y="74813"/>
                      </a:lnTo>
                      <a:lnTo>
                        <a:pt x="6570" y="49224"/>
                      </a:lnTo>
                      <a:lnTo>
                        <a:pt x="12745" y="22995"/>
                      </a:lnTo>
                      <a:close/>
                    </a:path>
                  </a:pathLst>
                </a:custGeom>
                <a:solidFill>
                  <a:schemeClr val="accent1">
                    <a:lumMod val="20000"/>
                    <a:lumOff val="80000"/>
                  </a:schemeClr>
                </a:solidFill>
                <a:ln cap="rnd" w="3175">
                  <a:solidFill>
                    <a:srgbClr val="009fdf">
                      <a:lumMod val="60000"/>
                      <a:lumOff val="40000"/>
                    </a:srgbClr>
                  </a:solidFill>
                </a:ln>
              </p:spPr>
              <p:style>
                <a:lnRef idx="2">
                  <a:schemeClr val="accent1">
                    <a:shade val="50000"/>
                  </a:schemeClr>
                </a:lnRef>
                <a:fillRef idx="1">
                  <a:schemeClr val="accent1"/>
                </a:fillRef>
                <a:effectRef idx="0">
                  <a:schemeClr val="accent1"/>
                </a:effectRef>
                <a:fontRef idx="minor"/>
              </p:style>
              <p:txBody>
                <a:bodyPr numCol="1" spcCol="0" horzOverflow="overflow" lIns="72000" rIns="72000" tIns="61920" bIns="61920" anchor="ctr">
                  <a:noAutofit/>
                </a:bodyPr>
                <a:p>
                  <a:pPr algn="ctr" defTabSz="457200">
                    <a:lnSpc>
                      <a:spcPct val="100000"/>
                    </a:lnSpc>
                    <a:tabLst>
                      <a:tab algn="l" pos="0"/>
                    </a:tabLst>
                  </a:pPr>
                  <a:endParaRPr b="0" lang="de-DE" sz="1600" spc="-1" strike="noStrike">
                    <a:solidFill>
                      <a:srgbClr val="000000"/>
                    </a:solidFill>
                    <a:latin typeface="Arial"/>
                    <a:ea typeface="Arial"/>
                  </a:endParaRPr>
                </a:p>
              </p:txBody>
            </p:sp>
            <p:sp>
              <p:nvSpPr>
                <p:cNvPr id="390" name="Freeform 29"/>
                <p:cNvSpPr/>
                <p:nvPr/>
              </p:nvSpPr>
              <p:spPr>
                <a:xfrm>
                  <a:off x="3410640" y="2164320"/>
                  <a:ext cx="2446200" cy="1593720"/>
                </a:xfrm>
                <a:custGeom>
                  <a:avLst/>
                  <a:gdLst>
                    <a:gd name="textAreaLeft" fmla="*/ 0 w 2446200"/>
                    <a:gd name="textAreaRight" fmla="*/ 2446560 w 2446200"/>
                    <a:gd name="textAreaTop" fmla="*/ 0 h 1593720"/>
                    <a:gd name="textAreaBottom" fmla="*/ 1594080 h 1593720"/>
                  </a:gdLst>
                  <a:ahLst/>
                  <a:rect l="textAreaLeft" t="textAreaTop" r="textAreaRight" b="textAreaBottom"/>
                  <a:pathLst>
                    <a:path w="2451383" h="1597290">
                      <a:moveTo>
                        <a:pt x="2416535" y="1583598"/>
                      </a:moveTo>
                      <a:lnTo>
                        <a:pt x="2435423" y="1583737"/>
                      </a:lnTo>
                      <a:lnTo>
                        <a:pt x="2447221" y="1585840"/>
                      </a:lnTo>
                      <a:lnTo>
                        <a:pt x="2451383" y="1590580"/>
                      </a:lnTo>
                      <a:lnTo>
                        <a:pt x="2445470" y="1596590"/>
                      </a:lnTo>
                      <a:lnTo>
                        <a:pt x="2428094" y="1596449"/>
                      </a:lnTo>
                      <a:lnTo>
                        <a:pt x="2414608" y="1597290"/>
                      </a:lnTo>
                      <a:lnTo>
                        <a:pt x="2413263" y="1587086"/>
                      </a:lnTo>
                      <a:close/>
                      <a:moveTo>
                        <a:pt x="367708" y="1541755"/>
                      </a:moveTo>
                      <a:lnTo>
                        <a:pt x="369463" y="1542200"/>
                      </a:lnTo>
                      <a:lnTo>
                        <a:pt x="378301" y="1546260"/>
                      </a:lnTo>
                      <a:lnTo>
                        <a:pt x="382401" y="1548343"/>
                      </a:lnTo>
                      <a:lnTo>
                        <a:pt x="386147" y="1551558"/>
                      </a:lnTo>
                      <a:lnTo>
                        <a:pt x="392029" y="1559961"/>
                      </a:lnTo>
                      <a:lnTo>
                        <a:pt x="391474" y="1561289"/>
                      </a:lnTo>
                      <a:lnTo>
                        <a:pt x="382455" y="1566404"/>
                      </a:lnTo>
                      <a:lnTo>
                        <a:pt x="375070" y="1570144"/>
                      </a:lnTo>
                      <a:lnTo>
                        <a:pt x="371699" y="1574145"/>
                      </a:lnTo>
                      <a:lnTo>
                        <a:pt x="365963" y="1570720"/>
                      </a:lnTo>
                      <a:lnTo>
                        <a:pt x="366623" y="1564030"/>
                      </a:lnTo>
                      <a:lnTo>
                        <a:pt x="362805" y="1555304"/>
                      </a:lnTo>
                      <a:lnTo>
                        <a:pt x="363954" y="1552635"/>
                      </a:lnTo>
                      <a:lnTo>
                        <a:pt x="367962" y="1548720"/>
                      </a:lnTo>
                      <a:lnTo>
                        <a:pt x="366369" y="1543997"/>
                      </a:lnTo>
                      <a:close/>
                      <a:moveTo>
                        <a:pt x="350361" y="1523812"/>
                      </a:moveTo>
                      <a:lnTo>
                        <a:pt x="358566" y="1526104"/>
                      </a:lnTo>
                      <a:lnTo>
                        <a:pt x="364601" y="1529800"/>
                      </a:lnTo>
                      <a:lnTo>
                        <a:pt x="362672" y="1532692"/>
                      </a:lnTo>
                      <a:lnTo>
                        <a:pt x="354934" y="1534414"/>
                      </a:lnTo>
                      <a:lnTo>
                        <a:pt x="350958" y="1529343"/>
                      </a:lnTo>
                      <a:lnTo>
                        <a:pt x="348305" y="1527385"/>
                      </a:lnTo>
                      <a:lnTo>
                        <a:pt x="348099" y="1525879"/>
                      </a:lnTo>
                      <a:close/>
                      <a:moveTo>
                        <a:pt x="335641" y="1518816"/>
                      </a:moveTo>
                      <a:lnTo>
                        <a:pt x="346999" y="1519848"/>
                      </a:lnTo>
                      <a:lnTo>
                        <a:pt x="346281" y="1522456"/>
                      </a:lnTo>
                      <a:lnTo>
                        <a:pt x="333912" y="1521755"/>
                      </a:lnTo>
                      <a:close/>
                      <a:moveTo>
                        <a:pt x="317754" y="1506800"/>
                      </a:moveTo>
                      <a:lnTo>
                        <a:pt x="319683" y="1508353"/>
                      </a:lnTo>
                      <a:lnTo>
                        <a:pt x="326349" y="1516340"/>
                      </a:lnTo>
                      <a:lnTo>
                        <a:pt x="325098" y="1517734"/>
                      </a:lnTo>
                      <a:lnTo>
                        <a:pt x="323446" y="1517424"/>
                      </a:lnTo>
                      <a:lnTo>
                        <a:pt x="315412" y="1516575"/>
                      </a:lnTo>
                      <a:lnTo>
                        <a:pt x="312477" y="1511098"/>
                      </a:lnTo>
                      <a:lnTo>
                        <a:pt x="311580" y="1510132"/>
                      </a:lnTo>
                      <a:close/>
                      <a:moveTo>
                        <a:pt x="281491" y="1494228"/>
                      </a:moveTo>
                      <a:lnTo>
                        <a:pt x="286812" y="1494742"/>
                      </a:lnTo>
                      <a:lnTo>
                        <a:pt x="287287" y="1500386"/>
                      </a:lnTo>
                      <a:lnTo>
                        <a:pt x="284549" y="1502783"/>
                      </a:lnTo>
                      <a:lnTo>
                        <a:pt x="276775" y="1498368"/>
                      </a:lnTo>
                      <a:lnTo>
                        <a:pt x="277969" y="1496602"/>
                      </a:lnTo>
                      <a:close/>
                      <a:moveTo>
                        <a:pt x="1776755" y="773070"/>
                      </a:moveTo>
                      <a:lnTo>
                        <a:pt x="1780854" y="789445"/>
                      </a:lnTo>
                      <a:lnTo>
                        <a:pt x="1788030" y="794473"/>
                      </a:lnTo>
                      <a:lnTo>
                        <a:pt x="1804148" y="796297"/>
                      </a:lnTo>
                      <a:lnTo>
                        <a:pt x="1827712" y="801015"/>
                      </a:lnTo>
                      <a:lnTo>
                        <a:pt x="1850102" y="810176"/>
                      </a:lnTo>
                      <a:lnTo>
                        <a:pt x="1868799" y="806338"/>
                      </a:lnTo>
                      <a:lnTo>
                        <a:pt x="1897191" y="814008"/>
                      </a:lnTo>
                      <a:lnTo>
                        <a:pt x="1904741" y="813719"/>
                      </a:lnTo>
                      <a:lnTo>
                        <a:pt x="1925395" y="805365"/>
                      </a:lnTo>
                      <a:lnTo>
                        <a:pt x="1947054" y="816069"/>
                      </a:lnTo>
                      <a:lnTo>
                        <a:pt x="1969624" y="827426"/>
                      </a:lnTo>
                      <a:lnTo>
                        <a:pt x="1988313" y="837172"/>
                      </a:lnTo>
                      <a:lnTo>
                        <a:pt x="2006231" y="846505"/>
                      </a:lnTo>
                      <a:lnTo>
                        <a:pt x="2008467" y="854148"/>
                      </a:lnTo>
                      <a:lnTo>
                        <a:pt x="2013903" y="857002"/>
                      </a:lnTo>
                      <a:lnTo>
                        <a:pt x="2012491" y="859873"/>
                      </a:lnTo>
                      <a:lnTo>
                        <a:pt x="2018682" y="860766"/>
                      </a:lnTo>
                      <a:lnTo>
                        <a:pt x="2023173" y="857769"/>
                      </a:lnTo>
                      <a:lnTo>
                        <a:pt x="2024333" y="864624"/>
                      </a:lnTo>
                      <a:lnTo>
                        <a:pt x="2028975" y="869202"/>
                      </a:lnTo>
                      <a:lnTo>
                        <a:pt x="2035314" y="869202"/>
                      </a:lnTo>
                      <a:lnTo>
                        <a:pt x="2038698" y="872728"/>
                      </a:lnTo>
                      <a:lnTo>
                        <a:pt x="2035852" y="877848"/>
                      </a:lnTo>
                      <a:lnTo>
                        <a:pt x="2059902" y="891321"/>
                      </a:lnTo>
                      <a:lnTo>
                        <a:pt x="2064823" y="917186"/>
                      </a:lnTo>
                      <a:lnTo>
                        <a:pt x="2069442" y="941733"/>
                      </a:lnTo>
                      <a:lnTo>
                        <a:pt x="2062693" y="958312"/>
                      </a:lnTo>
                      <a:lnTo>
                        <a:pt x="2051845" y="973656"/>
                      </a:lnTo>
                      <a:lnTo>
                        <a:pt x="2046766" y="983378"/>
                      </a:lnTo>
                      <a:lnTo>
                        <a:pt x="2046259" y="986270"/>
                      </a:lnTo>
                      <a:lnTo>
                        <a:pt x="2048848" y="990226"/>
                      </a:lnTo>
                      <a:lnTo>
                        <a:pt x="2056690" y="994586"/>
                      </a:lnTo>
                      <a:lnTo>
                        <a:pt x="2062479" y="994586"/>
                      </a:lnTo>
                      <a:lnTo>
                        <a:pt x="2089291" y="979798"/>
                      </a:lnTo>
                      <a:lnTo>
                        <a:pt x="2113073" y="975430"/>
                      </a:lnTo>
                      <a:lnTo>
                        <a:pt x="2143267" y="961566"/>
                      </a:lnTo>
                      <a:lnTo>
                        <a:pt x="2143714" y="958732"/>
                      </a:lnTo>
                      <a:lnTo>
                        <a:pt x="2141636" y="950190"/>
                      </a:lnTo>
                      <a:lnTo>
                        <a:pt x="2137904" y="944678"/>
                      </a:lnTo>
                      <a:lnTo>
                        <a:pt x="2148324" y="940213"/>
                      </a:lnTo>
                      <a:lnTo>
                        <a:pt x="2171000" y="940102"/>
                      </a:lnTo>
                      <a:lnTo>
                        <a:pt x="2192186" y="940109"/>
                      </a:lnTo>
                      <a:lnTo>
                        <a:pt x="2199574" y="929121"/>
                      </a:lnTo>
                      <a:lnTo>
                        <a:pt x="2202459" y="926920"/>
                      </a:lnTo>
                      <a:lnTo>
                        <a:pt x="2226853" y="906486"/>
                      </a:lnTo>
                      <a:lnTo>
                        <a:pt x="2237268" y="901239"/>
                      </a:lnTo>
                      <a:lnTo>
                        <a:pt x="2272334" y="901043"/>
                      </a:lnTo>
                      <a:lnTo>
                        <a:pt x="2314870" y="901019"/>
                      </a:lnTo>
                      <a:lnTo>
                        <a:pt x="2317180" y="893968"/>
                      </a:lnTo>
                      <a:lnTo>
                        <a:pt x="2324570" y="892531"/>
                      </a:lnTo>
                      <a:lnTo>
                        <a:pt x="2334377" y="888098"/>
                      </a:lnTo>
                      <a:lnTo>
                        <a:pt x="2342571" y="875024"/>
                      </a:lnTo>
                      <a:lnTo>
                        <a:pt x="2349612" y="852523"/>
                      </a:lnTo>
                      <a:lnTo>
                        <a:pt x="2367218" y="830518"/>
                      </a:lnTo>
                      <a:lnTo>
                        <a:pt x="2374887" y="838200"/>
                      </a:lnTo>
                      <a:lnTo>
                        <a:pt x="2390365" y="833237"/>
                      </a:lnTo>
                      <a:lnTo>
                        <a:pt x="2400613" y="841661"/>
                      </a:lnTo>
                      <a:lnTo>
                        <a:pt x="2400593" y="881129"/>
                      </a:lnTo>
                      <a:lnTo>
                        <a:pt x="2415687" y="897326"/>
                      </a:lnTo>
                      <a:lnTo>
                        <a:pt x="2419675" y="906678"/>
                      </a:lnTo>
                      <a:lnTo>
                        <a:pt x="2395026" y="920441"/>
                      </a:lnTo>
                      <a:lnTo>
                        <a:pt x="2371309" y="930207"/>
                      </a:lnTo>
                      <a:lnTo>
                        <a:pt x="2346930" y="938553"/>
                      </a:lnTo>
                      <a:lnTo>
                        <a:pt x="2334712" y="955227"/>
                      </a:lnTo>
                      <a:lnTo>
                        <a:pt x="2330801" y="961519"/>
                      </a:lnTo>
                      <a:lnTo>
                        <a:pt x="2330568" y="976298"/>
                      </a:lnTo>
                      <a:lnTo>
                        <a:pt x="2338185" y="990995"/>
                      </a:lnTo>
                      <a:lnTo>
                        <a:pt x="2347765" y="991687"/>
                      </a:lnTo>
                      <a:lnTo>
                        <a:pt x="2345341" y="981575"/>
                      </a:lnTo>
                      <a:lnTo>
                        <a:pt x="2352266" y="987734"/>
                      </a:lnTo>
                      <a:lnTo>
                        <a:pt x="2350418" y="995634"/>
                      </a:lnTo>
                      <a:lnTo>
                        <a:pt x="2334838" y="1000110"/>
                      </a:lnTo>
                      <a:lnTo>
                        <a:pt x="2323750" y="999574"/>
                      </a:lnTo>
                      <a:lnTo>
                        <a:pt x="2306677" y="1004382"/>
                      </a:lnTo>
                      <a:lnTo>
                        <a:pt x="2296636" y="1005759"/>
                      </a:lnTo>
                      <a:lnTo>
                        <a:pt x="2283216" y="1007117"/>
                      </a:lnTo>
                      <a:lnTo>
                        <a:pt x="2263974" y="1015074"/>
                      </a:lnTo>
                      <a:lnTo>
                        <a:pt x="2297877" y="1009899"/>
                      </a:lnTo>
                      <a:lnTo>
                        <a:pt x="2304715" y="1015104"/>
                      </a:lnTo>
                      <a:lnTo>
                        <a:pt x="2272400" y="1023326"/>
                      </a:lnTo>
                      <a:lnTo>
                        <a:pt x="2257696" y="1023380"/>
                      </a:lnTo>
                      <a:lnTo>
                        <a:pt x="2258381" y="1020019"/>
                      </a:lnTo>
                      <a:lnTo>
                        <a:pt x="2251355" y="1027606"/>
                      </a:lnTo>
                      <a:lnTo>
                        <a:pt x="2258148" y="1028860"/>
                      </a:lnTo>
                      <a:lnTo>
                        <a:pt x="2253163" y="1048425"/>
                      </a:lnTo>
                      <a:lnTo>
                        <a:pt x="2236367" y="1069254"/>
                      </a:lnTo>
                      <a:lnTo>
                        <a:pt x="2234650" y="1062318"/>
                      </a:lnTo>
                      <a:lnTo>
                        <a:pt x="2229581" y="1060911"/>
                      </a:lnTo>
                      <a:lnTo>
                        <a:pt x="2222009" y="1054141"/>
                      </a:lnTo>
                      <a:lnTo>
                        <a:pt x="2226811" y="1068702"/>
                      </a:lnTo>
                      <a:lnTo>
                        <a:pt x="2232540" y="1073499"/>
                      </a:lnTo>
                      <a:lnTo>
                        <a:pt x="2232888" y="1083662"/>
                      </a:lnTo>
                      <a:lnTo>
                        <a:pt x="2225485" y="1094080"/>
                      </a:lnTo>
                      <a:lnTo>
                        <a:pt x="2212495" y="1115387"/>
                      </a:lnTo>
                      <a:lnTo>
                        <a:pt x="2210393" y="1114331"/>
                      </a:lnTo>
                      <a:lnTo>
                        <a:pt x="2217531" y="1096180"/>
                      </a:lnTo>
                      <a:lnTo>
                        <a:pt x="2205740" y="1085942"/>
                      </a:lnTo>
                      <a:lnTo>
                        <a:pt x="2203036" y="1063572"/>
                      </a:lnTo>
                      <a:lnTo>
                        <a:pt x="2198588" y="1075234"/>
                      </a:lnTo>
                      <a:lnTo>
                        <a:pt x="2203513" y="1092267"/>
                      </a:lnTo>
                      <a:lnTo>
                        <a:pt x="2188263" y="1088067"/>
                      </a:lnTo>
                      <a:lnTo>
                        <a:pt x="2204153" y="1096691"/>
                      </a:lnTo>
                      <a:lnTo>
                        <a:pt x="2205143" y="1122041"/>
                      </a:lnTo>
                      <a:lnTo>
                        <a:pt x="2211766" y="1123876"/>
                      </a:lnTo>
                      <a:lnTo>
                        <a:pt x="2214161" y="1133042"/>
                      </a:lnTo>
                      <a:lnTo>
                        <a:pt x="2217405" y="1159407"/>
                      </a:lnTo>
                      <a:lnTo>
                        <a:pt x="2202732" y="1178836"/>
                      </a:lnTo>
                      <a:lnTo>
                        <a:pt x="2178854" y="1186569"/>
                      </a:lnTo>
                      <a:lnTo>
                        <a:pt x="2163681" y="1201815"/>
                      </a:lnTo>
                      <a:lnTo>
                        <a:pt x="2152154" y="1203478"/>
                      </a:lnTo>
                      <a:lnTo>
                        <a:pt x="2140467" y="1212991"/>
                      </a:lnTo>
                      <a:lnTo>
                        <a:pt x="2137168" y="1221658"/>
                      </a:lnTo>
                      <a:lnTo>
                        <a:pt x="2111829" y="1238365"/>
                      </a:lnTo>
                      <a:lnTo>
                        <a:pt x="2098818" y="1250572"/>
                      </a:lnTo>
                      <a:lnTo>
                        <a:pt x="2087939" y="1265718"/>
                      </a:lnTo>
                      <a:lnTo>
                        <a:pt x="2084382" y="1283795"/>
                      </a:lnTo>
                      <a:lnTo>
                        <a:pt x="2088460" y="1301384"/>
                      </a:lnTo>
                      <a:lnTo>
                        <a:pt x="2096163" y="1322949"/>
                      </a:lnTo>
                      <a:lnTo>
                        <a:pt x="2106422" y="1340707"/>
                      </a:lnTo>
                      <a:lnTo>
                        <a:pt x="2106551" y="1351512"/>
                      </a:lnTo>
                      <a:lnTo>
                        <a:pt x="2117479" y="1380385"/>
                      </a:lnTo>
                      <a:lnTo>
                        <a:pt x="2116753" y="1397082"/>
                      </a:lnTo>
                      <a:lnTo>
                        <a:pt x="2115748" y="1406687"/>
                      </a:lnTo>
                      <a:lnTo>
                        <a:pt x="2109989" y="1421726"/>
                      </a:lnTo>
                      <a:lnTo>
                        <a:pt x="2103088" y="1424827"/>
                      </a:lnTo>
                      <a:lnTo>
                        <a:pt x="2091729" y="1421846"/>
                      </a:lnTo>
                      <a:lnTo>
                        <a:pt x="2088084" y="1411046"/>
                      </a:lnTo>
                      <a:lnTo>
                        <a:pt x="2079313" y="1405374"/>
                      </a:lnTo>
                      <a:lnTo>
                        <a:pt x="2067079" y="1384105"/>
                      </a:lnTo>
                      <a:lnTo>
                        <a:pt x="2056342" y="1365100"/>
                      </a:lnTo>
                      <a:lnTo>
                        <a:pt x="2052877" y="1355350"/>
                      </a:lnTo>
                      <a:lnTo>
                        <a:pt x="2057615" y="1338757"/>
                      </a:lnTo>
                      <a:lnTo>
                        <a:pt x="2051152" y="1324959"/>
                      </a:lnTo>
                      <a:lnTo>
                        <a:pt x="2033157" y="1303884"/>
                      </a:lnTo>
                      <a:lnTo>
                        <a:pt x="2024146" y="1300007"/>
                      </a:lnTo>
                      <a:lnTo>
                        <a:pt x="2000859" y="1311465"/>
                      </a:lnTo>
                      <a:lnTo>
                        <a:pt x="1996727" y="1310205"/>
                      </a:lnTo>
                      <a:lnTo>
                        <a:pt x="1985526" y="1298424"/>
                      </a:lnTo>
                      <a:lnTo>
                        <a:pt x="1971055" y="1292162"/>
                      </a:lnTo>
                      <a:lnTo>
                        <a:pt x="1944964" y="1295344"/>
                      </a:lnTo>
                      <a:lnTo>
                        <a:pt x="1924479" y="1292545"/>
                      </a:lnTo>
                      <a:lnTo>
                        <a:pt x="1906874" y="1294290"/>
                      </a:lnTo>
                      <a:lnTo>
                        <a:pt x="1897333" y="1298237"/>
                      </a:lnTo>
                      <a:lnTo>
                        <a:pt x="1901490" y="1304954"/>
                      </a:lnTo>
                      <a:lnTo>
                        <a:pt x="1901115" y="1315182"/>
                      </a:lnTo>
                      <a:lnTo>
                        <a:pt x="1906016" y="1320155"/>
                      </a:lnTo>
                      <a:lnTo>
                        <a:pt x="1901617" y="1323461"/>
                      </a:lnTo>
                      <a:lnTo>
                        <a:pt x="1893052" y="1319751"/>
                      </a:lnTo>
                      <a:lnTo>
                        <a:pt x="1884388" y="1324521"/>
                      </a:lnTo>
                      <a:lnTo>
                        <a:pt x="1867640" y="1323740"/>
                      </a:lnTo>
                      <a:lnTo>
                        <a:pt x="1850407" y="1310435"/>
                      </a:lnTo>
                      <a:lnTo>
                        <a:pt x="1830273" y="1313578"/>
                      </a:lnTo>
                      <a:lnTo>
                        <a:pt x="1813484" y="1307742"/>
                      </a:lnTo>
                      <a:lnTo>
                        <a:pt x="1799126" y="1309511"/>
                      </a:lnTo>
                      <a:lnTo>
                        <a:pt x="1779700" y="1315399"/>
                      </a:lnTo>
                      <a:lnTo>
                        <a:pt x="1758689" y="1334030"/>
                      </a:lnTo>
                      <a:lnTo>
                        <a:pt x="1735750" y="1344827"/>
                      </a:lnTo>
                      <a:lnTo>
                        <a:pt x="1723147" y="1356753"/>
                      </a:lnTo>
                      <a:lnTo>
                        <a:pt x="1717838" y="1367963"/>
                      </a:lnTo>
                      <a:lnTo>
                        <a:pt x="1717608" y="1385096"/>
                      </a:lnTo>
                      <a:lnTo>
                        <a:pt x="1718761" y="1396977"/>
                      </a:lnTo>
                      <a:lnTo>
                        <a:pt x="1723147" y="1405374"/>
                      </a:lnTo>
                      <a:lnTo>
                        <a:pt x="1714145" y="1406114"/>
                      </a:lnTo>
                      <a:lnTo>
                        <a:pt x="1697757" y="1400683"/>
                      </a:lnTo>
                      <a:lnTo>
                        <a:pt x="1679752" y="1393020"/>
                      </a:lnTo>
                      <a:lnTo>
                        <a:pt x="1673289" y="1381377"/>
                      </a:lnTo>
                      <a:lnTo>
                        <a:pt x="1668211" y="1363980"/>
                      </a:lnTo>
                      <a:lnTo>
                        <a:pt x="1654592" y="1349764"/>
                      </a:lnTo>
                      <a:lnTo>
                        <a:pt x="1646609" y="1335096"/>
                      </a:lnTo>
                      <a:lnTo>
                        <a:pt x="1635027" y="1317900"/>
                      </a:lnTo>
                      <a:lnTo>
                        <a:pt x="1618758" y="1307855"/>
                      </a:lnTo>
                      <a:lnTo>
                        <a:pt x="1599886" y="1308341"/>
                      </a:lnTo>
                      <a:lnTo>
                        <a:pt x="1585344" y="1328225"/>
                      </a:lnTo>
                      <a:lnTo>
                        <a:pt x="1566185" y="1320685"/>
                      </a:lnTo>
                      <a:lnTo>
                        <a:pt x="1554252" y="1313083"/>
                      </a:lnTo>
                      <a:lnTo>
                        <a:pt x="1548510" y="1299205"/>
                      </a:lnTo>
                      <a:lnTo>
                        <a:pt x="1540855" y="1285976"/>
                      </a:lnTo>
                      <a:lnTo>
                        <a:pt x="1527139" y="1274803"/>
                      </a:lnTo>
                      <a:lnTo>
                        <a:pt x="1515336" y="1266752"/>
                      </a:lnTo>
                      <a:lnTo>
                        <a:pt x="1506918" y="1257702"/>
                      </a:lnTo>
                      <a:lnTo>
                        <a:pt x="1466930" y="1257693"/>
                      </a:lnTo>
                      <a:lnTo>
                        <a:pt x="1466885" y="1268223"/>
                      </a:lnTo>
                      <a:lnTo>
                        <a:pt x="1448579" y="1268231"/>
                      </a:lnTo>
                      <a:lnTo>
                        <a:pt x="1402676" y="1268414"/>
                      </a:lnTo>
                      <a:lnTo>
                        <a:pt x="1350016" y="1250422"/>
                      </a:lnTo>
                      <a:lnTo>
                        <a:pt x="1315161" y="1237956"/>
                      </a:lnTo>
                      <a:lnTo>
                        <a:pt x="1317322" y="1232929"/>
                      </a:lnTo>
                      <a:lnTo>
                        <a:pt x="1288008" y="1235717"/>
                      </a:lnTo>
                      <a:lnTo>
                        <a:pt x="1261776" y="1237697"/>
                      </a:lnTo>
                      <a:lnTo>
                        <a:pt x="1257894" y="1224550"/>
                      </a:lnTo>
                      <a:lnTo>
                        <a:pt x="1242935" y="1209698"/>
                      </a:lnTo>
                      <a:lnTo>
                        <a:pt x="1232165" y="1206599"/>
                      </a:lnTo>
                      <a:lnTo>
                        <a:pt x="1229642" y="1199160"/>
                      </a:lnTo>
                      <a:lnTo>
                        <a:pt x="1216690" y="1197856"/>
                      </a:lnTo>
                      <a:lnTo>
                        <a:pt x="1208430" y="1190826"/>
                      </a:lnTo>
                      <a:lnTo>
                        <a:pt x="1186988" y="1188259"/>
                      </a:lnTo>
                      <a:lnTo>
                        <a:pt x="1181100" y="1184053"/>
                      </a:lnTo>
                      <a:lnTo>
                        <a:pt x="1178296" y="1169731"/>
                      </a:lnTo>
                      <a:lnTo>
                        <a:pt x="1155900" y="1143336"/>
                      </a:lnTo>
                      <a:lnTo>
                        <a:pt x="1136675" y="1106470"/>
                      </a:lnTo>
                      <a:lnTo>
                        <a:pt x="1137493" y="1100287"/>
                      </a:lnTo>
                      <a:lnTo>
                        <a:pt x="1127310" y="1091451"/>
                      </a:lnTo>
                      <a:lnTo>
                        <a:pt x="1109444" y="1068926"/>
                      </a:lnTo>
                      <a:lnTo>
                        <a:pt x="1106259" y="1046857"/>
                      </a:lnTo>
                      <a:lnTo>
                        <a:pt x="1093958" y="1031985"/>
                      </a:lnTo>
                      <a:lnTo>
                        <a:pt x="1099018" y="1009280"/>
                      </a:lnTo>
                      <a:lnTo>
                        <a:pt x="1098214" y="985606"/>
                      </a:lnTo>
                      <a:lnTo>
                        <a:pt x="1090847" y="964292"/>
                      </a:lnTo>
                      <a:lnTo>
                        <a:pt x="1099866" y="937868"/>
                      </a:lnTo>
                      <a:lnTo>
                        <a:pt x="1102673" y="912191"/>
                      </a:lnTo>
                      <a:lnTo>
                        <a:pt x="1105480" y="886279"/>
                      </a:lnTo>
                      <a:lnTo>
                        <a:pt x="1101308" y="847533"/>
                      </a:lnTo>
                      <a:lnTo>
                        <a:pt x="1094014" y="822532"/>
                      </a:lnTo>
                      <a:lnTo>
                        <a:pt x="1087284" y="808865"/>
                      </a:lnTo>
                      <a:lnTo>
                        <a:pt x="1090079" y="803095"/>
                      </a:lnTo>
                      <a:lnTo>
                        <a:pt x="1123459" y="813124"/>
                      </a:lnTo>
                      <a:lnTo>
                        <a:pt x="1135754" y="840797"/>
                      </a:lnTo>
                      <a:lnTo>
                        <a:pt x="1141464" y="833087"/>
                      </a:lnTo>
                      <a:lnTo>
                        <a:pt x="1137771" y="808995"/>
                      </a:lnTo>
                      <a:lnTo>
                        <a:pt x="1129923" y="784684"/>
                      </a:lnTo>
                      <a:lnTo>
                        <a:pt x="1195477" y="784684"/>
                      </a:lnTo>
                      <a:lnTo>
                        <a:pt x="1264005" y="784684"/>
                      </a:lnTo>
                      <a:lnTo>
                        <a:pt x="1286696" y="784684"/>
                      </a:lnTo>
                      <a:lnTo>
                        <a:pt x="1357056" y="784684"/>
                      </a:lnTo>
                      <a:lnTo>
                        <a:pt x="1425150" y="784684"/>
                      </a:lnTo>
                      <a:lnTo>
                        <a:pt x="1494398" y="784684"/>
                      </a:lnTo>
                      <a:lnTo>
                        <a:pt x="1563686" y="784688"/>
                      </a:lnTo>
                      <a:lnTo>
                        <a:pt x="1642127" y="784684"/>
                      </a:lnTo>
                      <a:lnTo>
                        <a:pt x="1721099" y="784663"/>
                      </a:lnTo>
                      <a:lnTo>
                        <a:pt x="1768873" y="784684"/>
                      </a:lnTo>
                      <a:lnTo>
                        <a:pt x="1768941" y="773213"/>
                      </a:lnTo>
                      <a:close/>
                      <a:moveTo>
                        <a:pt x="428469" y="502080"/>
                      </a:moveTo>
                      <a:lnTo>
                        <a:pt x="443795" y="504339"/>
                      </a:lnTo>
                      <a:lnTo>
                        <a:pt x="453574" y="514689"/>
                      </a:lnTo>
                      <a:lnTo>
                        <a:pt x="433603" y="530447"/>
                      </a:lnTo>
                      <a:lnTo>
                        <a:pt x="410549" y="543008"/>
                      </a:lnTo>
                      <a:lnTo>
                        <a:pt x="398746" y="534511"/>
                      </a:lnTo>
                      <a:lnTo>
                        <a:pt x="395178" y="519006"/>
                      </a:lnTo>
                      <a:lnTo>
                        <a:pt x="416142" y="507173"/>
                      </a:lnTo>
                      <a:close/>
                      <a:moveTo>
                        <a:pt x="122876" y="419796"/>
                      </a:moveTo>
                      <a:lnTo>
                        <a:pt x="141189" y="422937"/>
                      </a:lnTo>
                      <a:lnTo>
                        <a:pt x="143388" y="436191"/>
                      </a:lnTo>
                      <a:lnTo>
                        <a:pt x="129225" y="441543"/>
                      </a:lnTo>
                      <a:lnTo>
                        <a:pt x="114092" y="435109"/>
                      </a:lnTo>
                      <a:lnTo>
                        <a:pt x="100083" y="425726"/>
                      </a:lnTo>
                      <a:close/>
                      <a:moveTo>
                        <a:pt x="1372" y="298556"/>
                      </a:moveTo>
                      <a:lnTo>
                        <a:pt x="15619" y="305529"/>
                      </a:lnTo>
                      <a:lnTo>
                        <a:pt x="30007" y="301766"/>
                      </a:lnTo>
                      <a:lnTo>
                        <a:pt x="48672" y="311413"/>
                      </a:lnTo>
                      <a:lnTo>
                        <a:pt x="71595" y="316282"/>
                      </a:lnTo>
                      <a:lnTo>
                        <a:pt x="69690" y="320242"/>
                      </a:lnTo>
                      <a:lnTo>
                        <a:pt x="52205" y="327917"/>
                      </a:lnTo>
                      <a:lnTo>
                        <a:pt x="34637" y="320030"/>
                      </a:lnTo>
                      <a:lnTo>
                        <a:pt x="25846" y="313429"/>
                      </a:lnTo>
                      <a:lnTo>
                        <a:pt x="5495" y="315543"/>
                      </a:lnTo>
                      <a:lnTo>
                        <a:pt x="0" y="312335"/>
                      </a:lnTo>
                      <a:close/>
                      <a:moveTo>
                        <a:pt x="351094" y="0"/>
                      </a:moveTo>
                      <a:lnTo>
                        <a:pt x="386019" y="8900"/>
                      </a:lnTo>
                      <a:lnTo>
                        <a:pt x="402722" y="27896"/>
                      </a:lnTo>
                      <a:lnTo>
                        <a:pt x="412974" y="19771"/>
                      </a:lnTo>
                      <a:lnTo>
                        <a:pt x="451984" y="22293"/>
                      </a:lnTo>
                      <a:lnTo>
                        <a:pt x="450599" y="31930"/>
                      </a:lnTo>
                      <a:lnTo>
                        <a:pt x="485916" y="39023"/>
                      </a:lnTo>
                      <a:lnTo>
                        <a:pt x="509460" y="34853"/>
                      </a:lnTo>
                      <a:lnTo>
                        <a:pt x="558087" y="47998"/>
                      </a:lnTo>
                      <a:lnTo>
                        <a:pt x="602484" y="51892"/>
                      </a:lnTo>
                      <a:lnTo>
                        <a:pt x="620257" y="57266"/>
                      </a:lnTo>
                      <a:lnTo>
                        <a:pt x="650970" y="50547"/>
                      </a:lnTo>
                      <a:lnTo>
                        <a:pt x="685985" y="62955"/>
                      </a:lnTo>
                      <a:lnTo>
                        <a:pt x="711065" y="68706"/>
                      </a:lnTo>
                      <a:lnTo>
                        <a:pt x="710914" y="215563"/>
                      </a:lnTo>
                      <a:lnTo>
                        <a:pt x="710793" y="422493"/>
                      </a:lnTo>
                      <a:lnTo>
                        <a:pt x="733524" y="423518"/>
                      </a:lnTo>
                      <a:lnTo>
                        <a:pt x="756006" y="433088"/>
                      </a:lnTo>
                      <a:lnTo>
                        <a:pt x="772120" y="448143"/>
                      </a:lnTo>
                      <a:lnTo>
                        <a:pt x="792627" y="470546"/>
                      </a:lnTo>
                      <a:lnTo>
                        <a:pt x="815081" y="451506"/>
                      </a:lnTo>
                      <a:lnTo>
                        <a:pt x="838254" y="440397"/>
                      </a:lnTo>
                      <a:lnTo>
                        <a:pt x="850507" y="458111"/>
                      </a:lnTo>
                      <a:lnTo>
                        <a:pt x="866062" y="472035"/>
                      </a:lnTo>
                      <a:lnTo>
                        <a:pt x="887196" y="487267"/>
                      </a:lnTo>
                      <a:lnTo>
                        <a:pt x="901625" y="511298"/>
                      </a:lnTo>
                      <a:lnTo>
                        <a:pt x="925230" y="549001"/>
                      </a:lnTo>
                      <a:lnTo>
                        <a:pt x="964471" y="569767"/>
                      </a:lnTo>
                      <a:lnTo>
                        <a:pt x="965112" y="590176"/>
                      </a:lnTo>
                      <a:lnTo>
                        <a:pt x="952276" y="605660"/>
                      </a:lnTo>
                      <a:lnTo>
                        <a:pt x="939587" y="593591"/>
                      </a:lnTo>
                      <a:lnTo>
                        <a:pt x="919242" y="583312"/>
                      </a:lnTo>
                      <a:lnTo>
                        <a:pt x="912714" y="554963"/>
                      </a:lnTo>
                      <a:lnTo>
                        <a:pt x="882957" y="528362"/>
                      </a:lnTo>
                      <a:lnTo>
                        <a:pt x="870518" y="496919"/>
                      </a:lnTo>
                      <a:lnTo>
                        <a:pt x="848355" y="494750"/>
                      </a:lnTo>
                      <a:lnTo>
                        <a:pt x="811657" y="493928"/>
                      </a:lnTo>
                      <a:lnTo>
                        <a:pt x="784605" y="484244"/>
                      </a:lnTo>
                      <a:lnTo>
                        <a:pt x="736876" y="448977"/>
                      </a:lnTo>
                      <a:lnTo>
                        <a:pt x="714774" y="442468"/>
                      </a:lnTo>
                      <a:lnTo>
                        <a:pt x="674399" y="430173"/>
                      </a:lnTo>
                      <a:lnTo>
                        <a:pt x="642442" y="433117"/>
                      </a:lnTo>
                      <a:lnTo>
                        <a:pt x="597046" y="417211"/>
                      </a:lnTo>
                      <a:lnTo>
                        <a:pt x="569605" y="402359"/>
                      </a:lnTo>
                      <a:lnTo>
                        <a:pt x="543985" y="409750"/>
                      </a:lnTo>
                      <a:lnTo>
                        <a:pt x="548745" y="433836"/>
                      </a:lnTo>
                      <a:lnTo>
                        <a:pt x="535986" y="436047"/>
                      </a:lnTo>
                      <a:lnTo>
                        <a:pt x="509279" y="443219"/>
                      </a:lnTo>
                      <a:lnTo>
                        <a:pt x="488957" y="454777"/>
                      </a:lnTo>
                      <a:lnTo>
                        <a:pt x="463378" y="462021"/>
                      </a:lnTo>
                      <a:lnTo>
                        <a:pt x="460076" y="441868"/>
                      </a:lnTo>
                      <a:lnTo>
                        <a:pt x="470457" y="407908"/>
                      </a:lnTo>
                      <a:lnTo>
                        <a:pt x="494989" y="397143"/>
                      </a:lnTo>
                      <a:lnTo>
                        <a:pt x="488660" y="388331"/>
                      </a:lnTo>
                      <a:lnTo>
                        <a:pt x="459236" y="407860"/>
                      </a:lnTo>
                      <a:lnTo>
                        <a:pt x="443482" y="430960"/>
                      </a:lnTo>
                      <a:lnTo>
                        <a:pt x="410224" y="455390"/>
                      </a:lnTo>
                      <a:lnTo>
                        <a:pt x="427113" y="471912"/>
                      </a:lnTo>
                      <a:lnTo>
                        <a:pt x="405300" y="496137"/>
                      </a:lnTo>
                      <a:lnTo>
                        <a:pt x="380486" y="510135"/>
                      </a:lnTo>
                      <a:lnTo>
                        <a:pt x="357384" y="520281"/>
                      </a:lnTo>
                      <a:lnTo>
                        <a:pt x="351665" y="534932"/>
                      </a:lnTo>
                      <a:lnTo>
                        <a:pt x="315630" y="551900"/>
                      </a:lnTo>
                      <a:lnTo>
                        <a:pt x="308334" y="567221"/>
                      </a:lnTo>
                      <a:lnTo>
                        <a:pt x="281326" y="581085"/>
                      </a:lnTo>
                      <a:lnTo>
                        <a:pt x="265483" y="578597"/>
                      </a:lnTo>
                      <a:lnTo>
                        <a:pt x="243939" y="587606"/>
                      </a:lnTo>
                      <a:lnTo>
                        <a:pt x="220517" y="598563"/>
                      </a:lnTo>
                      <a:lnTo>
                        <a:pt x="201319" y="609274"/>
                      </a:lnTo>
                      <a:lnTo>
                        <a:pt x="161707" y="618382"/>
                      </a:lnTo>
                      <a:lnTo>
                        <a:pt x="158091" y="613026"/>
                      </a:lnTo>
                      <a:lnTo>
                        <a:pt x="183340" y="598073"/>
                      </a:lnTo>
                      <a:lnTo>
                        <a:pt x="205923" y="588144"/>
                      </a:lnTo>
                      <a:lnTo>
                        <a:pt x="230525" y="570444"/>
                      </a:lnTo>
                      <a:lnTo>
                        <a:pt x="259161" y="566769"/>
                      </a:lnTo>
                      <a:lnTo>
                        <a:pt x="270542" y="553391"/>
                      </a:lnTo>
                      <a:lnTo>
                        <a:pt x="302537" y="533721"/>
                      </a:lnTo>
                      <a:lnTo>
                        <a:pt x="307693" y="527104"/>
                      </a:lnTo>
                      <a:lnTo>
                        <a:pt x="324735" y="515390"/>
                      </a:lnTo>
                      <a:lnTo>
                        <a:pt x="328716" y="490026"/>
                      </a:lnTo>
                      <a:lnTo>
                        <a:pt x="340456" y="470075"/>
                      </a:lnTo>
                      <a:lnTo>
                        <a:pt x="313841" y="480336"/>
                      </a:lnTo>
                      <a:lnTo>
                        <a:pt x="306397" y="474520"/>
                      </a:lnTo>
                      <a:lnTo>
                        <a:pt x="293900" y="486799"/>
                      </a:lnTo>
                      <a:lnTo>
                        <a:pt x="278826" y="469651"/>
                      </a:lnTo>
                      <a:lnTo>
                        <a:pt x="272602" y="481797"/>
                      </a:lnTo>
                      <a:lnTo>
                        <a:pt x="263970" y="464904"/>
                      </a:lnTo>
                      <a:lnTo>
                        <a:pt x="240893" y="478476"/>
                      </a:lnTo>
                      <a:lnTo>
                        <a:pt x="226723" y="478448"/>
                      </a:lnTo>
                      <a:lnTo>
                        <a:pt x="224736" y="458235"/>
                      </a:lnTo>
                      <a:lnTo>
                        <a:pt x="228909" y="445691"/>
                      </a:lnTo>
                      <a:lnTo>
                        <a:pt x="214047" y="433443"/>
                      </a:lnTo>
                      <a:lnTo>
                        <a:pt x="184033" y="440044"/>
                      </a:lnTo>
                      <a:lnTo>
                        <a:pt x="164554" y="423842"/>
                      </a:lnTo>
                      <a:lnTo>
                        <a:pt x="148761" y="415512"/>
                      </a:lnTo>
                      <a:lnTo>
                        <a:pt x="148659" y="395729"/>
                      </a:lnTo>
                      <a:lnTo>
                        <a:pt x="130872" y="380728"/>
                      </a:lnTo>
                      <a:lnTo>
                        <a:pt x="139804" y="360321"/>
                      </a:lnTo>
                      <a:lnTo>
                        <a:pt x="158622" y="340329"/>
                      </a:lnTo>
                      <a:lnTo>
                        <a:pt x="166855" y="321775"/>
                      </a:lnTo>
                      <a:lnTo>
                        <a:pt x="185534" y="319121"/>
                      </a:lnTo>
                      <a:lnTo>
                        <a:pt x="201370" y="324928"/>
                      </a:lnTo>
                      <a:lnTo>
                        <a:pt x="219991" y="307367"/>
                      </a:lnTo>
                      <a:lnTo>
                        <a:pt x="236751" y="310512"/>
                      </a:lnTo>
                      <a:lnTo>
                        <a:pt x="254339" y="299158"/>
                      </a:lnTo>
                      <a:lnTo>
                        <a:pt x="250050" y="282336"/>
                      </a:lnTo>
                      <a:lnTo>
                        <a:pt x="237129" y="275669"/>
                      </a:lnTo>
                      <a:lnTo>
                        <a:pt x="254217" y="261308"/>
                      </a:lnTo>
                      <a:lnTo>
                        <a:pt x="240041" y="261732"/>
                      </a:lnTo>
                      <a:lnTo>
                        <a:pt x="215547" y="269850"/>
                      </a:lnTo>
                      <a:lnTo>
                        <a:pt x="208513" y="278049"/>
                      </a:lnTo>
                      <a:lnTo>
                        <a:pt x="190310" y="269860"/>
                      </a:lnTo>
                      <a:lnTo>
                        <a:pt x="157661" y="274031"/>
                      </a:lnTo>
                      <a:lnTo>
                        <a:pt x="123857" y="265112"/>
                      </a:lnTo>
                      <a:lnTo>
                        <a:pt x="114169" y="250061"/>
                      </a:lnTo>
                      <a:lnTo>
                        <a:pt x="84957" y="228125"/>
                      </a:lnTo>
                      <a:lnTo>
                        <a:pt x="117395" y="212189"/>
                      </a:lnTo>
                      <a:lnTo>
                        <a:pt x="168882" y="193430"/>
                      </a:lnTo>
                      <a:lnTo>
                        <a:pt x="187861" y="193430"/>
                      </a:lnTo>
                      <a:lnTo>
                        <a:pt x="184719" y="212614"/>
                      </a:lnTo>
                      <a:lnTo>
                        <a:pt x="233443" y="211126"/>
                      </a:lnTo>
                      <a:lnTo>
                        <a:pt x="214701" y="187289"/>
                      </a:lnTo>
                      <a:lnTo>
                        <a:pt x="186309" y="172496"/>
                      </a:lnTo>
                      <a:lnTo>
                        <a:pt x="169891" y="152913"/>
                      </a:lnTo>
                      <a:lnTo>
                        <a:pt x="147748" y="136060"/>
                      </a:lnTo>
                      <a:lnTo>
                        <a:pt x="116029" y="123476"/>
                      </a:lnTo>
                      <a:lnTo>
                        <a:pt x="128949" y="102436"/>
                      </a:lnTo>
                      <a:lnTo>
                        <a:pt x="169895" y="101124"/>
                      </a:lnTo>
                      <a:lnTo>
                        <a:pt x="199030" y="82645"/>
                      </a:lnTo>
                      <a:lnTo>
                        <a:pt x="204525" y="62703"/>
                      </a:lnTo>
                      <a:lnTo>
                        <a:pt x="228108" y="43045"/>
                      </a:lnTo>
                      <a:lnTo>
                        <a:pt x="250593" y="38286"/>
                      </a:lnTo>
                      <a:lnTo>
                        <a:pt x="294349" y="19702"/>
                      </a:lnTo>
                      <a:lnTo>
                        <a:pt x="315572" y="22514"/>
                      </a:lnTo>
                      <a:close/>
                    </a:path>
                  </a:pathLst>
                </a:custGeom>
                <a:solidFill>
                  <a:schemeClr val="accent1"/>
                </a:solidFill>
                <a:ln cap="rnd" w="3175">
                  <a:solidFill>
                    <a:srgbClr val="009fdf">
                      <a:lumMod val="60000"/>
                      <a:lumOff val="40000"/>
                    </a:srgbClr>
                  </a:solidFill>
                </a:ln>
              </p:spPr>
              <p:style>
                <a:lnRef idx="2">
                  <a:schemeClr val="accent1">
                    <a:shade val="50000"/>
                  </a:schemeClr>
                </a:lnRef>
                <a:fillRef idx="1">
                  <a:schemeClr val="accent1"/>
                </a:fillRef>
                <a:effectRef idx="0">
                  <a:schemeClr val="accent1"/>
                </a:effectRef>
                <a:fontRef idx="minor"/>
              </p:style>
              <p:txBody>
                <a:bodyPr numCol="1" spcCol="0" horzOverflow="overflow" lIns="72000" rIns="72000" tIns="72000" bIns="72000" anchor="ctr">
                  <a:noAutofit/>
                </a:bodyPr>
                <a:p>
                  <a:pPr algn="ctr" defTabSz="457200">
                    <a:lnSpc>
                      <a:spcPct val="100000"/>
                    </a:lnSpc>
                    <a:tabLst>
                      <a:tab algn="l" pos="0"/>
                    </a:tabLst>
                  </a:pPr>
                  <a:endParaRPr b="0" lang="de-DE" sz="1600" spc="-1" strike="noStrike">
                    <a:solidFill>
                      <a:srgbClr val="000000"/>
                    </a:solidFill>
                    <a:latin typeface="Arial"/>
                    <a:ea typeface="Arial"/>
                  </a:endParaRPr>
                </a:p>
              </p:txBody>
            </p:sp>
            <p:sp>
              <p:nvSpPr>
                <p:cNvPr id="391" name="Freeform 30"/>
                <p:cNvSpPr/>
                <p:nvPr/>
              </p:nvSpPr>
              <p:spPr>
                <a:xfrm>
                  <a:off x="5679360" y="3894840"/>
                  <a:ext cx="311760" cy="264600"/>
                </a:xfrm>
                <a:custGeom>
                  <a:avLst/>
                  <a:gdLst/>
                  <a:ahLst/>
                  <a:rect l="l" t="t" r="r" b="b"/>
                  <a:pathLst>
                    <a:path w="312694" h="265376">
                      <a:moveTo>
                        <a:pt x="45551" y="9036"/>
                      </a:moveTo>
                      <a:lnTo>
                        <a:pt x="44894" y="14563"/>
                      </a:lnTo>
                      <a:lnTo>
                        <a:pt x="31344" y="17292"/>
                      </a:lnTo>
                      <a:lnTo>
                        <a:pt x="38873" y="27897"/>
                      </a:lnTo>
                      <a:lnTo>
                        <a:pt x="38592" y="40105"/>
                      </a:lnTo>
                      <a:lnTo>
                        <a:pt x="28410" y="53648"/>
                      </a:lnTo>
                      <a:lnTo>
                        <a:pt x="37147" y="72123"/>
                      </a:lnTo>
                      <a:lnTo>
                        <a:pt x="47098" y="70612"/>
                      </a:lnTo>
                      <a:lnTo>
                        <a:pt x="52281" y="53780"/>
                      </a:lnTo>
                      <a:lnTo>
                        <a:pt x="45124" y="45576"/>
                      </a:lnTo>
                      <a:lnTo>
                        <a:pt x="43957" y="27909"/>
                      </a:lnTo>
                      <a:lnTo>
                        <a:pt x="72702" y="18410"/>
                      </a:lnTo>
                      <a:lnTo>
                        <a:pt x="69504" y="7386"/>
                      </a:lnTo>
                      <a:lnTo>
                        <a:pt x="77597" y="0"/>
                      </a:lnTo>
                      <a:lnTo>
                        <a:pt x="85883" y="16443"/>
                      </a:lnTo>
                      <a:lnTo>
                        <a:pt x="102071" y="16823"/>
                      </a:lnTo>
                      <a:lnTo>
                        <a:pt x="117068" y="29852"/>
                      </a:lnTo>
                      <a:lnTo>
                        <a:pt x="117971" y="37581"/>
                      </a:lnTo>
                      <a:lnTo>
                        <a:pt x="138697" y="37786"/>
                      </a:lnTo>
                      <a:lnTo>
                        <a:pt x="163358" y="35388"/>
                      </a:lnTo>
                      <a:lnTo>
                        <a:pt x="176576" y="45836"/>
                      </a:lnTo>
                      <a:lnTo>
                        <a:pt x="194229" y="48717"/>
                      </a:lnTo>
                      <a:lnTo>
                        <a:pt x="207178" y="41432"/>
                      </a:lnTo>
                      <a:lnTo>
                        <a:pt x="207443" y="35556"/>
                      </a:lnTo>
                      <a:lnTo>
                        <a:pt x="236035" y="34149"/>
                      </a:lnTo>
                      <a:lnTo>
                        <a:pt x="263697" y="33824"/>
                      </a:lnTo>
                      <a:lnTo>
                        <a:pt x="244095" y="40717"/>
                      </a:lnTo>
                      <a:lnTo>
                        <a:pt x="251981" y="51724"/>
                      </a:lnTo>
                      <a:lnTo>
                        <a:pt x="270441" y="53475"/>
                      </a:lnTo>
                      <a:lnTo>
                        <a:pt x="287942" y="64929"/>
                      </a:lnTo>
                      <a:lnTo>
                        <a:pt x="291620" y="83569"/>
                      </a:lnTo>
                      <a:lnTo>
                        <a:pt x="303649" y="83044"/>
                      </a:lnTo>
                      <a:lnTo>
                        <a:pt x="312693" y="88523"/>
                      </a:lnTo>
                      <a:lnTo>
                        <a:pt x="294405" y="102169"/>
                      </a:lnTo>
                      <a:lnTo>
                        <a:pt x="292388" y="110633"/>
                      </a:lnTo>
                      <a:lnTo>
                        <a:pt x="300289" y="119242"/>
                      </a:lnTo>
                      <a:lnTo>
                        <a:pt x="294557" y="123587"/>
                      </a:lnTo>
                      <a:lnTo>
                        <a:pt x="280353" y="127309"/>
                      </a:lnTo>
                      <a:lnTo>
                        <a:pt x="280813" y="138011"/>
                      </a:lnTo>
                      <a:lnTo>
                        <a:pt x="274560" y="144387"/>
                      </a:lnTo>
                      <a:lnTo>
                        <a:pt x="290181" y="161956"/>
                      </a:lnTo>
                      <a:lnTo>
                        <a:pt x="293237" y="168485"/>
                      </a:lnTo>
                      <a:lnTo>
                        <a:pt x="284796" y="177314"/>
                      </a:lnTo>
                      <a:lnTo>
                        <a:pt x="258977" y="185970"/>
                      </a:lnTo>
                      <a:lnTo>
                        <a:pt x="242378" y="189558"/>
                      </a:lnTo>
                      <a:lnTo>
                        <a:pt x="235715" y="195023"/>
                      </a:lnTo>
                      <a:lnTo>
                        <a:pt x="217360" y="189244"/>
                      </a:lnTo>
                      <a:lnTo>
                        <a:pt x="200272" y="186286"/>
                      </a:lnTo>
                      <a:lnTo>
                        <a:pt x="195946" y="188414"/>
                      </a:lnTo>
                      <a:lnTo>
                        <a:pt x="206277" y="194407"/>
                      </a:lnTo>
                      <a:lnTo>
                        <a:pt x="205346" y="209900"/>
                      </a:lnTo>
                      <a:lnTo>
                        <a:pt x="208551" y="224448"/>
                      </a:lnTo>
                      <a:lnTo>
                        <a:pt x="228105" y="226433"/>
                      </a:lnTo>
                      <a:lnTo>
                        <a:pt x="229353" y="231287"/>
                      </a:lnTo>
                      <a:lnTo>
                        <a:pt x="212865" y="237857"/>
                      </a:lnTo>
                      <a:lnTo>
                        <a:pt x="210183" y="247636"/>
                      </a:lnTo>
                      <a:lnTo>
                        <a:pt x="200679" y="251425"/>
                      </a:lnTo>
                      <a:lnTo>
                        <a:pt x="183513" y="256815"/>
                      </a:lnTo>
                      <a:lnTo>
                        <a:pt x="179045" y="263879"/>
                      </a:lnTo>
                      <a:lnTo>
                        <a:pt x="161098" y="265375"/>
                      </a:lnTo>
                      <a:lnTo>
                        <a:pt x="148390" y="253165"/>
                      </a:lnTo>
                      <a:lnTo>
                        <a:pt x="141350" y="230138"/>
                      </a:lnTo>
                      <a:lnTo>
                        <a:pt x="135215" y="222063"/>
                      </a:lnTo>
                      <a:lnTo>
                        <a:pt x="126840" y="216972"/>
                      </a:lnTo>
                      <a:lnTo>
                        <a:pt x="138537" y="205471"/>
                      </a:lnTo>
                      <a:lnTo>
                        <a:pt x="137743" y="200297"/>
                      </a:lnTo>
                      <a:lnTo>
                        <a:pt x="131181" y="193430"/>
                      </a:lnTo>
                      <a:lnTo>
                        <a:pt x="126538" y="178066"/>
                      </a:lnTo>
                      <a:lnTo>
                        <a:pt x="128346" y="161473"/>
                      </a:lnTo>
                      <a:lnTo>
                        <a:pt x="133497" y="153701"/>
                      </a:lnTo>
                      <a:lnTo>
                        <a:pt x="137654" y="141228"/>
                      </a:lnTo>
                      <a:lnTo>
                        <a:pt x="129491" y="137246"/>
                      </a:lnTo>
                      <a:lnTo>
                        <a:pt x="116334" y="139889"/>
                      </a:lnTo>
                      <a:lnTo>
                        <a:pt x="99709" y="138648"/>
                      </a:lnTo>
                      <a:lnTo>
                        <a:pt x="90379" y="141126"/>
                      </a:lnTo>
                      <a:lnTo>
                        <a:pt x="74133" y="121180"/>
                      </a:lnTo>
                      <a:lnTo>
                        <a:pt x="60724" y="118225"/>
                      </a:lnTo>
                      <a:lnTo>
                        <a:pt x="31041" y="120455"/>
                      </a:lnTo>
                      <a:lnTo>
                        <a:pt x="25543" y="112363"/>
                      </a:lnTo>
                      <a:lnTo>
                        <a:pt x="19862" y="110429"/>
                      </a:lnTo>
                      <a:lnTo>
                        <a:pt x="19050" y="105585"/>
                      </a:lnTo>
                      <a:lnTo>
                        <a:pt x="21791" y="96990"/>
                      </a:lnTo>
                      <a:lnTo>
                        <a:pt x="19968" y="87635"/>
                      </a:lnTo>
                      <a:lnTo>
                        <a:pt x="14876" y="82520"/>
                      </a:lnTo>
                      <a:lnTo>
                        <a:pt x="11916" y="71826"/>
                      </a:lnTo>
                      <a:lnTo>
                        <a:pt x="0" y="70268"/>
                      </a:lnTo>
                      <a:lnTo>
                        <a:pt x="6402" y="56651"/>
                      </a:lnTo>
                      <a:lnTo>
                        <a:pt x="9225" y="40015"/>
                      </a:lnTo>
                      <a:lnTo>
                        <a:pt x="15934" y="31342"/>
                      </a:lnTo>
                      <a:lnTo>
                        <a:pt x="24869" y="24645"/>
                      </a:lnTo>
                      <a:lnTo>
                        <a:pt x="30724" y="12957"/>
                      </a:lnTo>
                      <a:close/>
                    </a:path>
                  </a:pathLst>
                </a:custGeom>
                <a:solidFill>
                  <a:schemeClr val="accent1"/>
                </a:solidFill>
                <a:ln cap="rnd" w="3175">
                  <a:solidFill>
                    <a:srgbClr val="009fdf">
                      <a:lumMod val="60000"/>
                      <a:lumOff val="40000"/>
                    </a:srgbClr>
                  </a:solidFill>
                </a:ln>
              </p:spPr>
              <p:style>
                <a:lnRef idx="2">
                  <a:schemeClr val="accent1">
                    <a:shade val="50000"/>
                  </a:schemeClr>
                </a:lnRef>
                <a:fillRef idx="1">
                  <a:schemeClr val="accent1"/>
                </a:fillRef>
                <a:effectRef idx="0">
                  <a:schemeClr val="accent1"/>
                </a:effectRef>
                <a:fontRef idx="minor"/>
              </p:style>
              <p:txBody>
                <a:bodyPr numCol="1" spcCol="0" horzOverflow="overflow" lIns="72000" rIns="72000" tIns="72000" bIns="72000" anchor="ctr">
                  <a:noAutofit/>
                </a:bodyPr>
                <a:p>
                  <a:pPr algn="ctr" defTabSz="457200">
                    <a:lnSpc>
                      <a:spcPct val="100000"/>
                    </a:lnSpc>
                    <a:tabLst>
                      <a:tab algn="l" pos="0"/>
                    </a:tabLst>
                  </a:pPr>
                  <a:endParaRPr b="0" lang="de-DE" sz="1600" spc="-1" strike="noStrike">
                    <a:solidFill>
                      <a:srgbClr val="000000"/>
                    </a:solidFill>
                    <a:latin typeface="Arial"/>
                    <a:ea typeface="Arial"/>
                  </a:endParaRPr>
                </a:p>
              </p:txBody>
            </p:sp>
            <p:sp>
              <p:nvSpPr>
                <p:cNvPr id="392" name="Freeform 31"/>
                <p:cNvSpPr/>
                <p:nvPr/>
              </p:nvSpPr>
              <p:spPr>
                <a:xfrm>
                  <a:off x="7554600" y="2673360"/>
                  <a:ext cx="105480" cy="95040"/>
                </a:xfrm>
                <a:custGeom>
                  <a:avLst/>
                  <a:gdLst>
                    <a:gd name="textAreaLeft" fmla="*/ 0 w 105480"/>
                    <a:gd name="textAreaRight" fmla="*/ 105840 w 105480"/>
                    <a:gd name="textAreaTop" fmla="*/ 0 h 95040"/>
                    <a:gd name="textAreaBottom" fmla="*/ 95400 h 95040"/>
                  </a:gdLst>
                  <a:ahLst/>
                  <a:rect l="textAreaLeft" t="textAreaTop" r="textAreaRight" b="textAreaBottom"/>
                  <a:pathLst>
                    <a:path w="106181" h="95686">
                      <a:moveTo>
                        <a:pt x="98815" y="53343"/>
                      </a:moveTo>
                      <a:lnTo>
                        <a:pt x="106181" y="69623"/>
                      </a:lnTo>
                      <a:lnTo>
                        <a:pt x="92331" y="95686"/>
                      </a:lnTo>
                      <a:lnTo>
                        <a:pt x="68176" y="77541"/>
                      </a:lnTo>
                      <a:lnTo>
                        <a:pt x="64953" y="64117"/>
                      </a:lnTo>
                      <a:close/>
                      <a:moveTo>
                        <a:pt x="57476" y="0"/>
                      </a:moveTo>
                      <a:lnTo>
                        <a:pt x="56694" y="17082"/>
                      </a:lnTo>
                      <a:lnTo>
                        <a:pt x="49859" y="27836"/>
                      </a:lnTo>
                      <a:lnTo>
                        <a:pt x="52629" y="37042"/>
                      </a:lnTo>
                      <a:lnTo>
                        <a:pt x="65144" y="42003"/>
                      </a:lnTo>
                      <a:lnTo>
                        <a:pt x="59503" y="54321"/>
                      </a:lnTo>
                      <a:lnTo>
                        <a:pt x="52629" y="50781"/>
                      </a:lnTo>
                      <a:lnTo>
                        <a:pt x="36009" y="74148"/>
                      </a:lnTo>
                      <a:lnTo>
                        <a:pt x="42286" y="89820"/>
                      </a:lnTo>
                      <a:lnTo>
                        <a:pt x="27516" y="94699"/>
                      </a:lnTo>
                      <a:lnTo>
                        <a:pt x="10070" y="90473"/>
                      </a:lnTo>
                      <a:lnTo>
                        <a:pt x="700" y="72606"/>
                      </a:lnTo>
                      <a:lnTo>
                        <a:pt x="0" y="39337"/>
                      </a:lnTo>
                      <a:lnTo>
                        <a:pt x="3846" y="30471"/>
                      </a:lnTo>
                      <a:lnTo>
                        <a:pt x="10467" y="20578"/>
                      </a:lnTo>
                      <a:lnTo>
                        <a:pt x="30803" y="18527"/>
                      </a:lnTo>
                      <a:lnTo>
                        <a:pt x="38907" y="9385"/>
                      </a:lnTo>
                      <a:close/>
                    </a:path>
                  </a:pathLst>
                </a:custGeom>
                <a:solidFill>
                  <a:schemeClr val="accent1"/>
                </a:solidFill>
                <a:ln cap="rnd" w="3175">
                  <a:solidFill>
                    <a:srgbClr val="009fdf">
                      <a:lumMod val="60000"/>
                      <a:lumOff val="40000"/>
                    </a:srgbClr>
                  </a:solidFill>
                </a:ln>
              </p:spPr>
              <p:style>
                <a:lnRef idx="2">
                  <a:schemeClr val="accent1">
                    <a:shade val="50000"/>
                  </a:schemeClr>
                </a:lnRef>
                <a:fillRef idx="1">
                  <a:schemeClr val="accent1"/>
                </a:fillRef>
                <a:effectRef idx="0">
                  <a:schemeClr val="accent1"/>
                </a:effectRef>
                <a:fontRef idx="minor"/>
              </p:style>
              <p:txBody>
                <a:bodyPr numCol="1" spcCol="0" horzOverflow="overflow" lIns="72000" rIns="72000" tIns="47520" bIns="47520" anchor="ctr">
                  <a:noAutofit/>
                </a:bodyPr>
                <a:p>
                  <a:pPr algn="ctr" defTabSz="457200">
                    <a:lnSpc>
                      <a:spcPct val="100000"/>
                    </a:lnSpc>
                    <a:tabLst>
                      <a:tab algn="l" pos="0"/>
                    </a:tabLst>
                  </a:pPr>
                  <a:endParaRPr b="0" lang="de-DE" sz="1600" spc="-1" strike="noStrike">
                    <a:solidFill>
                      <a:srgbClr val="000000"/>
                    </a:solidFill>
                    <a:latin typeface="Arial"/>
                    <a:ea typeface="Arial"/>
                  </a:endParaRPr>
                </a:p>
              </p:txBody>
            </p:sp>
            <p:sp>
              <p:nvSpPr>
                <p:cNvPr id="393" name="Freeform 32"/>
                <p:cNvSpPr/>
                <p:nvPr/>
              </p:nvSpPr>
              <p:spPr>
                <a:xfrm>
                  <a:off x="7193880" y="2643120"/>
                  <a:ext cx="212760" cy="275400"/>
                </a:xfrm>
                <a:custGeom>
                  <a:avLst/>
                  <a:gdLst>
                    <a:gd name="textAreaLeft" fmla="*/ 0 w 212760"/>
                    <a:gd name="textAreaRight" fmla="*/ 213120 w 212760"/>
                    <a:gd name="textAreaTop" fmla="*/ 0 h 275400"/>
                    <a:gd name="textAreaBottom" fmla="*/ 275760 h 275400"/>
                  </a:gdLst>
                  <a:ahLst/>
                  <a:rect l="textAreaLeft" t="textAreaTop" r="textAreaRight" b="textAreaBottom"/>
                  <a:pathLst>
                    <a:path w="213600" h="276243">
                      <a:moveTo>
                        <a:pt x="19350" y="114098"/>
                      </a:moveTo>
                      <a:lnTo>
                        <a:pt x="44092" y="133901"/>
                      </a:lnTo>
                      <a:lnTo>
                        <a:pt x="31722" y="155717"/>
                      </a:lnTo>
                      <a:lnTo>
                        <a:pt x="14275" y="149192"/>
                      </a:lnTo>
                      <a:lnTo>
                        <a:pt x="0" y="149628"/>
                      </a:lnTo>
                      <a:lnTo>
                        <a:pt x="4758" y="132586"/>
                      </a:lnTo>
                      <a:lnTo>
                        <a:pt x="0" y="115424"/>
                      </a:lnTo>
                      <a:close/>
                      <a:moveTo>
                        <a:pt x="105422" y="0"/>
                      </a:moveTo>
                      <a:lnTo>
                        <a:pt x="80751" y="36267"/>
                      </a:lnTo>
                      <a:lnTo>
                        <a:pt x="104268" y="31707"/>
                      </a:lnTo>
                      <a:lnTo>
                        <a:pt x="129560" y="31881"/>
                      </a:lnTo>
                      <a:lnTo>
                        <a:pt x="123542" y="58869"/>
                      </a:lnTo>
                      <a:lnTo>
                        <a:pt x="102791" y="88196"/>
                      </a:lnTo>
                      <a:lnTo>
                        <a:pt x="126658" y="90270"/>
                      </a:lnTo>
                      <a:lnTo>
                        <a:pt x="128489" y="93682"/>
                      </a:lnTo>
                      <a:lnTo>
                        <a:pt x="149048" y="131655"/>
                      </a:lnTo>
                      <a:lnTo>
                        <a:pt x="164849" y="136778"/>
                      </a:lnTo>
                      <a:lnTo>
                        <a:pt x="179055" y="172807"/>
                      </a:lnTo>
                      <a:lnTo>
                        <a:pt x="185634" y="185174"/>
                      </a:lnTo>
                      <a:lnTo>
                        <a:pt x="213600" y="191116"/>
                      </a:lnTo>
                      <a:lnTo>
                        <a:pt x="210794" y="210960"/>
                      </a:lnTo>
                      <a:lnTo>
                        <a:pt x="199035" y="220006"/>
                      </a:lnTo>
                      <a:lnTo>
                        <a:pt x="208252" y="235886"/>
                      </a:lnTo>
                      <a:lnTo>
                        <a:pt x="187489" y="251860"/>
                      </a:lnTo>
                      <a:lnTo>
                        <a:pt x="156608" y="251579"/>
                      </a:lnTo>
                      <a:lnTo>
                        <a:pt x="117310" y="259927"/>
                      </a:lnTo>
                      <a:lnTo>
                        <a:pt x="106547" y="253953"/>
                      </a:lnTo>
                      <a:lnTo>
                        <a:pt x="91285" y="268149"/>
                      </a:lnTo>
                      <a:lnTo>
                        <a:pt x="69932" y="264717"/>
                      </a:lnTo>
                      <a:lnTo>
                        <a:pt x="53716" y="276243"/>
                      </a:lnTo>
                      <a:lnTo>
                        <a:pt x="41447" y="270223"/>
                      </a:lnTo>
                      <a:lnTo>
                        <a:pt x="75299" y="238316"/>
                      </a:lnTo>
                      <a:lnTo>
                        <a:pt x="95962" y="231704"/>
                      </a:lnTo>
                      <a:lnTo>
                        <a:pt x="95780" y="231678"/>
                      </a:lnTo>
                      <a:lnTo>
                        <a:pt x="59733" y="226566"/>
                      </a:lnTo>
                      <a:lnTo>
                        <a:pt x="53202" y="214314"/>
                      </a:lnTo>
                      <a:lnTo>
                        <a:pt x="77322" y="204729"/>
                      </a:lnTo>
                      <a:lnTo>
                        <a:pt x="64681" y="187983"/>
                      </a:lnTo>
                      <a:lnTo>
                        <a:pt x="69067" y="167465"/>
                      </a:lnTo>
                      <a:lnTo>
                        <a:pt x="103372" y="170309"/>
                      </a:lnTo>
                      <a:lnTo>
                        <a:pt x="103412" y="170312"/>
                      </a:lnTo>
                      <a:lnTo>
                        <a:pt x="106807" y="152002"/>
                      </a:lnTo>
                      <a:lnTo>
                        <a:pt x="91348" y="132423"/>
                      </a:lnTo>
                      <a:lnTo>
                        <a:pt x="90995" y="131974"/>
                      </a:lnTo>
                      <a:lnTo>
                        <a:pt x="62969" y="126350"/>
                      </a:lnTo>
                      <a:lnTo>
                        <a:pt x="57467" y="117674"/>
                      </a:lnTo>
                      <a:lnTo>
                        <a:pt x="65856" y="103279"/>
                      </a:lnTo>
                      <a:lnTo>
                        <a:pt x="58265" y="94360"/>
                      </a:lnTo>
                      <a:lnTo>
                        <a:pt x="45836" y="109646"/>
                      </a:lnTo>
                      <a:lnTo>
                        <a:pt x="44484" y="78380"/>
                      </a:lnTo>
                      <a:lnTo>
                        <a:pt x="32828" y="61666"/>
                      </a:lnTo>
                      <a:lnTo>
                        <a:pt x="41210" y="27410"/>
                      </a:lnTo>
                      <a:lnTo>
                        <a:pt x="59141" y="169"/>
                      </a:lnTo>
                      <a:lnTo>
                        <a:pt x="77573" y="2842"/>
                      </a:lnTo>
                      <a:close/>
                    </a:path>
                  </a:pathLst>
                </a:custGeom>
                <a:solidFill>
                  <a:schemeClr val="accent1"/>
                </a:solidFill>
                <a:ln cap="rnd" w="3175">
                  <a:solidFill>
                    <a:srgbClr val="009fdf">
                      <a:lumMod val="60000"/>
                      <a:lumOff val="40000"/>
                    </a:srgbClr>
                  </a:solidFill>
                </a:ln>
              </p:spPr>
              <p:style>
                <a:lnRef idx="2">
                  <a:schemeClr val="accent1">
                    <a:shade val="50000"/>
                  </a:schemeClr>
                </a:lnRef>
                <a:fillRef idx="1">
                  <a:schemeClr val="accent1"/>
                </a:fillRef>
                <a:effectRef idx="0">
                  <a:schemeClr val="accent1"/>
                </a:effectRef>
                <a:fontRef idx="minor"/>
              </p:style>
              <p:txBody>
                <a:bodyPr numCol="1" spcCol="0" horzOverflow="overflow" lIns="72000" rIns="72000" tIns="72000" bIns="72000" anchor="ctr">
                  <a:noAutofit/>
                </a:bodyPr>
                <a:p>
                  <a:pPr algn="ctr" defTabSz="457200">
                    <a:lnSpc>
                      <a:spcPct val="100000"/>
                    </a:lnSpc>
                    <a:tabLst>
                      <a:tab algn="l" pos="0"/>
                    </a:tabLst>
                  </a:pPr>
                  <a:endParaRPr b="0" lang="de-DE" sz="1600" spc="-1" strike="noStrike">
                    <a:solidFill>
                      <a:srgbClr val="000000"/>
                    </a:solidFill>
                    <a:latin typeface="Arial"/>
                    <a:ea typeface="Arial"/>
                  </a:endParaRPr>
                </a:p>
              </p:txBody>
            </p:sp>
            <p:sp>
              <p:nvSpPr>
                <p:cNvPr id="394" name="Freeform 33"/>
                <p:cNvSpPr/>
                <p:nvPr/>
              </p:nvSpPr>
              <p:spPr>
                <a:xfrm>
                  <a:off x="8762760" y="3243600"/>
                  <a:ext cx="336600" cy="237240"/>
                </a:xfrm>
                <a:custGeom>
                  <a:avLst/>
                  <a:gdLst/>
                  <a:ahLst/>
                  <a:rect l="l" t="t" r="r" b="b"/>
                  <a:pathLst>
                    <a:path w="337691" h="238008">
                      <a:moveTo>
                        <a:pt x="15751" y="75342"/>
                      </a:moveTo>
                      <a:lnTo>
                        <a:pt x="39291" y="85295"/>
                      </a:lnTo>
                      <a:lnTo>
                        <a:pt x="56696" y="81800"/>
                      </a:lnTo>
                      <a:lnTo>
                        <a:pt x="61518" y="69897"/>
                      </a:lnTo>
                      <a:lnTo>
                        <a:pt x="79738" y="65927"/>
                      </a:lnTo>
                      <a:lnTo>
                        <a:pt x="92747" y="57907"/>
                      </a:lnTo>
                      <a:lnTo>
                        <a:pt x="97355" y="36724"/>
                      </a:lnTo>
                      <a:lnTo>
                        <a:pt x="116810" y="31581"/>
                      </a:lnTo>
                      <a:lnTo>
                        <a:pt x="120426" y="22095"/>
                      </a:lnTo>
                      <a:lnTo>
                        <a:pt x="131316" y="29223"/>
                      </a:lnTo>
                      <a:lnTo>
                        <a:pt x="138269" y="30049"/>
                      </a:lnTo>
                      <a:lnTo>
                        <a:pt x="151130" y="30226"/>
                      </a:lnTo>
                      <a:lnTo>
                        <a:pt x="168539" y="35842"/>
                      </a:lnTo>
                      <a:lnTo>
                        <a:pt x="175592" y="39080"/>
                      </a:lnTo>
                      <a:lnTo>
                        <a:pt x="192302" y="30540"/>
                      </a:lnTo>
                      <a:lnTo>
                        <a:pt x="200077" y="35679"/>
                      </a:lnTo>
                      <a:lnTo>
                        <a:pt x="207521" y="23487"/>
                      </a:lnTo>
                      <a:lnTo>
                        <a:pt x="221320" y="24041"/>
                      </a:lnTo>
                      <a:lnTo>
                        <a:pt x="224874" y="20120"/>
                      </a:lnTo>
                      <a:lnTo>
                        <a:pt x="227315" y="9334"/>
                      </a:lnTo>
                      <a:lnTo>
                        <a:pt x="237252" y="0"/>
                      </a:lnTo>
                      <a:lnTo>
                        <a:pt x="249747" y="6103"/>
                      </a:lnTo>
                      <a:lnTo>
                        <a:pt x="247238" y="14290"/>
                      </a:lnTo>
                      <a:lnTo>
                        <a:pt x="254220" y="15560"/>
                      </a:lnTo>
                      <a:lnTo>
                        <a:pt x="252068" y="37950"/>
                      </a:lnTo>
                      <a:lnTo>
                        <a:pt x="261208" y="46637"/>
                      </a:lnTo>
                      <a:lnTo>
                        <a:pt x="269250" y="41066"/>
                      </a:lnTo>
                      <a:lnTo>
                        <a:pt x="279495" y="38431"/>
                      </a:lnTo>
                      <a:lnTo>
                        <a:pt x="293879" y="26520"/>
                      </a:lnTo>
                      <a:lnTo>
                        <a:pt x="309775" y="28483"/>
                      </a:lnTo>
                      <a:lnTo>
                        <a:pt x="333580" y="28525"/>
                      </a:lnTo>
                      <a:lnTo>
                        <a:pt x="337690" y="36160"/>
                      </a:lnTo>
                      <a:lnTo>
                        <a:pt x="324253" y="39140"/>
                      </a:lnTo>
                      <a:lnTo>
                        <a:pt x="312519" y="44040"/>
                      </a:lnTo>
                      <a:lnTo>
                        <a:pt x="286031" y="47118"/>
                      </a:lnTo>
                      <a:lnTo>
                        <a:pt x="261246" y="52678"/>
                      </a:lnTo>
                      <a:lnTo>
                        <a:pt x="247767" y="64177"/>
                      </a:lnTo>
                      <a:lnTo>
                        <a:pt x="253225" y="75329"/>
                      </a:lnTo>
                      <a:lnTo>
                        <a:pt x="255863" y="88371"/>
                      </a:lnTo>
                      <a:lnTo>
                        <a:pt x="244367" y="99348"/>
                      </a:lnTo>
                      <a:lnTo>
                        <a:pt x="245330" y="109358"/>
                      </a:lnTo>
                      <a:lnTo>
                        <a:pt x="238983" y="118714"/>
                      </a:lnTo>
                      <a:lnTo>
                        <a:pt x="217026" y="117903"/>
                      </a:lnTo>
                      <a:lnTo>
                        <a:pt x="226098" y="135035"/>
                      </a:lnTo>
                      <a:lnTo>
                        <a:pt x="211407" y="141566"/>
                      </a:lnTo>
                      <a:lnTo>
                        <a:pt x="201606" y="157099"/>
                      </a:lnTo>
                      <a:lnTo>
                        <a:pt x="202881" y="172491"/>
                      </a:lnTo>
                      <a:lnTo>
                        <a:pt x="193854" y="179677"/>
                      </a:lnTo>
                      <a:lnTo>
                        <a:pt x="185319" y="177299"/>
                      </a:lnTo>
                      <a:lnTo>
                        <a:pt x="167678" y="180628"/>
                      </a:lnTo>
                      <a:lnTo>
                        <a:pt x="165155" y="187763"/>
                      </a:lnTo>
                      <a:lnTo>
                        <a:pt x="147970" y="187718"/>
                      </a:lnTo>
                      <a:lnTo>
                        <a:pt x="135103" y="202112"/>
                      </a:lnTo>
                      <a:lnTo>
                        <a:pt x="134296" y="223656"/>
                      </a:lnTo>
                      <a:lnTo>
                        <a:pt x="104297" y="234140"/>
                      </a:lnTo>
                      <a:lnTo>
                        <a:pt x="88221" y="231927"/>
                      </a:lnTo>
                      <a:lnTo>
                        <a:pt x="83549" y="237447"/>
                      </a:lnTo>
                      <a:lnTo>
                        <a:pt x="69752" y="234238"/>
                      </a:lnTo>
                      <a:lnTo>
                        <a:pt x="46660" y="238007"/>
                      </a:lnTo>
                      <a:lnTo>
                        <a:pt x="7982" y="225138"/>
                      </a:lnTo>
                      <a:lnTo>
                        <a:pt x="28918" y="202190"/>
                      </a:lnTo>
                      <a:lnTo>
                        <a:pt x="27027" y="185817"/>
                      </a:lnTo>
                      <a:lnTo>
                        <a:pt x="9545" y="181518"/>
                      </a:lnTo>
                      <a:lnTo>
                        <a:pt x="7738" y="165283"/>
                      </a:lnTo>
                      <a:lnTo>
                        <a:pt x="176" y="144769"/>
                      </a:lnTo>
                      <a:lnTo>
                        <a:pt x="10047" y="130633"/>
                      </a:lnTo>
                      <a:lnTo>
                        <a:pt x="0" y="126812"/>
                      </a:lnTo>
                      <a:lnTo>
                        <a:pt x="6342" y="107922"/>
                      </a:lnTo>
                      <a:close/>
                    </a:path>
                  </a:pathLst>
                </a:custGeom>
                <a:solidFill>
                  <a:schemeClr val="accent1">
                    <a:lumMod val="20000"/>
                    <a:lumOff val="80000"/>
                  </a:schemeClr>
                </a:solidFill>
                <a:ln cap="rnd" w="3175">
                  <a:solidFill>
                    <a:srgbClr val="009fdf">
                      <a:lumMod val="60000"/>
                      <a:lumOff val="40000"/>
                    </a:srgbClr>
                  </a:solidFill>
                </a:ln>
              </p:spPr>
              <p:style>
                <a:lnRef idx="2">
                  <a:schemeClr val="accent1">
                    <a:shade val="50000"/>
                  </a:schemeClr>
                </a:lnRef>
                <a:fillRef idx="1">
                  <a:schemeClr val="accent1"/>
                </a:fillRef>
                <a:effectRef idx="0">
                  <a:schemeClr val="accent1"/>
                </a:effectRef>
                <a:fontRef idx="minor"/>
              </p:style>
              <p:txBody>
                <a:bodyPr numCol="1" spcCol="0" horzOverflow="overflow" lIns="72000" rIns="72000" tIns="72000" bIns="72000" anchor="ctr">
                  <a:noAutofit/>
                </a:bodyPr>
                <a:p>
                  <a:pPr algn="ctr" defTabSz="457200">
                    <a:lnSpc>
                      <a:spcPct val="100000"/>
                    </a:lnSpc>
                    <a:tabLst>
                      <a:tab algn="l" pos="0"/>
                    </a:tabLst>
                  </a:pPr>
                  <a:endParaRPr b="0" lang="de-DE" sz="1600" spc="-1" strike="noStrike">
                    <a:solidFill>
                      <a:srgbClr val="000000"/>
                    </a:solidFill>
                    <a:latin typeface="Arial"/>
                    <a:ea typeface="Arial"/>
                  </a:endParaRPr>
                </a:p>
              </p:txBody>
            </p:sp>
            <p:sp>
              <p:nvSpPr>
                <p:cNvPr id="395" name="Freeform 34"/>
                <p:cNvSpPr/>
                <p:nvPr/>
              </p:nvSpPr>
              <p:spPr>
                <a:xfrm>
                  <a:off x="7636320" y="4278600"/>
                  <a:ext cx="286200" cy="314640"/>
                </a:xfrm>
                <a:custGeom>
                  <a:avLst/>
                  <a:gdLst>
                    <a:gd name="textAreaLeft" fmla="*/ 0 w 286200"/>
                    <a:gd name="textAreaRight" fmla="*/ 286560 w 286200"/>
                    <a:gd name="textAreaTop" fmla="*/ 0 h 314640"/>
                    <a:gd name="textAreaBottom" fmla="*/ 315000 h 314640"/>
                  </a:gdLst>
                  <a:ahLst/>
                  <a:rect l="textAreaLeft" t="textAreaTop" r="textAreaRight" b="textAreaBottom"/>
                  <a:pathLst>
                    <a:path w="287144" h="315772">
                      <a:moveTo>
                        <a:pt x="40060" y="33006"/>
                      </a:moveTo>
                      <a:lnTo>
                        <a:pt x="108175" y="33313"/>
                      </a:lnTo>
                      <a:lnTo>
                        <a:pt x="113869" y="50579"/>
                      </a:lnTo>
                      <a:lnTo>
                        <a:pt x="120494" y="64486"/>
                      </a:lnTo>
                      <a:lnTo>
                        <a:pt x="125798" y="71990"/>
                      </a:lnTo>
                      <a:lnTo>
                        <a:pt x="134638" y="84132"/>
                      </a:lnTo>
                      <a:lnTo>
                        <a:pt x="149902" y="82253"/>
                      </a:lnTo>
                      <a:lnTo>
                        <a:pt x="157518" y="78986"/>
                      </a:lnTo>
                      <a:lnTo>
                        <a:pt x="170273" y="82266"/>
                      </a:lnTo>
                      <a:lnTo>
                        <a:pt x="173732" y="76459"/>
                      </a:lnTo>
                      <a:lnTo>
                        <a:pt x="179523" y="62934"/>
                      </a:lnTo>
                      <a:lnTo>
                        <a:pt x="193840" y="62028"/>
                      </a:lnTo>
                      <a:lnTo>
                        <a:pt x="195084" y="58009"/>
                      </a:lnTo>
                      <a:lnTo>
                        <a:pt x="206861" y="57922"/>
                      </a:lnTo>
                      <a:lnTo>
                        <a:pt x="204851" y="66280"/>
                      </a:lnTo>
                      <a:lnTo>
                        <a:pt x="232859" y="66077"/>
                      </a:lnTo>
                      <a:lnTo>
                        <a:pt x="233282" y="80683"/>
                      </a:lnTo>
                      <a:lnTo>
                        <a:pt x="237960" y="89646"/>
                      </a:lnTo>
                      <a:lnTo>
                        <a:pt x="234559" y="103662"/>
                      </a:lnTo>
                      <a:lnTo>
                        <a:pt x="236253" y="117976"/>
                      </a:lnTo>
                      <a:lnTo>
                        <a:pt x="243953" y="126621"/>
                      </a:lnTo>
                      <a:lnTo>
                        <a:pt x="242718" y="154387"/>
                      </a:lnTo>
                      <a:lnTo>
                        <a:pt x="248432" y="152244"/>
                      </a:lnTo>
                      <a:lnTo>
                        <a:pt x="258462" y="152818"/>
                      </a:lnTo>
                      <a:lnTo>
                        <a:pt x="272761" y="149320"/>
                      </a:lnTo>
                      <a:lnTo>
                        <a:pt x="283273" y="150697"/>
                      </a:lnTo>
                      <a:lnTo>
                        <a:pt x="285713" y="157950"/>
                      </a:lnTo>
                      <a:lnTo>
                        <a:pt x="283087" y="169291"/>
                      </a:lnTo>
                      <a:lnTo>
                        <a:pt x="287144" y="180269"/>
                      </a:lnTo>
                      <a:lnTo>
                        <a:pt x="283705" y="189046"/>
                      </a:lnTo>
                      <a:lnTo>
                        <a:pt x="285672" y="197142"/>
                      </a:lnTo>
                      <a:lnTo>
                        <a:pt x="237608" y="196846"/>
                      </a:lnTo>
                      <a:lnTo>
                        <a:pt x="236546" y="271828"/>
                      </a:lnTo>
                      <a:lnTo>
                        <a:pt x="252118" y="291224"/>
                      </a:lnTo>
                      <a:lnTo>
                        <a:pt x="267181" y="306070"/>
                      </a:lnTo>
                      <a:lnTo>
                        <a:pt x="224758" y="315772"/>
                      </a:lnTo>
                      <a:lnTo>
                        <a:pt x="168875" y="312401"/>
                      </a:lnTo>
                      <a:lnTo>
                        <a:pt x="152882" y="301000"/>
                      </a:lnTo>
                      <a:lnTo>
                        <a:pt x="59313" y="302026"/>
                      </a:lnTo>
                      <a:lnTo>
                        <a:pt x="55823" y="303698"/>
                      </a:lnTo>
                      <a:lnTo>
                        <a:pt x="42063" y="292952"/>
                      </a:lnTo>
                      <a:lnTo>
                        <a:pt x="27099" y="292243"/>
                      </a:lnTo>
                      <a:lnTo>
                        <a:pt x="13281" y="296288"/>
                      </a:lnTo>
                      <a:lnTo>
                        <a:pt x="2172" y="300809"/>
                      </a:lnTo>
                      <a:lnTo>
                        <a:pt x="0" y="285877"/>
                      </a:lnTo>
                      <a:lnTo>
                        <a:pt x="3195" y="265047"/>
                      </a:lnTo>
                      <a:lnTo>
                        <a:pt x="11160" y="243421"/>
                      </a:lnTo>
                      <a:lnTo>
                        <a:pt x="12361" y="233303"/>
                      </a:lnTo>
                      <a:lnTo>
                        <a:pt x="19851" y="212092"/>
                      </a:lnTo>
                      <a:lnTo>
                        <a:pt x="25354" y="202466"/>
                      </a:lnTo>
                      <a:lnTo>
                        <a:pt x="38613" y="187119"/>
                      </a:lnTo>
                      <a:lnTo>
                        <a:pt x="46018" y="176694"/>
                      </a:lnTo>
                      <a:lnTo>
                        <a:pt x="48442" y="159366"/>
                      </a:lnTo>
                      <a:lnTo>
                        <a:pt x="47234" y="146127"/>
                      </a:lnTo>
                      <a:lnTo>
                        <a:pt x="40331" y="137784"/>
                      </a:lnTo>
                      <a:lnTo>
                        <a:pt x="34183" y="123641"/>
                      </a:lnTo>
                      <a:lnTo>
                        <a:pt x="28513" y="109670"/>
                      </a:lnTo>
                      <a:lnTo>
                        <a:pt x="29753" y="104834"/>
                      </a:lnTo>
                      <a:lnTo>
                        <a:pt x="36848" y="95613"/>
                      </a:lnTo>
                      <a:lnTo>
                        <a:pt x="29845" y="73171"/>
                      </a:lnTo>
                      <a:lnTo>
                        <a:pt x="25119" y="57639"/>
                      </a:lnTo>
                      <a:lnTo>
                        <a:pt x="13555" y="42973"/>
                      </a:lnTo>
                      <a:lnTo>
                        <a:pt x="15750" y="38470"/>
                      </a:lnTo>
                      <a:lnTo>
                        <a:pt x="25277" y="35356"/>
                      </a:lnTo>
                      <a:lnTo>
                        <a:pt x="31964" y="35790"/>
                      </a:lnTo>
                      <a:close/>
                      <a:moveTo>
                        <a:pt x="22637" y="0"/>
                      </a:moveTo>
                      <a:lnTo>
                        <a:pt x="31287" y="7935"/>
                      </a:lnTo>
                      <a:lnTo>
                        <a:pt x="22887" y="12798"/>
                      </a:lnTo>
                      <a:lnTo>
                        <a:pt x="19110" y="18748"/>
                      </a:lnTo>
                      <a:lnTo>
                        <a:pt x="18388" y="28840"/>
                      </a:lnTo>
                      <a:lnTo>
                        <a:pt x="12516" y="31286"/>
                      </a:lnTo>
                      <a:lnTo>
                        <a:pt x="6345" y="13879"/>
                      </a:lnTo>
                      <a:lnTo>
                        <a:pt x="15662" y="3890"/>
                      </a:lnTo>
                      <a:close/>
                    </a:path>
                  </a:pathLst>
                </a:custGeom>
                <a:solidFill>
                  <a:schemeClr val="accent1">
                    <a:lumMod val="20000"/>
                    <a:lumOff val="80000"/>
                  </a:schemeClr>
                </a:solidFill>
                <a:ln cap="rnd" w="3175">
                  <a:solidFill>
                    <a:srgbClr val="009fdf">
                      <a:lumMod val="60000"/>
                      <a:lumOff val="40000"/>
                    </a:srgbClr>
                  </a:solidFill>
                </a:ln>
              </p:spPr>
              <p:style>
                <a:lnRef idx="2">
                  <a:schemeClr val="accent1">
                    <a:shade val="50000"/>
                  </a:schemeClr>
                </a:lnRef>
                <a:fillRef idx="1">
                  <a:schemeClr val="accent1"/>
                </a:fillRef>
                <a:effectRef idx="0">
                  <a:schemeClr val="accent1"/>
                </a:effectRef>
                <a:fontRef idx="minor"/>
              </p:style>
              <p:txBody>
                <a:bodyPr numCol="1" spcCol="0" horzOverflow="overflow" lIns="72000" rIns="72000" tIns="72000" bIns="72000" anchor="ctr">
                  <a:noAutofit/>
                </a:bodyPr>
                <a:p>
                  <a:pPr algn="ctr" defTabSz="457200">
                    <a:lnSpc>
                      <a:spcPct val="100000"/>
                    </a:lnSpc>
                    <a:tabLst>
                      <a:tab algn="l" pos="0"/>
                    </a:tabLst>
                  </a:pPr>
                  <a:endParaRPr b="0" lang="de-DE" sz="1600" spc="-1" strike="noStrike">
                    <a:solidFill>
                      <a:srgbClr val="000000"/>
                    </a:solidFill>
                    <a:latin typeface="Arial"/>
                    <a:ea typeface="Arial"/>
                  </a:endParaRPr>
                </a:p>
              </p:txBody>
            </p:sp>
            <p:sp>
              <p:nvSpPr>
                <p:cNvPr id="396" name="Freeform 35"/>
                <p:cNvSpPr/>
                <p:nvPr/>
              </p:nvSpPr>
              <p:spPr>
                <a:xfrm>
                  <a:off x="7813080" y="3129120"/>
                  <a:ext cx="39240" cy="83880"/>
                </a:xfrm>
                <a:custGeom>
                  <a:avLst/>
                  <a:gdLst/>
                  <a:ahLst/>
                  <a:rect l="l" t="t" r="r" b="b"/>
                  <a:pathLst>
                    <a:path w="39600" h="84252">
                      <a:moveTo>
                        <a:pt x="29679" y="23140"/>
                      </a:moveTo>
                      <a:lnTo>
                        <a:pt x="26745" y="32543"/>
                      </a:lnTo>
                      <a:lnTo>
                        <a:pt x="30023" y="44352"/>
                      </a:lnTo>
                      <a:lnTo>
                        <a:pt x="39599" y="51037"/>
                      </a:lnTo>
                      <a:lnTo>
                        <a:pt x="39136" y="58233"/>
                      </a:lnTo>
                      <a:lnTo>
                        <a:pt x="31635" y="62197"/>
                      </a:lnTo>
                      <a:lnTo>
                        <a:pt x="30250" y="71064"/>
                      </a:lnTo>
                      <a:lnTo>
                        <a:pt x="19517" y="84251"/>
                      </a:lnTo>
                      <a:lnTo>
                        <a:pt x="15592" y="82351"/>
                      </a:lnTo>
                      <a:lnTo>
                        <a:pt x="15131" y="76372"/>
                      </a:lnTo>
                      <a:lnTo>
                        <a:pt x="2345" y="67227"/>
                      </a:lnTo>
                      <a:lnTo>
                        <a:pt x="336" y="54203"/>
                      </a:lnTo>
                      <a:lnTo>
                        <a:pt x="2286" y="35453"/>
                      </a:lnTo>
                      <a:lnTo>
                        <a:pt x="5437" y="26885"/>
                      </a:lnTo>
                      <a:lnTo>
                        <a:pt x="1553" y="22527"/>
                      </a:lnTo>
                      <a:lnTo>
                        <a:pt x="0" y="13705"/>
                      </a:lnTo>
                      <a:lnTo>
                        <a:pt x="10008" y="0"/>
                      </a:lnTo>
                      <a:lnTo>
                        <a:pt x="11475" y="5244"/>
                      </a:lnTo>
                      <a:lnTo>
                        <a:pt x="17686" y="2777"/>
                      </a:lnTo>
                      <a:lnTo>
                        <a:pt x="22604" y="10246"/>
                      </a:lnTo>
                      <a:lnTo>
                        <a:pt x="28125" y="13091"/>
                      </a:lnTo>
                      <a:close/>
                    </a:path>
                  </a:pathLst>
                </a:custGeom>
                <a:solidFill>
                  <a:schemeClr val="accent1">
                    <a:lumMod val="20000"/>
                    <a:lumOff val="80000"/>
                  </a:schemeClr>
                </a:solidFill>
                <a:ln cap="rnd" w="3175">
                  <a:solidFill>
                    <a:srgbClr val="009fdf">
                      <a:lumMod val="60000"/>
                      <a:lumOff val="40000"/>
                    </a:srgbClr>
                  </a:solidFill>
                </a:ln>
              </p:spPr>
              <p:style>
                <a:lnRef idx="2">
                  <a:schemeClr val="accent1">
                    <a:shade val="50000"/>
                  </a:schemeClr>
                </a:lnRef>
                <a:fillRef idx="1">
                  <a:schemeClr val="accent1"/>
                </a:fillRef>
                <a:effectRef idx="0">
                  <a:schemeClr val="accent1"/>
                </a:effectRef>
                <a:fontRef idx="minor"/>
              </p:style>
              <p:txBody>
                <a:bodyPr numCol="1" spcCol="0" horzOverflow="overflow" lIns="72000" rIns="72000" tIns="41760" bIns="41760" anchor="ctr">
                  <a:noAutofit/>
                </a:bodyPr>
                <a:p>
                  <a:pPr algn="ctr" defTabSz="457200">
                    <a:lnSpc>
                      <a:spcPct val="100000"/>
                    </a:lnSpc>
                    <a:tabLst>
                      <a:tab algn="l" pos="0"/>
                    </a:tabLst>
                  </a:pPr>
                  <a:endParaRPr b="0" lang="de-DE" sz="1600" spc="-1" strike="noStrike">
                    <a:solidFill>
                      <a:srgbClr val="000000"/>
                    </a:solidFill>
                    <a:latin typeface="Arial"/>
                    <a:ea typeface="Arial"/>
                  </a:endParaRPr>
                </a:p>
              </p:txBody>
            </p:sp>
            <p:sp>
              <p:nvSpPr>
                <p:cNvPr id="397" name="Freeform 36"/>
                <p:cNvSpPr/>
                <p:nvPr/>
              </p:nvSpPr>
              <p:spPr>
                <a:xfrm>
                  <a:off x="8556480" y="3562560"/>
                  <a:ext cx="110520" cy="86400"/>
                </a:xfrm>
                <a:custGeom>
                  <a:avLst/>
                  <a:gdLst/>
                  <a:ahLst/>
                  <a:rect l="l" t="t" r="r" b="b"/>
                  <a:pathLst>
                    <a:path w="111197" h="87108">
                      <a:moveTo>
                        <a:pt x="0" y="44496"/>
                      </a:moveTo>
                      <a:lnTo>
                        <a:pt x="4107" y="43307"/>
                      </a:lnTo>
                      <a:lnTo>
                        <a:pt x="4960" y="50016"/>
                      </a:lnTo>
                      <a:lnTo>
                        <a:pt x="23026" y="46162"/>
                      </a:lnTo>
                      <a:lnTo>
                        <a:pt x="42114" y="46800"/>
                      </a:lnTo>
                      <a:lnTo>
                        <a:pt x="56056" y="47523"/>
                      </a:lnTo>
                      <a:lnTo>
                        <a:pt x="71868" y="30960"/>
                      </a:lnTo>
                      <a:lnTo>
                        <a:pt x="89088" y="15198"/>
                      </a:lnTo>
                      <a:lnTo>
                        <a:pt x="103671" y="0"/>
                      </a:lnTo>
                      <a:lnTo>
                        <a:pt x="108062" y="8411"/>
                      </a:lnTo>
                      <a:lnTo>
                        <a:pt x="111196" y="27846"/>
                      </a:lnTo>
                      <a:lnTo>
                        <a:pt x="99410" y="27942"/>
                      </a:lnTo>
                      <a:lnTo>
                        <a:pt x="97515" y="43906"/>
                      </a:lnTo>
                      <a:lnTo>
                        <a:pt x="101603" y="47308"/>
                      </a:lnTo>
                      <a:lnTo>
                        <a:pt x="91156" y="52123"/>
                      </a:lnTo>
                      <a:lnTo>
                        <a:pt x="91091" y="62100"/>
                      </a:lnTo>
                      <a:lnTo>
                        <a:pt x="84366" y="72183"/>
                      </a:lnTo>
                      <a:lnTo>
                        <a:pt x="83763" y="81974"/>
                      </a:lnTo>
                      <a:lnTo>
                        <a:pt x="79111" y="87107"/>
                      </a:lnTo>
                      <a:lnTo>
                        <a:pt x="9722" y="74856"/>
                      </a:lnTo>
                      <a:lnTo>
                        <a:pt x="881" y="50153"/>
                      </a:lnTo>
                      <a:close/>
                    </a:path>
                  </a:pathLst>
                </a:custGeom>
                <a:solidFill>
                  <a:schemeClr val="accent1">
                    <a:lumMod val="20000"/>
                    <a:lumOff val="80000"/>
                  </a:schemeClr>
                </a:solidFill>
                <a:ln cap="rnd" w="3175">
                  <a:solidFill>
                    <a:srgbClr val="009fdf">
                      <a:lumMod val="60000"/>
                      <a:lumOff val="40000"/>
                    </a:srgbClr>
                  </a:solidFill>
                </a:ln>
              </p:spPr>
              <p:style>
                <a:lnRef idx="2">
                  <a:schemeClr val="accent1">
                    <a:shade val="50000"/>
                  </a:schemeClr>
                </a:lnRef>
                <a:fillRef idx="1">
                  <a:schemeClr val="accent1"/>
                </a:fillRef>
                <a:effectRef idx="0">
                  <a:schemeClr val="accent1"/>
                </a:effectRef>
                <a:fontRef idx="minor"/>
              </p:style>
              <p:txBody>
                <a:bodyPr numCol="1" spcCol="0" horzOverflow="overflow" lIns="72000" rIns="72000" tIns="43200" bIns="43200" anchor="ctr">
                  <a:noAutofit/>
                </a:bodyPr>
                <a:p>
                  <a:pPr algn="ctr" defTabSz="457200">
                    <a:lnSpc>
                      <a:spcPct val="100000"/>
                    </a:lnSpc>
                    <a:tabLst>
                      <a:tab algn="l" pos="0"/>
                    </a:tabLst>
                  </a:pPr>
                  <a:endParaRPr b="0" lang="de-DE" sz="1600" spc="-1" strike="noStrike">
                    <a:solidFill>
                      <a:srgbClr val="000000"/>
                    </a:solidFill>
                    <a:latin typeface="Arial"/>
                    <a:ea typeface="Arial"/>
                  </a:endParaRPr>
                </a:p>
              </p:txBody>
            </p:sp>
            <p:sp>
              <p:nvSpPr>
                <p:cNvPr id="398" name="Freeform 37"/>
                <p:cNvSpPr/>
                <p:nvPr/>
              </p:nvSpPr>
              <p:spPr>
                <a:xfrm>
                  <a:off x="8372160" y="3168720"/>
                  <a:ext cx="66960" cy="67680"/>
                </a:xfrm>
                <a:custGeom>
                  <a:avLst/>
                  <a:gdLst/>
                  <a:ahLst/>
                  <a:rect l="l" t="t" r="r" b="b"/>
                  <a:pathLst>
                    <a:path w="67471" h="68239">
                      <a:moveTo>
                        <a:pt x="0" y="4290"/>
                      </a:moveTo>
                      <a:lnTo>
                        <a:pt x="32079" y="0"/>
                      </a:lnTo>
                      <a:lnTo>
                        <a:pt x="36857" y="7223"/>
                      </a:lnTo>
                      <a:lnTo>
                        <a:pt x="45648" y="11971"/>
                      </a:lnTo>
                      <a:lnTo>
                        <a:pt x="41005" y="18839"/>
                      </a:lnTo>
                      <a:lnTo>
                        <a:pt x="53301" y="28208"/>
                      </a:lnTo>
                      <a:lnTo>
                        <a:pt x="46795" y="36881"/>
                      </a:lnTo>
                      <a:lnTo>
                        <a:pt x="56594" y="44269"/>
                      </a:lnTo>
                      <a:lnTo>
                        <a:pt x="66957" y="48711"/>
                      </a:lnTo>
                      <a:lnTo>
                        <a:pt x="67470" y="67446"/>
                      </a:lnTo>
                      <a:lnTo>
                        <a:pt x="59112" y="68238"/>
                      </a:lnTo>
                      <a:lnTo>
                        <a:pt x="49688" y="52622"/>
                      </a:lnTo>
                      <a:lnTo>
                        <a:pt x="49795" y="48444"/>
                      </a:lnTo>
                      <a:lnTo>
                        <a:pt x="39596" y="48505"/>
                      </a:lnTo>
                      <a:lnTo>
                        <a:pt x="32760" y="41229"/>
                      </a:lnTo>
                      <a:lnTo>
                        <a:pt x="27959" y="41962"/>
                      </a:lnTo>
                      <a:lnTo>
                        <a:pt x="18865" y="34024"/>
                      </a:lnTo>
                      <a:lnTo>
                        <a:pt x="1701" y="27251"/>
                      </a:lnTo>
                      <a:lnTo>
                        <a:pt x="3922" y="13947"/>
                      </a:lnTo>
                      <a:close/>
                    </a:path>
                  </a:pathLst>
                </a:custGeom>
                <a:solidFill>
                  <a:schemeClr val="accent1"/>
                </a:solidFill>
                <a:ln cap="rnd" w="3175">
                  <a:solidFill>
                    <a:srgbClr val="009fdf">
                      <a:lumMod val="60000"/>
                      <a:lumOff val="40000"/>
                    </a:srgbClr>
                  </a:solidFill>
                </a:ln>
              </p:spPr>
              <p:style>
                <a:lnRef idx="2">
                  <a:schemeClr val="accent1">
                    <a:shade val="50000"/>
                  </a:schemeClr>
                </a:lnRef>
                <a:fillRef idx="1">
                  <a:schemeClr val="accent1"/>
                </a:fillRef>
                <a:effectRef idx="0">
                  <a:schemeClr val="accent1"/>
                </a:effectRef>
                <a:fontRef idx="minor"/>
              </p:style>
              <p:txBody>
                <a:bodyPr numCol="1" spcCol="0" horzOverflow="overflow" lIns="72000" rIns="72000" tIns="33840" bIns="33840" anchor="ctr">
                  <a:noAutofit/>
                </a:bodyPr>
                <a:p>
                  <a:pPr algn="ctr" defTabSz="457200">
                    <a:lnSpc>
                      <a:spcPct val="100000"/>
                    </a:lnSpc>
                    <a:tabLst>
                      <a:tab algn="l" pos="0"/>
                    </a:tabLst>
                  </a:pPr>
                  <a:endParaRPr b="0" lang="de-DE" sz="1600" spc="-1" strike="noStrike">
                    <a:solidFill>
                      <a:srgbClr val="000000"/>
                    </a:solidFill>
                    <a:latin typeface="Arial"/>
                    <a:ea typeface="Arial"/>
                  </a:endParaRPr>
                </a:p>
              </p:txBody>
            </p:sp>
            <p:sp>
              <p:nvSpPr>
                <p:cNvPr id="399" name="Freeform 38"/>
                <p:cNvSpPr/>
                <p:nvPr/>
              </p:nvSpPr>
              <p:spPr>
                <a:xfrm>
                  <a:off x="9979200" y="4422960"/>
                  <a:ext cx="926280" cy="826920"/>
                </a:xfrm>
                <a:custGeom>
                  <a:avLst/>
                  <a:gdLst>
                    <a:gd name="textAreaLeft" fmla="*/ 0 w 926280"/>
                    <a:gd name="textAreaRight" fmla="*/ 926640 w 926280"/>
                    <a:gd name="textAreaTop" fmla="*/ 0 h 826920"/>
                    <a:gd name="textAreaBottom" fmla="*/ 827280 h 826920"/>
                  </a:gdLst>
                  <a:ahLst/>
                  <a:rect l="textAreaLeft" t="textAreaTop" r="textAreaRight" b="textAreaBottom"/>
                  <a:pathLst>
                    <a:path w="928629" h="828837">
                      <a:moveTo>
                        <a:pt x="724907" y="747483"/>
                      </a:moveTo>
                      <a:lnTo>
                        <a:pt x="740009" y="749910"/>
                      </a:lnTo>
                      <a:lnTo>
                        <a:pt x="762310" y="759385"/>
                      </a:lnTo>
                      <a:lnTo>
                        <a:pt x="774878" y="755616"/>
                      </a:lnTo>
                      <a:lnTo>
                        <a:pt x="792898" y="750340"/>
                      </a:lnTo>
                      <a:lnTo>
                        <a:pt x="806743" y="752182"/>
                      </a:lnTo>
                      <a:lnTo>
                        <a:pt x="808377" y="784918"/>
                      </a:lnTo>
                      <a:lnTo>
                        <a:pt x="800470" y="794488"/>
                      </a:lnTo>
                      <a:lnTo>
                        <a:pt x="798087" y="816954"/>
                      </a:lnTo>
                      <a:lnTo>
                        <a:pt x="790020" y="809288"/>
                      </a:lnTo>
                      <a:lnTo>
                        <a:pt x="773995" y="828837"/>
                      </a:lnTo>
                      <a:lnTo>
                        <a:pt x="769216" y="827325"/>
                      </a:lnTo>
                      <a:lnTo>
                        <a:pt x="755022" y="826450"/>
                      </a:lnTo>
                      <a:lnTo>
                        <a:pt x="740792" y="802476"/>
                      </a:lnTo>
                      <a:lnTo>
                        <a:pt x="737634" y="784119"/>
                      </a:lnTo>
                      <a:lnTo>
                        <a:pt x="724315" y="760068"/>
                      </a:lnTo>
                      <a:close/>
                      <a:moveTo>
                        <a:pt x="673468" y="0"/>
                      </a:moveTo>
                      <a:lnTo>
                        <a:pt x="679978" y="11424"/>
                      </a:lnTo>
                      <a:lnTo>
                        <a:pt x="681582" y="26093"/>
                      </a:lnTo>
                      <a:lnTo>
                        <a:pt x="687334" y="28923"/>
                      </a:lnTo>
                      <a:lnTo>
                        <a:pt x="688319" y="38759"/>
                      </a:lnTo>
                      <a:lnTo>
                        <a:pt x="696709" y="50685"/>
                      </a:lnTo>
                      <a:lnTo>
                        <a:pt x="698442" y="63973"/>
                      </a:lnTo>
                      <a:lnTo>
                        <a:pt x="697625" y="72510"/>
                      </a:lnTo>
                      <a:lnTo>
                        <a:pt x="705942" y="90982"/>
                      </a:lnTo>
                      <a:lnTo>
                        <a:pt x="720752" y="82099"/>
                      </a:lnTo>
                      <a:lnTo>
                        <a:pt x="728397" y="92070"/>
                      </a:lnTo>
                      <a:lnTo>
                        <a:pt x="739472" y="101280"/>
                      </a:lnTo>
                      <a:lnTo>
                        <a:pt x="737100" y="111746"/>
                      </a:lnTo>
                      <a:lnTo>
                        <a:pt x="742023" y="132033"/>
                      </a:lnTo>
                      <a:lnTo>
                        <a:pt x="745527" y="143872"/>
                      </a:lnTo>
                      <a:lnTo>
                        <a:pt x="751341" y="146768"/>
                      </a:lnTo>
                      <a:lnTo>
                        <a:pt x="757605" y="167089"/>
                      </a:lnTo>
                      <a:lnTo>
                        <a:pt x="755375" y="179445"/>
                      </a:lnTo>
                      <a:lnTo>
                        <a:pt x="762849" y="195644"/>
                      </a:lnTo>
                      <a:lnTo>
                        <a:pt x="787862" y="208151"/>
                      </a:lnTo>
                      <a:lnTo>
                        <a:pt x="804170" y="219550"/>
                      </a:lnTo>
                      <a:lnTo>
                        <a:pt x="819654" y="230009"/>
                      </a:lnTo>
                      <a:lnTo>
                        <a:pt x="816631" y="235839"/>
                      </a:lnTo>
                      <a:lnTo>
                        <a:pt x="829834" y="250954"/>
                      </a:lnTo>
                      <a:lnTo>
                        <a:pt x="838810" y="277134"/>
                      </a:lnTo>
                      <a:lnTo>
                        <a:pt x="848022" y="271807"/>
                      </a:lnTo>
                      <a:lnTo>
                        <a:pt x="857384" y="282318"/>
                      </a:lnTo>
                      <a:lnTo>
                        <a:pt x="863023" y="278587"/>
                      </a:lnTo>
                      <a:lnTo>
                        <a:pt x="866999" y="304361"/>
                      </a:lnTo>
                      <a:lnTo>
                        <a:pt x="883380" y="319352"/>
                      </a:lnTo>
                      <a:lnTo>
                        <a:pt x="894099" y="328692"/>
                      </a:lnTo>
                      <a:lnTo>
                        <a:pt x="912142" y="348566"/>
                      </a:lnTo>
                      <a:lnTo>
                        <a:pt x="918627" y="368376"/>
                      </a:lnTo>
                      <a:lnTo>
                        <a:pt x="919222" y="382481"/>
                      </a:lnTo>
                      <a:lnTo>
                        <a:pt x="917629" y="397844"/>
                      </a:lnTo>
                      <a:lnTo>
                        <a:pt x="928629" y="419021"/>
                      </a:lnTo>
                      <a:lnTo>
                        <a:pt x="927305" y="441188"/>
                      </a:lnTo>
                      <a:lnTo>
                        <a:pt x="923312" y="452835"/>
                      </a:lnTo>
                      <a:lnTo>
                        <a:pt x="917082" y="475361"/>
                      </a:lnTo>
                      <a:lnTo>
                        <a:pt x="917552" y="489907"/>
                      </a:lnTo>
                      <a:lnTo>
                        <a:pt x="912981" y="508167"/>
                      </a:lnTo>
                      <a:lnTo>
                        <a:pt x="902789" y="531463"/>
                      </a:lnTo>
                      <a:lnTo>
                        <a:pt x="885687" y="544107"/>
                      </a:lnTo>
                      <a:lnTo>
                        <a:pt x="877259" y="564131"/>
                      </a:lnTo>
                      <a:lnTo>
                        <a:pt x="869562" y="576966"/>
                      </a:lnTo>
                      <a:lnTo>
                        <a:pt x="862721" y="599487"/>
                      </a:lnTo>
                      <a:lnTo>
                        <a:pt x="853812" y="612558"/>
                      </a:lnTo>
                      <a:lnTo>
                        <a:pt x="847972" y="632277"/>
                      </a:lnTo>
                      <a:lnTo>
                        <a:pt x="844992" y="650530"/>
                      </a:lnTo>
                      <a:lnTo>
                        <a:pt x="846173" y="658942"/>
                      </a:lnTo>
                      <a:lnTo>
                        <a:pt x="832937" y="668210"/>
                      </a:lnTo>
                      <a:lnTo>
                        <a:pt x="807102" y="669182"/>
                      </a:lnTo>
                      <a:lnTo>
                        <a:pt x="785799" y="680159"/>
                      </a:lnTo>
                      <a:lnTo>
                        <a:pt x="775190" y="690560"/>
                      </a:lnTo>
                      <a:lnTo>
                        <a:pt x="761243" y="702126"/>
                      </a:lnTo>
                      <a:lnTo>
                        <a:pt x="742125" y="690217"/>
                      </a:lnTo>
                      <a:lnTo>
                        <a:pt x="727983" y="685478"/>
                      </a:lnTo>
                      <a:lnTo>
                        <a:pt x="731566" y="671511"/>
                      </a:lnTo>
                      <a:lnTo>
                        <a:pt x="718950" y="676572"/>
                      </a:lnTo>
                      <a:lnTo>
                        <a:pt x="698737" y="696023"/>
                      </a:lnTo>
                      <a:lnTo>
                        <a:pt x="678781" y="688725"/>
                      </a:lnTo>
                      <a:lnTo>
                        <a:pt x="665691" y="684474"/>
                      </a:lnTo>
                      <a:lnTo>
                        <a:pt x="652493" y="682555"/>
                      </a:lnTo>
                      <a:lnTo>
                        <a:pt x="630150" y="674805"/>
                      </a:lnTo>
                      <a:lnTo>
                        <a:pt x="615228" y="658347"/>
                      </a:lnTo>
                      <a:lnTo>
                        <a:pt x="610945" y="638186"/>
                      </a:lnTo>
                      <a:lnTo>
                        <a:pt x="605579" y="624837"/>
                      </a:lnTo>
                      <a:lnTo>
                        <a:pt x="594238" y="614158"/>
                      </a:lnTo>
                      <a:lnTo>
                        <a:pt x="572031" y="610993"/>
                      </a:lnTo>
                      <a:lnTo>
                        <a:pt x="579619" y="598277"/>
                      </a:lnTo>
                      <a:lnTo>
                        <a:pt x="574035" y="578901"/>
                      </a:lnTo>
                      <a:lnTo>
                        <a:pt x="562761" y="596958"/>
                      </a:lnTo>
                      <a:lnTo>
                        <a:pt x="542223" y="601767"/>
                      </a:lnTo>
                      <a:lnTo>
                        <a:pt x="554295" y="587306"/>
                      </a:lnTo>
                      <a:lnTo>
                        <a:pt x="557792" y="572284"/>
                      </a:lnTo>
                      <a:lnTo>
                        <a:pt x="566708" y="559584"/>
                      </a:lnTo>
                      <a:lnTo>
                        <a:pt x="564866" y="540466"/>
                      </a:lnTo>
                      <a:lnTo>
                        <a:pt x="546088" y="562492"/>
                      </a:lnTo>
                      <a:lnTo>
                        <a:pt x="531667" y="571362"/>
                      </a:lnTo>
                      <a:lnTo>
                        <a:pt x="522825" y="592077"/>
                      </a:lnTo>
                      <a:lnTo>
                        <a:pt x="504802" y="581346"/>
                      </a:lnTo>
                      <a:lnTo>
                        <a:pt x="505518" y="567551"/>
                      </a:lnTo>
                      <a:lnTo>
                        <a:pt x="491073" y="548787"/>
                      </a:lnTo>
                      <a:lnTo>
                        <a:pt x="478896" y="539128"/>
                      </a:lnTo>
                      <a:lnTo>
                        <a:pt x="483235" y="533190"/>
                      </a:lnTo>
                      <a:lnTo>
                        <a:pt x="453618" y="517646"/>
                      </a:lnTo>
                      <a:lnTo>
                        <a:pt x="437398" y="516915"/>
                      </a:lnTo>
                      <a:lnTo>
                        <a:pt x="415198" y="504476"/>
                      </a:lnTo>
                      <a:lnTo>
                        <a:pt x="373868" y="506890"/>
                      </a:lnTo>
                      <a:lnTo>
                        <a:pt x="343979" y="516041"/>
                      </a:lnTo>
                      <a:lnTo>
                        <a:pt x="317709" y="524591"/>
                      </a:lnTo>
                      <a:lnTo>
                        <a:pt x="295685" y="522891"/>
                      </a:lnTo>
                      <a:lnTo>
                        <a:pt x="271214" y="536058"/>
                      </a:lnTo>
                      <a:lnTo>
                        <a:pt x="251202" y="541998"/>
                      </a:lnTo>
                      <a:lnTo>
                        <a:pt x="246754" y="555531"/>
                      </a:lnTo>
                      <a:lnTo>
                        <a:pt x="238231" y="566053"/>
                      </a:lnTo>
                      <a:lnTo>
                        <a:pt x="218642" y="566683"/>
                      </a:lnTo>
                      <a:lnTo>
                        <a:pt x="204147" y="568991"/>
                      </a:lnTo>
                      <a:lnTo>
                        <a:pt x="183744" y="564261"/>
                      </a:lnTo>
                      <a:lnTo>
                        <a:pt x="167150" y="567090"/>
                      </a:lnTo>
                      <a:lnTo>
                        <a:pt x="151302" y="568281"/>
                      </a:lnTo>
                      <a:lnTo>
                        <a:pt x="137573" y="582146"/>
                      </a:lnTo>
                      <a:lnTo>
                        <a:pt x="130842" y="580968"/>
                      </a:lnTo>
                      <a:lnTo>
                        <a:pt x="119264" y="588337"/>
                      </a:lnTo>
                      <a:lnTo>
                        <a:pt x="108167" y="596642"/>
                      </a:lnTo>
                      <a:lnTo>
                        <a:pt x="91329" y="595615"/>
                      </a:lnTo>
                      <a:lnTo>
                        <a:pt x="75854" y="595605"/>
                      </a:lnTo>
                      <a:lnTo>
                        <a:pt x="51369" y="578945"/>
                      </a:lnTo>
                      <a:lnTo>
                        <a:pt x="38961" y="574006"/>
                      </a:lnTo>
                      <a:lnTo>
                        <a:pt x="39464" y="559142"/>
                      </a:lnTo>
                      <a:lnTo>
                        <a:pt x="50925" y="555620"/>
                      </a:lnTo>
                      <a:lnTo>
                        <a:pt x="54839" y="549737"/>
                      </a:lnTo>
                      <a:lnTo>
                        <a:pt x="54024" y="540475"/>
                      </a:lnTo>
                      <a:lnTo>
                        <a:pt x="56847" y="522612"/>
                      </a:lnTo>
                      <a:lnTo>
                        <a:pt x="54260" y="507452"/>
                      </a:lnTo>
                      <a:lnTo>
                        <a:pt x="42057" y="481731"/>
                      </a:lnTo>
                      <a:lnTo>
                        <a:pt x="38274" y="467278"/>
                      </a:lnTo>
                      <a:lnTo>
                        <a:pt x="39266" y="452908"/>
                      </a:lnTo>
                      <a:lnTo>
                        <a:pt x="30078" y="436549"/>
                      </a:lnTo>
                      <a:lnTo>
                        <a:pt x="29490" y="429184"/>
                      </a:lnTo>
                      <a:lnTo>
                        <a:pt x="19266" y="419221"/>
                      </a:lnTo>
                      <a:lnTo>
                        <a:pt x="16388" y="399695"/>
                      </a:lnTo>
                      <a:lnTo>
                        <a:pt x="3199" y="380049"/>
                      </a:lnTo>
                      <a:lnTo>
                        <a:pt x="0" y="369497"/>
                      </a:lnTo>
                      <a:lnTo>
                        <a:pt x="10143" y="380195"/>
                      </a:lnTo>
                      <a:lnTo>
                        <a:pt x="2355" y="357276"/>
                      </a:lnTo>
                      <a:lnTo>
                        <a:pt x="13803" y="364427"/>
                      </a:lnTo>
                      <a:lnTo>
                        <a:pt x="20634" y="373993"/>
                      </a:lnTo>
                      <a:lnTo>
                        <a:pt x="20249" y="361344"/>
                      </a:lnTo>
                      <a:lnTo>
                        <a:pt x="8825" y="341964"/>
                      </a:lnTo>
                      <a:lnTo>
                        <a:pt x="6612" y="334234"/>
                      </a:lnTo>
                      <a:lnTo>
                        <a:pt x="1260" y="326901"/>
                      </a:lnTo>
                      <a:lnTo>
                        <a:pt x="3765" y="312757"/>
                      </a:lnTo>
                      <a:lnTo>
                        <a:pt x="8496" y="306750"/>
                      </a:lnTo>
                      <a:lnTo>
                        <a:pt x="11645" y="294563"/>
                      </a:lnTo>
                      <a:lnTo>
                        <a:pt x="9178" y="280360"/>
                      </a:lnTo>
                      <a:lnTo>
                        <a:pt x="18716" y="262925"/>
                      </a:lnTo>
                      <a:lnTo>
                        <a:pt x="20460" y="281379"/>
                      </a:lnTo>
                      <a:lnTo>
                        <a:pt x="30212" y="264706"/>
                      </a:lnTo>
                      <a:lnTo>
                        <a:pt x="48964" y="256622"/>
                      </a:lnTo>
                      <a:lnTo>
                        <a:pt x="60210" y="246326"/>
                      </a:lnTo>
                      <a:lnTo>
                        <a:pt x="77851" y="237481"/>
                      </a:lnTo>
                      <a:lnTo>
                        <a:pt x="88346" y="235601"/>
                      </a:lnTo>
                      <a:lnTo>
                        <a:pt x="94699" y="238570"/>
                      </a:lnTo>
                      <a:lnTo>
                        <a:pt x="112889" y="229600"/>
                      </a:lnTo>
                      <a:lnTo>
                        <a:pt x="126890" y="226934"/>
                      </a:lnTo>
                      <a:lnTo>
                        <a:pt x="130392" y="221669"/>
                      </a:lnTo>
                      <a:lnTo>
                        <a:pt x="136501" y="219478"/>
                      </a:lnTo>
                      <a:lnTo>
                        <a:pt x="149260" y="220044"/>
                      </a:lnTo>
                      <a:lnTo>
                        <a:pt x="173519" y="213018"/>
                      </a:lnTo>
                      <a:lnTo>
                        <a:pt x="186068" y="202380"/>
                      </a:lnTo>
                      <a:lnTo>
                        <a:pt x="191961" y="189597"/>
                      </a:lnTo>
                      <a:lnTo>
                        <a:pt x="205500" y="177479"/>
                      </a:lnTo>
                      <a:lnTo>
                        <a:pt x="206537" y="167969"/>
                      </a:lnTo>
                      <a:lnTo>
                        <a:pt x="207141" y="155036"/>
                      </a:lnTo>
                      <a:lnTo>
                        <a:pt x="223294" y="134866"/>
                      </a:lnTo>
                      <a:lnTo>
                        <a:pt x="233016" y="155358"/>
                      </a:lnTo>
                      <a:lnTo>
                        <a:pt x="242840" y="150617"/>
                      </a:lnTo>
                      <a:lnTo>
                        <a:pt x="234620" y="139402"/>
                      </a:lnTo>
                      <a:lnTo>
                        <a:pt x="241864" y="127904"/>
                      </a:lnTo>
                      <a:lnTo>
                        <a:pt x="252048" y="133035"/>
                      </a:lnTo>
                      <a:lnTo>
                        <a:pt x="254852" y="115027"/>
                      </a:lnTo>
                      <a:lnTo>
                        <a:pt x="267465" y="103407"/>
                      </a:lnTo>
                      <a:lnTo>
                        <a:pt x="273030" y="94095"/>
                      </a:lnTo>
                      <a:lnTo>
                        <a:pt x="284637" y="90081"/>
                      </a:lnTo>
                      <a:lnTo>
                        <a:pt x="284999" y="83499"/>
                      </a:lnTo>
                      <a:lnTo>
                        <a:pt x="295141" y="86247"/>
                      </a:lnTo>
                      <a:lnTo>
                        <a:pt x="295548" y="80329"/>
                      </a:lnTo>
                      <a:lnTo>
                        <a:pt x="305700" y="76959"/>
                      </a:lnTo>
                      <a:lnTo>
                        <a:pt x="316855" y="73788"/>
                      </a:lnTo>
                      <a:lnTo>
                        <a:pt x="333907" y="84588"/>
                      </a:lnTo>
                      <a:lnTo>
                        <a:pt x="346720" y="98548"/>
                      </a:lnTo>
                      <a:lnTo>
                        <a:pt x="361166" y="98708"/>
                      </a:lnTo>
                      <a:lnTo>
                        <a:pt x="375845" y="100921"/>
                      </a:lnTo>
                      <a:lnTo>
                        <a:pt x="370955" y="87975"/>
                      </a:lnTo>
                      <a:lnTo>
                        <a:pt x="382012" y="69102"/>
                      </a:lnTo>
                      <a:lnTo>
                        <a:pt x="392418" y="62962"/>
                      </a:lnTo>
                      <a:lnTo>
                        <a:pt x="388818" y="57095"/>
                      </a:lnTo>
                      <a:lnTo>
                        <a:pt x="398843" y="43697"/>
                      </a:lnTo>
                      <a:lnTo>
                        <a:pt x="412824" y="35432"/>
                      </a:lnTo>
                      <a:lnTo>
                        <a:pt x="424633" y="38215"/>
                      </a:lnTo>
                      <a:lnTo>
                        <a:pt x="444027" y="33802"/>
                      </a:lnTo>
                      <a:lnTo>
                        <a:pt x="443610" y="21843"/>
                      </a:lnTo>
                      <a:lnTo>
                        <a:pt x="426701" y="14145"/>
                      </a:lnTo>
                      <a:lnTo>
                        <a:pt x="438993" y="10751"/>
                      </a:lnTo>
                      <a:lnTo>
                        <a:pt x="454282" y="16544"/>
                      </a:lnTo>
                      <a:lnTo>
                        <a:pt x="466545" y="26135"/>
                      </a:lnTo>
                      <a:lnTo>
                        <a:pt x="485986" y="32124"/>
                      </a:lnTo>
                      <a:lnTo>
                        <a:pt x="492578" y="29755"/>
                      </a:lnTo>
                      <a:lnTo>
                        <a:pt x="506886" y="36954"/>
                      </a:lnTo>
                      <a:lnTo>
                        <a:pt x="520371" y="30249"/>
                      </a:lnTo>
                      <a:lnTo>
                        <a:pt x="529043" y="32287"/>
                      </a:lnTo>
                      <a:lnTo>
                        <a:pt x="534446" y="27790"/>
                      </a:lnTo>
                      <a:lnTo>
                        <a:pt x="545044" y="39375"/>
                      </a:lnTo>
                      <a:lnTo>
                        <a:pt x="538893" y="51924"/>
                      </a:lnTo>
                      <a:lnTo>
                        <a:pt x="530128" y="61408"/>
                      </a:lnTo>
                      <a:lnTo>
                        <a:pt x="522196" y="62190"/>
                      </a:lnTo>
                      <a:lnTo>
                        <a:pt x="524870" y="71584"/>
                      </a:lnTo>
                      <a:lnTo>
                        <a:pt x="518089" y="83342"/>
                      </a:lnTo>
                      <a:lnTo>
                        <a:pt x="509890" y="94922"/>
                      </a:lnTo>
                      <a:lnTo>
                        <a:pt x="511541" y="101581"/>
                      </a:lnTo>
                      <a:lnTo>
                        <a:pt x="529892" y="114630"/>
                      </a:lnTo>
                      <a:lnTo>
                        <a:pt x="547669" y="122210"/>
                      </a:lnTo>
                      <a:lnTo>
                        <a:pt x="559560" y="130361"/>
                      </a:lnTo>
                      <a:lnTo>
                        <a:pt x="576243" y="144410"/>
                      </a:lnTo>
                      <a:lnTo>
                        <a:pt x="582751" y="144387"/>
                      </a:lnTo>
                      <a:lnTo>
                        <a:pt x="594832" y="150466"/>
                      </a:lnTo>
                      <a:lnTo>
                        <a:pt x="598341" y="157808"/>
                      </a:lnTo>
                      <a:lnTo>
                        <a:pt x="620377" y="165879"/>
                      </a:lnTo>
                      <a:lnTo>
                        <a:pt x="635617" y="157748"/>
                      </a:lnTo>
                      <a:lnTo>
                        <a:pt x="640133" y="144990"/>
                      </a:lnTo>
                      <a:lnTo>
                        <a:pt x="644818" y="134479"/>
                      </a:lnTo>
                      <a:lnTo>
                        <a:pt x="647684" y="121495"/>
                      </a:lnTo>
                      <a:lnTo>
                        <a:pt x="654700" y="102694"/>
                      </a:lnTo>
                      <a:lnTo>
                        <a:pt x="651496" y="91289"/>
                      </a:lnTo>
                      <a:lnTo>
                        <a:pt x="653161" y="84435"/>
                      </a:lnTo>
                      <a:lnTo>
                        <a:pt x="650492" y="70969"/>
                      </a:lnTo>
                      <a:lnTo>
                        <a:pt x="653517" y="53273"/>
                      </a:lnTo>
                      <a:lnTo>
                        <a:pt x="657943" y="48508"/>
                      </a:lnTo>
                      <a:lnTo>
                        <a:pt x="654350" y="40679"/>
                      </a:lnTo>
                      <a:lnTo>
                        <a:pt x="659928" y="28264"/>
                      </a:lnTo>
                      <a:lnTo>
                        <a:pt x="664309" y="15413"/>
                      </a:lnTo>
                      <a:lnTo>
                        <a:pt x="664892" y="8746"/>
                      </a:lnTo>
                      <a:close/>
                    </a:path>
                  </a:pathLst>
                </a:custGeom>
                <a:solidFill>
                  <a:schemeClr val="accent1"/>
                </a:solidFill>
                <a:ln cap="rnd" w="3175">
                  <a:solidFill>
                    <a:srgbClr val="009fdf">
                      <a:lumMod val="60000"/>
                      <a:lumOff val="40000"/>
                    </a:srgbClr>
                  </a:solidFill>
                </a:ln>
              </p:spPr>
              <p:style>
                <a:lnRef idx="2">
                  <a:schemeClr val="accent1">
                    <a:shade val="50000"/>
                  </a:schemeClr>
                </a:lnRef>
                <a:fillRef idx="1">
                  <a:schemeClr val="accent1"/>
                </a:fillRef>
                <a:effectRef idx="0">
                  <a:schemeClr val="accent1"/>
                </a:effectRef>
                <a:fontRef idx="minor"/>
              </p:style>
              <p:txBody>
                <a:bodyPr numCol="1" spcCol="0" horzOverflow="overflow" lIns="72000" rIns="72000" tIns="72000" bIns="72000" anchor="ctr">
                  <a:noAutofit/>
                </a:bodyPr>
                <a:p>
                  <a:pPr algn="ctr" defTabSz="457200">
                    <a:lnSpc>
                      <a:spcPct val="100000"/>
                    </a:lnSpc>
                    <a:tabLst>
                      <a:tab algn="l" pos="0"/>
                    </a:tabLst>
                  </a:pPr>
                  <a:endParaRPr b="0" lang="de-DE" sz="1600" spc="-1" strike="noStrike">
                    <a:solidFill>
                      <a:srgbClr val="000000"/>
                    </a:solidFill>
                    <a:latin typeface="Arial"/>
                    <a:ea typeface="Arial"/>
                  </a:endParaRPr>
                </a:p>
              </p:txBody>
            </p:sp>
            <p:sp>
              <p:nvSpPr>
                <p:cNvPr id="400" name="Freeform 39"/>
                <p:cNvSpPr/>
                <p:nvPr/>
              </p:nvSpPr>
              <p:spPr>
                <a:xfrm>
                  <a:off x="7586640" y="2946240"/>
                  <a:ext cx="172440" cy="75960"/>
                </a:xfrm>
                <a:custGeom>
                  <a:avLst/>
                  <a:gdLst/>
                  <a:ahLst/>
                  <a:rect l="l" t="t" r="r" b="b"/>
                  <a:pathLst>
                    <a:path w="173114" h="76581">
                      <a:moveTo>
                        <a:pt x="173113" y="27143"/>
                      </a:moveTo>
                      <a:lnTo>
                        <a:pt x="171360" y="39169"/>
                      </a:lnTo>
                      <a:lnTo>
                        <a:pt x="158361" y="39226"/>
                      </a:lnTo>
                      <a:lnTo>
                        <a:pt x="162832" y="45582"/>
                      </a:lnTo>
                      <a:lnTo>
                        <a:pt x="155169" y="64374"/>
                      </a:lnTo>
                      <a:lnTo>
                        <a:pt x="150769" y="69278"/>
                      </a:lnTo>
                      <a:lnTo>
                        <a:pt x="130581" y="70002"/>
                      </a:lnTo>
                      <a:lnTo>
                        <a:pt x="118933" y="76580"/>
                      </a:lnTo>
                      <a:lnTo>
                        <a:pt x="99867" y="74335"/>
                      </a:lnTo>
                      <a:lnTo>
                        <a:pt x="66859" y="66840"/>
                      </a:lnTo>
                      <a:lnTo>
                        <a:pt x="61702" y="56713"/>
                      </a:lnTo>
                      <a:lnTo>
                        <a:pt x="38891" y="61778"/>
                      </a:lnTo>
                      <a:lnTo>
                        <a:pt x="36207" y="67311"/>
                      </a:lnTo>
                      <a:lnTo>
                        <a:pt x="22222" y="63176"/>
                      </a:lnTo>
                      <a:lnTo>
                        <a:pt x="10444" y="62385"/>
                      </a:lnTo>
                      <a:lnTo>
                        <a:pt x="0" y="57080"/>
                      </a:lnTo>
                      <a:lnTo>
                        <a:pt x="3530" y="49930"/>
                      </a:lnTo>
                      <a:lnTo>
                        <a:pt x="2637" y="44736"/>
                      </a:lnTo>
                      <a:lnTo>
                        <a:pt x="9604" y="43120"/>
                      </a:lnTo>
                      <a:lnTo>
                        <a:pt x="21284" y="51249"/>
                      </a:lnTo>
                      <a:lnTo>
                        <a:pt x="24572" y="43524"/>
                      </a:lnTo>
                      <a:lnTo>
                        <a:pt x="44929" y="44774"/>
                      </a:lnTo>
                      <a:lnTo>
                        <a:pt x="61432" y="39514"/>
                      </a:lnTo>
                      <a:lnTo>
                        <a:pt x="72498" y="40415"/>
                      </a:lnTo>
                      <a:lnTo>
                        <a:pt x="79696" y="46417"/>
                      </a:lnTo>
                      <a:lnTo>
                        <a:pt x="81848" y="41437"/>
                      </a:lnTo>
                      <a:lnTo>
                        <a:pt x="78576" y="22253"/>
                      </a:lnTo>
                      <a:lnTo>
                        <a:pt x="86869" y="18499"/>
                      </a:lnTo>
                      <a:lnTo>
                        <a:pt x="95007" y="4821"/>
                      </a:lnTo>
                      <a:lnTo>
                        <a:pt x="112157" y="14377"/>
                      </a:lnTo>
                      <a:lnTo>
                        <a:pt x="125142" y="2225"/>
                      </a:lnTo>
                      <a:lnTo>
                        <a:pt x="133266" y="0"/>
                      </a:lnTo>
                      <a:lnTo>
                        <a:pt x="151184" y="9079"/>
                      </a:lnTo>
                      <a:lnTo>
                        <a:pt x="162024" y="7537"/>
                      </a:lnTo>
                      <a:lnTo>
                        <a:pt x="172665" y="13142"/>
                      </a:lnTo>
                      <a:lnTo>
                        <a:pt x="170812" y="16904"/>
                      </a:lnTo>
                      <a:close/>
                    </a:path>
                  </a:pathLst>
                </a:custGeom>
                <a:solidFill>
                  <a:schemeClr val="accent1"/>
                </a:solidFill>
                <a:ln cap="rnd" w="3175">
                  <a:solidFill>
                    <a:srgbClr val="009fdf">
                      <a:lumMod val="60000"/>
                      <a:lumOff val="40000"/>
                    </a:srgbClr>
                  </a:solidFill>
                </a:ln>
              </p:spPr>
              <p:style>
                <a:lnRef idx="2">
                  <a:schemeClr val="accent1">
                    <a:shade val="50000"/>
                  </a:schemeClr>
                </a:lnRef>
                <a:fillRef idx="1">
                  <a:schemeClr val="accent1"/>
                </a:fillRef>
                <a:effectRef idx="0">
                  <a:schemeClr val="accent1"/>
                </a:effectRef>
                <a:fontRef idx="minor"/>
              </p:style>
              <p:txBody>
                <a:bodyPr numCol="1" spcCol="0" horzOverflow="overflow" lIns="72000" rIns="72000" tIns="37800" bIns="37800" anchor="ctr">
                  <a:noAutofit/>
                </a:bodyPr>
                <a:p>
                  <a:pPr algn="ctr" defTabSz="457200">
                    <a:lnSpc>
                      <a:spcPct val="100000"/>
                    </a:lnSpc>
                    <a:tabLst>
                      <a:tab algn="l" pos="0"/>
                    </a:tabLst>
                  </a:pPr>
                  <a:endParaRPr b="0" lang="de-DE" sz="1600" spc="-1" strike="noStrike">
                    <a:solidFill>
                      <a:srgbClr val="000000"/>
                    </a:solidFill>
                    <a:latin typeface="Arial"/>
                    <a:ea typeface="Arial"/>
                  </a:endParaRPr>
                </a:p>
              </p:txBody>
            </p:sp>
            <p:sp>
              <p:nvSpPr>
                <p:cNvPr id="401" name="Freeform 40"/>
                <p:cNvSpPr/>
                <p:nvPr/>
              </p:nvSpPr>
              <p:spPr>
                <a:xfrm>
                  <a:off x="8400240" y="3151800"/>
                  <a:ext cx="128520" cy="97200"/>
                </a:xfrm>
                <a:custGeom>
                  <a:avLst/>
                  <a:gdLst>
                    <a:gd name="textAreaLeft" fmla="*/ 0 w 128520"/>
                    <a:gd name="textAreaRight" fmla="*/ 128880 w 128520"/>
                    <a:gd name="textAreaTop" fmla="*/ 0 h 97200"/>
                    <a:gd name="textAreaBottom" fmla="*/ 97560 h 97200"/>
                  </a:gdLst>
                  <a:ahLst/>
                  <a:rect l="textAreaLeft" t="textAreaTop" r="textAreaRight" b="textAreaBottom"/>
                  <a:pathLst>
                    <a:path w="129236" h="97797">
                      <a:moveTo>
                        <a:pt x="4801" y="58135"/>
                      </a:moveTo>
                      <a:lnTo>
                        <a:pt x="11637" y="65411"/>
                      </a:lnTo>
                      <a:lnTo>
                        <a:pt x="21836" y="65350"/>
                      </a:lnTo>
                      <a:lnTo>
                        <a:pt x="21729" y="69528"/>
                      </a:lnTo>
                      <a:lnTo>
                        <a:pt x="31153" y="85144"/>
                      </a:lnTo>
                      <a:lnTo>
                        <a:pt x="15320" y="81562"/>
                      </a:lnTo>
                      <a:lnTo>
                        <a:pt x="3663" y="69093"/>
                      </a:lnTo>
                      <a:lnTo>
                        <a:pt x="0" y="58868"/>
                      </a:lnTo>
                      <a:close/>
                      <a:moveTo>
                        <a:pt x="37185" y="0"/>
                      </a:moveTo>
                      <a:lnTo>
                        <a:pt x="43674" y="928"/>
                      </a:lnTo>
                      <a:lnTo>
                        <a:pt x="59537" y="17687"/>
                      </a:lnTo>
                      <a:lnTo>
                        <a:pt x="69748" y="19566"/>
                      </a:lnTo>
                      <a:lnTo>
                        <a:pt x="73709" y="12562"/>
                      </a:lnTo>
                      <a:lnTo>
                        <a:pt x="87491" y="1433"/>
                      </a:lnTo>
                      <a:lnTo>
                        <a:pt x="99631" y="15965"/>
                      </a:lnTo>
                      <a:lnTo>
                        <a:pt x="111372" y="35433"/>
                      </a:lnTo>
                      <a:lnTo>
                        <a:pt x="122126" y="36712"/>
                      </a:lnTo>
                      <a:lnTo>
                        <a:pt x="129236" y="44075"/>
                      </a:lnTo>
                      <a:lnTo>
                        <a:pt x="110224" y="46269"/>
                      </a:lnTo>
                      <a:lnTo>
                        <a:pt x="106209" y="67369"/>
                      </a:lnTo>
                      <a:lnTo>
                        <a:pt x="102238" y="76839"/>
                      </a:lnTo>
                      <a:lnTo>
                        <a:pt x="93774" y="83143"/>
                      </a:lnTo>
                      <a:lnTo>
                        <a:pt x="94390" y="96459"/>
                      </a:lnTo>
                      <a:lnTo>
                        <a:pt x="88646" y="97797"/>
                      </a:lnTo>
                      <a:lnTo>
                        <a:pt x="74251" y="83721"/>
                      </a:lnTo>
                      <a:lnTo>
                        <a:pt x="82209" y="70365"/>
                      </a:lnTo>
                      <a:lnTo>
                        <a:pt x="75390" y="62416"/>
                      </a:lnTo>
                      <a:lnTo>
                        <a:pt x="66734" y="64419"/>
                      </a:lnTo>
                      <a:lnTo>
                        <a:pt x="39511" y="84352"/>
                      </a:lnTo>
                      <a:lnTo>
                        <a:pt x="38998" y="65617"/>
                      </a:lnTo>
                      <a:lnTo>
                        <a:pt x="28635" y="61175"/>
                      </a:lnTo>
                      <a:lnTo>
                        <a:pt x="18836" y="53787"/>
                      </a:lnTo>
                      <a:lnTo>
                        <a:pt x="25342" y="45114"/>
                      </a:lnTo>
                      <a:lnTo>
                        <a:pt x="13046" y="35745"/>
                      </a:lnTo>
                      <a:lnTo>
                        <a:pt x="17689" y="28877"/>
                      </a:lnTo>
                      <a:lnTo>
                        <a:pt x="8898" y="24129"/>
                      </a:lnTo>
                      <a:lnTo>
                        <a:pt x="4120" y="16906"/>
                      </a:lnTo>
                      <a:lnTo>
                        <a:pt x="9774" y="12407"/>
                      </a:lnTo>
                      <a:lnTo>
                        <a:pt x="26974" y="20324"/>
                      </a:lnTo>
                      <a:lnTo>
                        <a:pt x="39417" y="21957"/>
                      </a:lnTo>
                      <a:lnTo>
                        <a:pt x="42562" y="18734"/>
                      </a:lnTo>
                      <a:lnTo>
                        <a:pt x="31194" y="3813"/>
                      </a:lnTo>
                      <a:close/>
                    </a:path>
                  </a:pathLst>
                </a:custGeom>
                <a:solidFill>
                  <a:schemeClr val="accent1">
                    <a:lumMod val="20000"/>
                    <a:lumOff val="80000"/>
                  </a:schemeClr>
                </a:solidFill>
                <a:ln cap="rnd" w="3175">
                  <a:solidFill>
                    <a:srgbClr val="009fdf">
                      <a:lumMod val="60000"/>
                      <a:lumOff val="40000"/>
                    </a:srgbClr>
                  </a:solidFill>
                </a:ln>
              </p:spPr>
              <p:style>
                <a:lnRef idx="2">
                  <a:schemeClr val="accent1">
                    <a:shade val="50000"/>
                  </a:schemeClr>
                </a:lnRef>
                <a:fillRef idx="1">
                  <a:schemeClr val="accent1"/>
                </a:fillRef>
                <a:effectRef idx="0">
                  <a:schemeClr val="accent1"/>
                </a:effectRef>
                <a:fontRef idx="minor"/>
              </p:style>
              <p:txBody>
                <a:bodyPr numCol="1" spcCol="0" horzOverflow="overflow" lIns="72000" rIns="72000" tIns="48600" bIns="48600" anchor="ctr">
                  <a:noAutofit/>
                </a:bodyPr>
                <a:p>
                  <a:pPr algn="ctr" defTabSz="457200">
                    <a:lnSpc>
                      <a:spcPct val="100000"/>
                    </a:lnSpc>
                    <a:tabLst>
                      <a:tab algn="l" pos="0"/>
                    </a:tabLst>
                  </a:pPr>
                  <a:endParaRPr b="0" lang="de-DE" sz="1600" spc="-1" strike="noStrike">
                    <a:solidFill>
                      <a:srgbClr val="000000"/>
                    </a:solidFill>
                    <a:latin typeface="Arial"/>
                    <a:ea typeface="Arial"/>
                  </a:endParaRPr>
                </a:p>
              </p:txBody>
            </p:sp>
            <p:sp>
              <p:nvSpPr>
                <p:cNvPr id="402" name="Freeform 41"/>
                <p:cNvSpPr/>
                <p:nvPr/>
              </p:nvSpPr>
              <p:spPr>
                <a:xfrm>
                  <a:off x="8037000" y="4230360"/>
                  <a:ext cx="39600" cy="49320"/>
                </a:xfrm>
                <a:custGeom>
                  <a:avLst/>
                  <a:gdLst/>
                  <a:ahLst/>
                  <a:rect l="l" t="t" r="r" b="b"/>
                  <a:pathLst>
                    <a:path w="39872" h="49722">
                      <a:moveTo>
                        <a:pt x="7272" y="49721"/>
                      </a:moveTo>
                      <a:lnTo>
                        <a:pt x="5804" y="21839"/>
                      </a:lnTo>
                      <a:lnTo>
                        <a:pt x="0" y="11335"/>
                      </a:lnTo>
                      <a:lnTo>
                        <a:pt x="14016" y="13151"/>
                      </a:lnTo>
                      <a:lnTo>
                        <a:pt x="21084" y="0"/>
                      </a:lnTo>
                      <a:lnTo>
                        <a:pt x="33349" y="1509"/>
                      </a:lnTo>
                      <a:lnTo>
                        <a:pt x="34687" y="10605"/>
                      </a:lnTo>
                      <a:lnTo>
                        <a:pt x="39658" y="15841"/>
                      </a:lnTo>
                      <a:lnTo>
                        <a:pt x="39871" y="23351"/>
                      </a:lnTo>
                      <a:lnTo>
                        <a:pt x="34177" y="28187"/>
                      </a:lnTo>
                      <a:lnTo>
                        <a:pt x="25192" y="40243"/>
                      </a:lnTo>
                      <a:lnTo>
                        <a:pt x="16817" y="48620"/>
                      </a:lnTo>
                      <a:close/>
                    </a:path>
                  </a:pathLst>
                </a:custGeom>
                <a:solidFill>
                  <a:schemeClr val="accent1">
                    <a:lumMod val="20000"/>
                    <a:lumOff val="80000"/>
                  </a:schemeClr>
                </a:solidFill>
                <a:ln cap="rnd" w="3175">
                  <a:solidFill>
                    <a:srgbClr val="009fdf">
                      <a:lumMod val="60000"/>
                      <a:lumOff val="40000"/>
                    </a:srgbClr>
                  </a:solidFill>
                </a:ln>
              </p:spPr>
              <p:style>
                <a:lnRef idx="2">
                  <a:schemeClr val="accent1">
                    <a:shade val="50000"/>
                  </a:schemeClr>
                </a:lnRef>
                <a:fillRef idx="1">
                  <a:schemeClr val="accent1"/>
                </a:fillRef>
                <a:effectRef idx="0">
                  <a:schemeClr val="accent1"/>
                </a:effectRef>
                <a:fontRef idx="minor"/>
              </p:style>
              <p:txBody>
                <a:bodyPr numCol="1" spcCol="0" horzOverflow="overflow" lIns="72000" rIns="72000" tIns="24480" bIns="24480" anchor="ctr">
                  <a:noAutofit/>
                </a:bodyPr>
                <a:p>
                  <a:pPr algn="ctr" defTabSz="457200">
                    <a:lnSpc>
                      <a:spcPct val="100000"/>
                    </a:lnSpc>
                    <a:tabLst>
                      <a:tab algn="l" pos="0"/>
                    </a:tabLst>
                  </a:pPr>
                  <a:endParaRPr b="0" lang="de-DE" sz="1600" spc="-1" strike="noStrike">
                    <a:solidFill>
                      <a:srgbClr val="000000"/>
                    </a:solidFill>
                    <a:latin typeface="Arial"/>
                    <a:ea typeface="Arial"/>
                  </a:endParaRPr>
                </a:p>
              </p:txBody>
            </p:sp>
            <p:sp>
              <p:nvSpPr>
                <p:cNvPr id="403" name="Freeform 42"/>
                <p:cNvSpPr/>
                <p:nvPr/>
              </p:nvSpPr>
              <p:spPr>
                <a:xfrm>
                  <a:off x="7426080" y="2872800"/>
                  <a:ext cx="83520" cy="58680"/>
                </a:xfrm>
                <a:custGeom>
                  <a:avLst/>
                  <a:gdLst/>
                  <a:ahLst/>
                  <a:rect l="l" t="t" r="r" b="b"/>
                  <a:pathLst>
                    <a:path w="84093" h="58978">
                      <a:moveTo>
                        <a:pt x="18498" y="3961"/>
                      </a:moveTo>
                      <a:lnTo>
                        <a:pt x="35397" y="6364"/>
                      </a:lnTo>
                      <a:lnTo>
                        <a:pt x="56793" y="0"/>
                      </a:lnTo>
                      <a:lnTo>
                        <a:pt x="71403" y="13389"/>
                      </a:lnTo>
                      <a:lnTo>
                        <a:pt x="84092" y="20504"/>
                      </a:lnTo>
                      <a:lnTo>
                        <a:pt x="81470" y="40976"/>
                      </a:lnTo>
                      <a:lnTo>
                        <a:pt x="75453" y="42114"/>
                      </a:lnTo>
                      <a:lnTo>
                        <a:pt x="72952" y="58977"/>
                      </a:lnTo>
                      <a:lnTo>
                        <a:pt x="52758" y="45278"/>
                      </a:lnTo>
                      <a:lnTo>
                        <a:pt x="40912" y="47623"/>
                      </a:lnTo>
                      <a:lnTo>
                        <a:pt x="24804" y="33392"/>
                      </a:lnTo>
                      <a:lnTo>
                        <a:pt x="14072" y="21215"/>
                      </a:lnTo>
                      <a:lnTo>
                        <a:pt x="3343" y="20713"/>
                      </a:lnTo>
                      <a:lnTo>
                        <a:pt x="0" y="9994"/>
                      </a:lnTo>
                      <a:close/>
                    </a:path>
                  </a:pathLst>
                </a:custGeom>
                <a:solidFill>
                  <a:schemeClr val="accent1"/>
                </a:solidFill>
                <a:ln cap="rnd" w="3175">
                  <a:solidFill>
                    <a:srgbClr val="009fdf">
                      <a:lumMod val="60000"/>
                      <a:lumOff val="40000"/>
                    </a:srgbClr>
                  </a:solidFill>
                </a:ln>
              </p:spPr>
              <p:style>
                <a:lnRef idx="2">
                  <a:schemeClr val="accent1">
                    <a:shade val="50000"/>
                  </a:schemeClr>
                </a:lnRef>
                <a:fillRef idx="1">
                  <a:schemeClr val="accent1"/>
                </a:fillRef>
                <a:effectRef idx="0">
                  <a:schemeClr val="accent1"/>
                </a:effectRef>
                <a:fontRef idx="minor"/>
              </p:style>
              <p:txBody>
                <a:bodyPr numCol="1" spcCol="0" horzOverflow="overflow" lIns="72000" rIns="72000" tIns="29160" bIns="29160" anchor="ctr">
                  <a:noAutofit/>
                </a:bodyPr>
                <a:p>
                  <a:pPr algn="ctr" defTabSz="457200">
                    <a:lnSpc>
                      <a:spcPct val="100000"/>
                    </a:lnSpc>
                    <a:tabLst>
                      <a:tab algn="l" pos="0"/>
                    </a:tabLst>
                  </a:pPr>
                  <a:endParaRPr b="0" lang="de-DE" sz="1600" spc="-1" strike="noStrike">
                    <a:solidFill>
                      <a:srgbClr val="000000"/>
                    </a:solidFill>
                    <a:latin typeface="Arial"/>
                    <a:ea typeface="Arial"/>
                  </a:endParaRPr>
                </a:p>
              </p:txBody>
            </p:sp>
            <p:sp>
              <p:nvSpPr>
                <p:cNvPr id="404" name="Freeform 43"/>
                <p:cNvSpPr/>
                <p:nvPr/>
              </p:nvSpPr>
              <p:spPr>
                <a:xfrm>
                  <a:off x="7386120" y="3893040"/>
                  <a:ext cx="69480" cy="141120"/>
                </a:xfrm>
                <a:custGeom>
                  <a:avLst/>
                  <a:gdLst/>
                  <a:ahLst/>
                  <a:rect l="l" t="t" r="r" b="b"/>
                  <a:pathLst>
                    <a:path w="69821" h="141865">
                      <a:moveTo>
                        <a:pt x="44304" y="139161"/>
                      </a:moveTo>
                      <a:lnTo>
                        <a:pt x="25227" y="141864"/>
                      </a:lnTo>
                      <a:lnTo>
                        <a:pt x="19542" y="125874"/>
                      </a:lnTo>
                      <a:lnTo>
                        <a:pt x="20593" y="72530"/>
                      </a:lnTo>
                      <a:lnTo>
                        <a:pt x="15943" y="67735"/>
                      </a:lnTo>
                      <a:lnTo>
                        <a:pt x="15067" y="56304"/>
                      </a:lnTo>
                      <a:lnTo>
                        <a:pt x="7051" y="48141"/>
                      </a:lnTo>
                      <a:lnTo>
                        <a:pt x="0" y="41256"/>
                      </a:lnTo>
                      <a:lnTo>
                        <a:pt x="2937" y="28964"/>
                      </a:lnTo>
                      <a:lnTo>
                        <a:pt x="10875" y="26320"/>
                      </a:lnTo>
                      <a:lnTo>
                        <a:pt x="15577" y="16101"/>
                      </a:lnTo>
                      <a:lnTo>
                        <a:pt x="26860" y="13916"/>
                      </a:lnTo>
                      <a:lnTo>
                        <a:pt x="31904" y="6919"/>
                      </a:lnTo>
                      <a:lnTo>
                        <a:pt x="39652" y="61"/>
                      </a:lnTo>
                      <a:lnTo>
                        <a:pt x="47927" y="0"/>
                      </a:lnTo>
                      <a:lnTo>
                        <a:pt x="65528" y="13471"/>
                      </a:lnTo>
                      <a:lnTo>
                        <a:pt x="64629" y="21239"/>
                      </a:lnTo>
                      <a:lnTo>
                        <a:pt x="69820" y="35096"/>
                      </a:lnTo>
                      <a:lnTo>
                        <a:pt x="65272" y="44489"/>
                      </a:lnTo>
                      <a:lnTo>
                        <a:pt x="67704" y="50762"/>
                      </a:lnTo>
                      <a:lnTo>
                        <a:pt x="56507" y="65185"/>
                      </a:lnTo>
                      <a:lnTo>
                        <a:pt x="49396" y="72321"/>
                      </a:lnTo>
                      <a:lnTo>
                        <a:pt x="45045" y="86991"/>
                      </a:lnTo>
                      <a:lnTo>
                        <a:pt x="45628" y="101771"/>
                      </a:lnTo>
                      <a:close/>
                    </a:path>
                  </a:pathLst>
                </a:custGeom>
                <a:solidFill>
                  <a:schemeClr val="accent1">
                    <a:lumMod val="20000"/>
                    <a:lumOff val="80000"/>
                  </a:schemeClr>
                </a:solidFill>
                <a:ln cap="rnd" w="3175">
                  <a:solidFill>
                    <a:srgbClr val="009fdf">
                      <a:lumMod val="60000"/>
                      <a:lumOff val="40000"/>
                    </a:srgbClr>
                  </a:solidFill>
                </a:ln>
              </p:spPr>
              <p:style>
                <a:lnRef idx="2">
                  <a:schemeClr val="accent1">
                    <a:shade val="50000"/>
                  </a:schemeClr>
                </a:lnRef>
                <a:fillRef idx="1">
                  <a:schemeClr val="accent1"/>
                </a:fillRef>
                <a:effectRef idx="0">
                  <a:schemeClr val="accent1"/>
                </a:effectRef>
                <a:fontRef idx="minor"/>
              </p:style>
              <p:txBody>
                <a:bodyPr numCol="1" spcCol="0" horzOverflow="overflow" lIns="72000" rIns="72000" tIns="70560" bIns="70560" anchor="ctr">
                  <a:noAutofit/>
                </a:bodyPr>
                <a:p>
                  <a:pPr algn="ctr" defTabSz="457200">
                    <a:lnSpc>
                      <a:spcPct val="100000"/>
                    </a:lnSpc>
                    <a:tabLst>
                      <a:tab algn="l" pos="0"/>
                    </a:tabLst>
                  </a:pPr>
                  <a:endParaRPr b="0" lang="de-DE" sz="1600" spc="-1" strike="noStrike">
                    <a:solidFill>
                      <a:srgbClr val="000000"/>
                    </a:solidFill>
                    <a:latin typeface="Arial"/>
                    <a:ea typeface="Arial"/>
                  </a:endParaRPr>
                </a:p>
              </p:txBody>
            </p:sp>
            <p:sp>
              <p:nvSpPr>
                <p:cNvPr id="405" name="Freeform 44"/>
                <p:cNvSpPr/>
                <p:nvPr/>
              </p:nvSpPr>
              <p:spPr>
                <a:xfrm>
                  <a:off x="7242120" y="3825720"/>
                  <a:ext cx="175680" cy="128520"/>
                </a:xfrm>
                <a:custGeom>
                  <a:avLst/>
                  <a:gdLst/>
                  <a:ahLst/>
                  <a:rect l="l" t="t" r="r" b="b"/>
                  <a:pathLst>
                    <a:path w="176530" h="129029">
                      <a:moveTo>
                        <a:pt x="61009" y="128291"/>
                      </a:moveTo>
                      <a:lnTo>
                        <a:pt x="45211" y="122283"/>
                      </a:lnTo>
                      <a:lnTo>
                        <a:pt x="34396" y="123168"/>
                      </a:lnTo>
                      <a:lnTo>
                        <a:pt x="26322" y="129028"/>
                      </a:lnTo>
                      <a:lnTo>
                        <a:pt x="15943" y="124109"/>
                      </a:lnTo>
                      <a:lnTo>
                        <a:pt x="11909" y="116400"/>
                      </a:lnTo>
                      <a:lnTo>
                        <a:pt x="1529" y="111315"/>
                      </a:lnTo>
                      <a:lnTo>
                        <a:pt x="0" y="97765"/>
                      </a:lnTo>
                      <a:lnTo>
                        <a:pt x="6295" y="87861"/>
                      </a:lnTo>
                      <a:lnTo>
                        <a:pt x="5762" y="79940"/>
                      </a:lnTo>
                      <a:lnTo>
                        <a:pt x="24084" y="60532"/>
                      </a:lnTo>
                      <a:lnTo>
                        <a:pt x="27472" y="44441"/>
                      </a:lnTo>
                      <a:lnTo>
                        <a:pt x="33797" y="38709"/>
                      </a:lnTo>
                      <a:lnTo>
                        <a:pt x="44960" y="41876"/>
                      </a:lnTo>
                      <a:lnTo>
                        <a:pt x="54634" y="37093"/>
                      </a:lnTo>
                      <a:lnTo>
                        <a:pt x="57773" y="31053"/>
                      </a:lnTo>
                      <a:lnTo>
                        <a:pt x="75682" y="20505"/>
                      </a:lnTo>
                      <a:lnTo>
                        <a:pt x="80086" y="13141"/>
                      </a:lnTo>
                      <a:lnTo>
                        <a:pt x="101661" y="3359"/>
                      </a:lnTo>
                      <a:lnTo>
                        <a:pt x="114368" y="0"/>
                      </a:lnTo>
                      <a:lnTo>
                        <a:pt x="120129" y="4527"/>
                      </a:lnTo>
                      <a:lnTo>
                        <a:pt x="134929" y="4419"/>
                      </a:lnTo>
                      <a:lnTo>
                        <a:pt x="133100" y="15846"/>
                      </a:lnTo>
                      <a:lnTo>
                        <a:pt x="136199" y="26570"/>
                      </a:lnTo>
                      <a:lnTo>
                        <a:pt x="149198" y="41921"/>
                      </a:lnTo>
                      <a:lnTo>
                        <a:pt x="149914" y="53281"/>
                      </a:lnTo>
                      <a:lnTo>
                        <a:pt x="176529" y="58600"/>
                      </a:lnTo>
                      <a:lnTo>
                        <a:pt x="176007" y="74644"/>
                      </a:lnTo>
                      <a:lnTo>
                        <a:pt x="170963" y="81641"/>
                      </a:lnTo>
                      <a:lnTo>
                        <a:pt x="159680" y="83826"/>
                      </a:lnTo>
                      <a:lnTo>
                        <a:pt x="154978" y="94045"/>
                      </a:lnTo>
                      <a:lnTo>
                        <a:pt x="147040" y="96689"/>
                      </a:lnTo>
                      <a:lnTo>
                        <a:pt x="126825" y="96191"/>
                      </a:lnTo>
                      <a:lnTo>
                        <a:pt x="116149" y="94330"/>
                      </a:lnTo>
                      <a:lnTo>
                        <a:pt x="108696" y="98100"/>
                      </a:lnTo>
                      <a:lnTo>
                        <a:pt x="98499" y="96398"/>
                      </a:lnTo>
                      <a:lnTo>
                        <a:pt x="58403" y="97498"/>
                      </a:lnTo>
                      <a:lnTo>
                        <a:pt x="57861" y="110741"/>
                      </a:lnTo>
                      <a:close/>
                    </a:path>
                  </a:pathLst>
                </a:custGeom>
                <a:solidFill>
                  <a:schemeClr val="accent1">
                    <a:lumMod val="20000"/>
                    <a:lumOff val="80000"/>
                  </a:schemeClr>
                </a:solidFill>
                <a:ln cap="rnd" w="3175">
                  <a:solidFill>
                    <a:srgbClr val="009fdf">
                      <a:lumMod val="60000"/>
                      <a:lumOff val="40000"/>
                    </a:srgbClr>
                  </a:solidFill>
                </a:ln>
              </p:spPr>
              <p:style>
                <a:lnRef idx="2">
                  <a:schemeClr val="accent1">
                    <a:shade val="50000"/>
                  </a:schemeClr>
                </a:lnRef>
                <a:fillRef idx="1">
                  <a:schemeClr val="accent1"/>
                </a:fillRef>
                <a:effectRef idx="0">
                  <a:schemeClr val="accent1"/>
                </a:effectRef>
                <a:fontRef idx="minor"/>
              </p:style>
              <p:txBody>
                <a:bodyPr numCol="1" spcCol="0" horzOverflow="overflow" lIns="72000" rIns="72000" tIns="64080" bIns="64080" anchor="ctr">
                  <a:noAutofit/>
                </a:bodyPr>
                <a:p>
                  <a:pPr algn="ctr" defTabSz="457200">
                    <a:lnSpc>
                      <a:spcPct val="100000"/>
                    </a:lnSpc>
                    <a:tabLst>
                      <a:tab algn="l" pos="0"/>
                    </a:tabLst>
                  </a:pPr>
                  <a:endParaRPr b="0" lang="de-DE" sz="1600" spc="-1" strike="noStrike">
                    <a:solidFill>
                      <a:srgbClr val="000000"/>
                    </a:solidFill>
                    <a:latin typeface="Arial"/>
                    <a:ea typeface="Arial"/>
                  </a:endParaRPr>
                </a:p>
              </p:txBody>
            </p:sp>
            <p:sp>
              <p:nvSpPr>
                <p:cNvPr id="406" name="Freeform 45"/>
                <p:cNvSpPr/>
                <p:nvPr/>
              </p:nvSpPr>
              <p:spPr>
                <a:xfrm>
                  <a:off x="9397440" y="3552840"/>
                  <a:ext cx="105480" cy="140400"/>
                </a:xfrm>
                <a:custGeom>
                  <a:avLst/>
                  <a:gdLst/>
                  <a:ahLst/>
                  <a:rect l="l" t="t" r="r" b="b"/>
                  <a:pathLst>
                    <a:path w="105912" h="140919">
                      <a:moveTo>
                        <a:pt x="105911" y="107825"/>
                      </a:moveTo>
                      <a:lnTo>
                        <a:pt x="105439" y="125169"/>
                      </a:lnTo>
                      <a:lnTo>
                        <a:pt x="97382" y="121511"/>
                      </a:lnTo>
                      <a:lnTo>
                        <a:pt x="98890" y="140918"/>
                      </a:lnTo>
                      <a:lnTo>
                        <a:pt x="92296" y="128351"/>
                      </a:lnTo>
                      <a:lnTo>
                        <a:pt x="90965" y="116046"/>
                      </a:lnTo>
                      <a:lnTo>
                        <a:pt x="86572" y="104392"/>
                      </a:lnTo>
                      <a:lnTo>
                        <a:pt x="76927" y="90266"/>
                      </a:lnTo>
                      <a:lnTo>
                        <a:pt x="55666" y="89294"/>
                      </a:lnTo>
                      <a:lnTo>
                        <a:pt x="57766" y="99303"/>
                      </a:lnTo>
                      <a:lnTo>
                        <a:pt x="50518" y="112785"/>
                      </a:lnTo>
                      <a:lnTo>
                        <a:pt x="40696" y="107876"/>
                      </a:lnTo>
                      <a:lnTo>
                        <a:pt x="37340" y="112283"/>
                      </a:lnTo>
                      <a:lnTo>
                        <a:pt x="30803" y="109643"/>
                      </a:lnTo>
                      <a:lnTo>
                        <a:pt x="21872" y="107475"/>
                      </a:lnTo>
                      <a:lnTo>
                        <a:pt x="18280" y="87492"/>
                      </a:lnTo>
                      <a:lnTo>
                        <a:pt x="10280" y="69177"/>
                      </a:lnTo>
                      <a:lnTo>
                        <a:pt x="14209" y="54453"/>
                      </a:lnTo>
                      <a:lnTo>
                        <a:pt x="0" y="47893"/>
                      </a:lnTo>
                      <a:lnTo>
                        <a:pt x="5124" y="38955"/>
                      </a:lnTo>
                      <a:lnTo>
                        <a:pt x="19555" y="29800"/>
                      </a:lnTo>
                      <a:lnTo>
                        <a:pt x="2894" y="16762"/>
                      </a:lnTo>
                      <a:lnTo>
                        <a:pt x="11049" y="0"/>
                      </a:lnTo>
                      <a:lnTo>
                        <a:pt x="29331" y="10683"/>
                      </a:lnTo>
                      <a:lnTo>
                        <a:pt x="40350" y="11901"/>
                      </a:lnTo>
                      <a:lnTo>
                        <a:pt x="42387" y="29036"/>
                      </a:lnTo>
                      <a:lnTo>
                        <a:pt x="64350" y="32408"/>
                      </a:lnTo>
                      <a:lnTo>
                        <a:pt x="85757" y="32044"/>
                      </a:lnTo>
                      <a:lnTo>
                        <a:pt x="99066" y="36239"/>
                      </a:lnTo>
                      <a:lnTo>
                        <a:pt x="88423" y="56981"/>
                      </a:lnTo>
                      <a:lnTo>
                        <a:pt x="78097" y="58394"/>
                      </a:lnTo>
                      <a:lnTo>
                        <a:pt x="70969" y="72290"/>
                      </a:lnTo>
                      <a:lnTo>
                        <a:pt x="83607" y="84912"/>
                      </a:lnTo>
                      <a:lnTo>
                        <a:pt x="87380" y="69343"/>
                      </a:lnTo>
                      <a:lnTo>
                        <a:pt x="93754" y="69266"/>
                      </a:lnTo>
                      <a:close/>
                    </a:path>
                  </a:pathLst>
                </a:custGeom>
                <a:solidFill>
                  <a:schemeClr val="accent1"/>
                </a:solidFill>
                <a:ln cap="rnd" w="3175">
                  <a:solidFill>
                    <a:srgbClr val="009fdf">
                      <a:lumMod val="60000"/>
                      <a:lumOff val="40000"/>
                    </a:srgbClr>
                  </a:solidFill>
                </a:ln>
              </p:spPr>
              <p:style>
                <a:lnRef idx="2">
                  <a:schemeClr val="accent1">
                    <a:shade val="50000"/>
                  </a:schemeClr>
                </a:lnRef>
                <a:fillRef idx="1">
                  <a:schemeClr val="accent1"/>
                </a:fillRef>
                <a:effectRef idx="0">
                  <a:schemeClr val="accent1"/>
                </a:effectRef>
                <a:fontRef idx="minor"/>
              </p:style>
              <p:txBody>
                <a:bodyPr numCol="1" spcCol="0" horzOverflow="overflow" lIns="72000" rIns="72000" tIns="70200" bIns="70200" anchor="ctr">
                  <a:noAutofit/>
                </a:bodyPr>
                <a:p>
                  <a:pPr algn="ctr" defTabSz="457200">
                    <a:lnSpc>
                      <a:spcPct val="100000"/>
                    </a:lnSpc>
                    <a:tabLst>
                      <a:tab algn="l" pos="0"/>
                    </a:tabLst>
                  </a:pPr>
                  <a:endParaRPr b="0" lang="de-DE" sz="1600" spc="-1" strike="noStrike">
                    <a:solidFill>
                      <a:srgbClr val="000000"/>
                    </a:solidFill>
                    <a:latin typeface="Arial"/>
                    <a:ea typeface="Arial"/>
                  </a:endParaRPr>
                </a:p>
              </p:txBody>
            </p:sp>
            <p:sp>
              <p:nvSpPr>
                <p:cNvPr id="407" name="Freeform 46"/>
                <p:cNvSpPr/>
                <p:nvPr/>
              </p:nvSpPr>
              <p:spPr>
                <a:xfrm>
                  <a:off x="7883640" y="3085560"/>
                  <a:ext cx="141840" cy="83160"/>
                </a:xfrm>
                <a:custGeom>
                  <a:avLst/>
                  <a:gdLst/>
                  <a:ahLst/>
                  <a:rect l="l" t="t" r="r" b="b"/>
                  <a:pathLst>
                    <a:path w="142596" h="83738">
                      <a:moveTo>
                        <a:pt x="6385" y="0"/>
                      </a:moveTo>
                      <a:lnTo>
                        <a:pt x="13026" y="11617"/>
                      </a:lnTo>
                      <a:lnTo>
                        <a:pt x="21969" y="9551"/>
                      </a:lnTo>
                      <a:lnTo>
                        <a:pt x="39705" y="13949"/>
                      </a:lnTo>
                      <a:lnTo>
                        <a:pt x="73605" y="15430"/>
                      </a:lnTo>
                      <a:lnTo>
                        <a:pt x="85051" y="8239"/>
                      </a:lnTo>
                      <a:lnTo>
                        <a:pt x="112225" y="1668"/>
                      </a:lnTo>
                      <a:lnTo>
                        <a:pt x="129022" y="11936"/>
                      </a:lnTo>
                      <a:lnTo>
                        <a:pt x="142595" y="14895"/>
                      </a:lnTo>
                      <a:lnTo>
                        <a:pt x="130615" y="26541"/>
                      </a:lnTo>
                      <a:lnTo>
                        <a:pt x="122185" y="46539"/>
                      </a:lnTo>
                      <a:lnTo>
                        <a:pt x="129637" y="62393"/>
                      </a:lnTo>
                      <a:lnTo>
                        <a:pt x="109763" y="58674"/>
                      </a:lnTo>
                      <a:lnTo>
                        <a:pt x="86249" y="67390"/>
                      </a:lnTo>
                      <a:lnTo>
                        <a:pt x="85997" y="81138"/>
                      </a:lnTo>
                      <a:lnTo>
                        <a:pt x="65016" y="83737"/>
                      </a:lnTo>
                      <a:lnTo>
                        <a:pt x="48753" y="74106"/>
                      </a:lnTo>
                      <a:lnTo>
                        <a:pt x="30274" y="81684"/>
                      </a:lnTo>
                      <a:lnTo>
                        <a:pt x="13200" y="80887"/>
                      </a:lnTo>
                      <a:lnTo>
                        <a:pt x="11561" y="62617"/>
                      </a:lnTo>
                      <a:lnTo>
                        <a:pt x="0" y="53708"/>
                      </a:lnTo>
                      <a:lnTo>
                        <a:pt x="3797" y="49784"/>
                      </a:lnTo>
                      <a:lnTo>
                        <a:pt x="1294" y="46471"/>
                      </a:lnTo>
                      <a:lnTo>
                        <a:pt x="5177" y="37591"/>
                      </a:lnTo>
                      <a:lnTo>
                        <a:pt x="13976" y="28840"/>
                      </a:lnTo>
                      <a:lnTo>
                        <a:pt x="2761" y="16715"/>
                      </a:lnTo>
                      <a:lnTo>
                        <a:pt x="690" y="6415"/>
                      </a:lnTo>
                      <a:close/>
                    </a:path>
                  </a:pathLst>
                </a:custGeom>
                <a:solidFill>
                  <a:schemeClr val="accent1"/>
                </a:solidFill>
                <a:ln cap="rnd" w="3175">
                  <a:solidFill>
                    <a:srgbClr val="009fdf">
                      <a:lumMod val="60000"/>
                      <a:lumOff val="40000"/>
                    </a:srgbClr>
                  </a:solidFill>
                </a:ln>
              </p:spPr>
              <p:style>
                <a:lnRef idx="2">
                  <a:schemeClr val="accent1">
                    <a:shade val="50000"/>
                  </a:schemeClr>
                </a:lnRef>
                <a:fillRef idx="1">
                  <a:schemeClr val="accent1"/>
                </a:fillRef>
                <a:effectRef idx="0">
                  <a:schemeClr val="accent1"/>
                </a:effectRef>
                <a:fontRef idx="minor"/>
              </p:style>
              <p:txBody>
                <a:bodyPr numCol="1" spcCol="0" horzOverflow="overflow" lIns="72000" rIns="72000" tIns="41400" bIns="41400" anchor="ctr">
                  <a:noAutofit/>
                </a:bodyPr>
                <a:p>
                  <a:pPr algn="ctr" defTabSz="457200">
                    <a:lnSpc>
                      <a:spcPct val="100000"/>
                    </a:lnSpc>
                    <a:tabLst>
                      <a:tab algn="l" pos="0"/>
                    </a:tabLst>
                  </a:pPr>
                  <a:endParaRPr b="0" lang="de-DE" sz="1600" spc="-1" strike="noStrike">
                    <a:solidFill>
                      <a:srgbClr val="000000"/>
                    </a:solidFill>
                    <a:latin typeface="Arial"/>
                    <a:ea typeface="Arial"/>
                  </a:endParaRPr>
                </a:p>
              </p:txBody>
            </p:sp>
            <p:sp>
              <p:nvSpPr>
                <p:cNvPr id="408" name="Freeform 47"/>
                <p:cNvSpPr/>
                <p:nvPr/>
              </p:nvSpPr>
              <p:spPr>
                <a:xfrm>
                  <a:off x="7731000" y="3057120"/>
                  <a:ext cx="88200" cy="72360"/>
                </a:xfrm>
                <a:custGeom>
                  <a:avLst/>
                  <a:gdLst/>
                  <a:ahLst/>
                  <a:rect l="l" t="t" r="r" b="b"/>
                  <a:pathLst>
                    <a:path w="88864" h="72954">
                      <a:moveTo>
                        <a:pt x="75145" y="10663"/>
                      </a:moveTo>
                      <a:lnTo>
                        <a:pt x="83513" y="10584"/>
                      </a:lnTo>
                      <a:lnTo>
                        <a:pt x="77733" y="23091"/>
                      </a:lnTo>
                      <a:lnTo>
                        <a:pt x="88863" y="33980"/>
                      </a:lnTo>
                      <a:lnTo>
                        <a:pt x="85498" y="47242"/>
                      </a:lnTo>
                      <a:lnTo>
                        <a:pt x="80062" y="48486"/>
                      </a:lnTo>
                      <a:lnTo>
                        <a:pt x="75749" y="51053"/>
                      </a:lnTo>
                      <a:lnTo>
                        <a:pt x="68243" y="57574"/>
                      </a:lnTo>
                      <a:lnTo>
                        <a:pt x="64862" y="72953"/>
                      </a:lnTo>
                      <a:lnTo>
                        <a:pt x="44432" y="62379"/>
                      </a:lnTo>
                      <a:lnTo>
                        <a:pt x="35717" y="50664"/>
                      </a:lnTo>
                      <a:lnTo>
                        <a:pt x="26918" y="44438"/>
                      </a:lnTo>
                      <a:lnTo>
                        <a:pt x="16306" y="33902"/>
                      </a:lnTo>
                      <a:lnTo>
                        <a:pt x="11302" y="25131"/>
                      </a:lnTo>
                      <a:lnTo>
                        <a:pt x="0" y="11846"/>
                      </a:lnTo>
                      <a:lnTo>
                        <a:pt x="4832" y="0"/>
                      </a:lnTo>
                      <a:lnTo>
                        <a:pt x="13114" y="6561"/>
                      </a:lnTo>
                      <a:lnTo>
                        <a:pt x="18118" y="634"/>
                      </a:lnTo>
                      <a:lnTo>
                        <a:pt x="28903" y="0"/>
                      </a:lnTo>
                      <a:lnTo>
                        <a:pt x="48745" y="4745"/>
                      </a:lnTo>
                      <a:lnTo>
                        <a:pt x="64706" y="4349"/>
                      </a:lnTo>
                      <a:close/>
                    </a:path>
                  </a:pathLst>
                </a:custGeom>
                <a:solidFill>
                  <a:schemeClr val="accent1">
                    <a:lumMod val="20000"/>
                    <a:lumOff val="80000"/>
                  </a:schemeClr>
                </a:solidFill>
                <a:ln cap="rnd" w="3175">
                  <a:solidFill>
                    <a:srgbClr val="009fdf">
                      <a:lumMod val="60000"/>
                      <a:lumOff val="40000"/>
                    </a:srgbClr>
                  </a:solidFill>
                </a:ln>
              </p:spPr>
              <p:style>
                <a:lnRef idx="2">
                  <a:schemeClr val="accent1">
                    <a:shade val="50000"/>
                  </a:schemeClr>
                </a:lnRef>
                <a:fillRef idx="1">
                  <a:schemeClr val="accent1"/>
                </a:fillRef>
                <a:effectRef idx="0">
                  <a:schemeClr val="accent1"/>
                </a:effectRef>
                <a:fontRef idx="minor"/>
              </p:style>
              <p:txBody>
                <a:bodyPr numCol="1" spcCol="0" horzOverflow="overflow" lIns="72000" rIns="72000" tIns="36000" bIns="36000" anchor="ctr">
                  <a:noAutofit/>
                </a:bodyPr>
                <a:p>
                  <a:pPr algn="ctr" defTabSz="457200">
                    <a:lnSpc>
                      <a:spcPct val="100000"/>
                    </a:lnSpc>
                    <a:tabLst>
                      <a:tab algn="l" pos="0"/>
                    </a:tabLst>
                  </a:pPr>
                  <a:endParaRPr b="0" lang="de-DE" sz="1600" spc="-1" strike="noStrike">
                    <a:solidFill>
                      <a:srgbClr val="000000"/>
                    </a:solidFill>
                    <a:latin typeface="Arial"/>
                    <a:ea typeface="Arial"/>
                  </a:endParaRPr>
                </a:p>
              </p:txBody>
            </p:sp>
            <p:sp>
              <p:nvSpPr>
                <p:cNvPr id="409" name="Freeform 48"/>
                <p:cNvSpPr/>
                <p:nvPr/>
              </p:nvSpPr>
              <p:spPr>
                <a:xfrm>
                  <a:off x="7902720" y="2724840"/>
                  <a:ext cx="218520" cy="152640"/>
                </a:xfrm>
                <a:custGeom>
                  <a:avLst/>
                  <a:gdLst/>
                  <a:ahLst/>
                  <a:rect l="l" t="t" r="r" b="b"/>
                  <a:pathLst>
                    <a:path w="219151" h="153132">
                      <a:moveTo>
                        <a:pt x="6570" y="72461"/>
                      </a:moveTo>
                      <a:lnTo>
                        <a:pt x="28881" y="72676"/>
                      </a:lnTo>
                      <a:lnTo>
                        <a:pt x="53941" y="60733"/>
                      </a:lnTo>
                      <a:lnTo>
                        <a:pt x="59298" y="42722"/>
                      </a:lnTo>
                      <a:lnTo>
                        <a:pt x="78222" y="32446"/>
                      </a:lnTo>
                      <a:lnTo>
                        <a:pt x="76053" y="17996"/>
                      </a:lnTo>
                      <a:lnTo>
                        <a:pt x="90091" y="12547"/>
                      </a:lnTo>
                      <a:lnTo>
                        <a:pt x="114887" y="0"/>
                      </a:lnTo>
                      <a:lnTo>
                        <a:pt x="139189" y="8164"/>
                      </a:lnTo>
                      <a:lnTo>
                        <a:pt x="142468" y="16216"/>
                      </a:lnTo>
                      <a:lnTo>
                        <a:pt x="154580" y="12347"/>
                      </a:lnTo>
                      <a:lnTo>
                        <a:pt x="177146" y="20070"/>
                      </a:lnTo>
                      <a:lnTo>
                        <a:pt x="179406" y="35198"/>
                      </a:lnTo>
                      <a:lnTo>
                        <a:pt x="174460" y="43849"/>
                      </a:lnTo>
                      <a:lnTo>
                        <a:pt x="188931" y="64714"/>
                      </a:lnTo>
                      <a:lnTo>
                        <a:pt x="198325" y="70495"/>
                      </a:lnTo>
                      <a:lnTo>
                        <a:pt x="196936" y="76205"/>
                      </a:lnTo>
                      <a:lnTo>
                        <a:pt x="212501" y="81756"/>
                      </a:lnTo>
                      <a:lnTo>
                        <a:pt x="219150" y="90143"/>
                      </a:lnTo>
                      <a:lnTo>
                        <a:pt x="210168" y="97000"/>
                      </a:lnTo>
                      <a:lnTo>
                        <a:pt x="191543" y="95913"/>
                      </a:lnTo>
                      <a:lnTo>
                        <a:pt x="187101" y="98838"/>
                      </a:lnTo>
                      <a:lnTo>
                        <a:pt x="192522" y="109202"/>
                      </a:lnTo>
                      <a:lnTo>
                        <a:pt x="198199" y="129073"/>
                      </a:lnTo>
                      <a:lnTo>
                        <a:pt x="178384" y="130906"/>
                      </a:lnTo>
                      <a:lnTo>
                        <a:pt x="171272" y="137677"/>
                      </a:lnTo>
                      <a:lnTo>
                        <a:pt x="169787" y="153131"/>
                      </a:lnTo>
                      <a:lnTo>
                        <a:pt x="160606" y="150171"/>
                      </a:lnTo>
                      <a:lnTo>
                        <a:pt x="139776" y="151639"/>
                      </a:lnTo>
                      <a:lnTo>
                        <a:pt x="133726" y="144467"/>
                      </a:lnTo>
                      <a:lnTo>
                        <a:pt x="125064" y="149816"/>
                      </a:lnTo>
                      <a:lnTo>
                        <a:pt x="116386" y="145383"/>
                      </a:lnTo>
                      <a:lnTo>
                        <a:pt x="98207" y="144767"/>
                      </a:lnTo>
                      <a:lnTo>
                        <a:pt x="72444" y="137385"/>
                      </a:lnTo>
                      <a:lnTo>
                        <a:pt x="49126" y="134970"/>
                      </a:lnTo>
                      <a:lnTo>
                        <a:pt x="31245" y="135654"/>
                      </a:lnTo>
                      <a:lnTo>
                        <a:pt x="18595" y="143994"/>
                      </a:lnTo>
                      <a:lnTo>
                        <a:pt x="7561" y="145192"/>
                      </a:lnTo>
                      <a:lnTo>
                        <a:pt x="7121" y="131484"/>
                      </a:lnTo>
                      <a:lnTo>
                        <a:pt x="0" y="117136"/>
                      </a:lnTo>
                      <a:lnTo>
                        <a:pt x="13843" y="110789"/>
                      </a:lnTo>
                      <a:lnTo>
                        <a:pt x="13975" y="98346"/>
                      </a:lnTo>
                      <a:lnTo>
                        <a:pt x="7572" y="86413"/>
                      </a:lnTo>
                      <a:close/>
                    </a:path>
                  </a:pathLst>
                </a:custGeom>
                <a:solidFill>
                  <a:schemeClr val="accent1"/>
                </a:solidFill>
                <a:ln cap="rnd" w="3175">
                  <a:solidFill>
                    <a:srgbClr val="009fdf">
                      <a:lumMod val="60000"/>
                      <a:lumOff val="40000"/>
                    </a:srgbClr>
                  </a:solidFill>
                </a:ln>
              </p:spPr>
              <p:style>
                <a:lnRef idx="2">
                  <a:schemeClr val="accent1">
                    <a:shade val="50000"/>
                  </a:schemeClr>
                </a:lnRef>
                <a:fillRef idx="1">
                  <a:schemeClr val="accent1"/>
                </a:fillRef>
                <a:effectRef idx="0">
                  <a:schemeClr val="accent1"/>
                </a:effectRef>
                <a:fontRef idx="minor"/>
              </p:style>
              <p:txBody>
                <a:bodyPr numCol="1" spcCol="0" horzOverflow="overflow" lIns="72000" rIns="72000" tIns="72000" bIns="72000" anchor="ctr">
                  <a:noAutofit/>
                </a:bodyPr>
                <a:p>
                  <a:pPr algn="ctr" defTabSz="457200">
                    <a:lnSpc>
                      <a:spcPct val="100000"/>
                    </a:lnSpc>
                    <a:tabLst>
                      <a:tab algn="l" pos="0"/>
                    </a:tabLst>
                  </a:pPr>
                  <a:endParaRPr b="0" lang="de-DE" sz="1600" spc="-1" strike="noStrike">
                    <a:solidFill>
                      <a:srgbClr val="000000"/>
                    </a:solidFill>
                    <a:latin typeface="Arial"/>
                    <a:ea typeface="Arial"/>
                  </a:endParaRPr>
                </a:p>
              </p:txBody>
            </p:sp>
            <p:sp>
              <p:nvSpPr>
                <p:cNvPr id="410" name="Freeform 49"/>
                <p:cNvSpPr/>
                <p:nvPr/>
              </p:nvSpPr>
              <p:spPr>
                <a:xfrm>
                  <a:off x="9999000" y="4050720"/>
                  <a:ext cx="28440" cy="32760"/>
                </a:xfrm>
                <a:custGeom>
                  <a:avLst/>
                  <a:gdLst/>
                  <a:ahLst/>
                  <a:rect l="l" t="t" r="r" b="b"/>
                  <a:pathLst>
                    <a:path w="28778" h="33315">
                      <a:moveTo>
                        <a:pt x="0" y="21331"/>
                      </a:moveTo>
                      <a:lnTo>
                        <a:pt x="9139" y="12676"/>
                      </a:lnTo>
                      <a:lnTo>
                        <a:pt x="28777" y="0"/>
                      </a:lnTo>
                      <a:lnTo>
                        <a:pt x="27738" y="11398"/>
                      </a:lnTo>
                      <a:lnTo>
                        <a:pt x="26394" y="26170"/>
                      </a:lnTo>
                      <a:lnTo>
                        <a:pt x="15363" y="25437"/>
                      </a:lnTo>
                      <a:lnTo>
                        <a:pt x="10516" y="33314"/>
                      </a:lnTo>
                      <a:close/>
                    </a:path>
                  </a:pathLst>
                </a:custGeom>
                <a:solidFill>
                  <a:schemeClr val="accent1"/>
                </a:solidFill>
                <a:ln cap="rnd" w="3175">
                  <a:solidFill>
                    <a:srgbClr val="009fdf">
                      <a:lumMod val="60000"/>
                      <a:lumOff val="40000"/>
                    </a:srgbClr>
                  </a:solidFill>
                </a:ln>
              </p:spPr>
              <p:style>
                <a:lnRef idx="2">
                  <a:schemeClr val="accent1">
                    <a:shade val="50000"/>
                  </a:schemeClr>
                </a:lnRef>
                <a:fillRef idx="1">
                  <a:schemeClr val="accent1"/>
                </a:fillRef>
                <a:effectRef idx="0">
                  <a:schemeClr val="accent1"/>
                </a:effectRef>
                <a:fontRef idx="minor"/>
              </p:style>
              <p:txBody>
                <a:bodyPr numCol="1" spcCol="0" horzOverflow="overflow" lIns="72000" rIns="72000" tIns="16200" bIns="16200" anchor="ctr">
                  <a:noAutofit/>
                </a:bodyPr>
                <a:p>
                  <a:pPr algn="ctr" defTabSz="457200">
                    <a:lnSpc>
                      <a:spcPct val="100000"/>
                    </a:lnSpc>
                    <a:tabLst>
                      <a:tab algn="l" pos="0"/>
                    </a:tabLst>
                  </a:pPr>
                  <a:endParaRPr b="0" lang="de-DE" sz="1600" spc="-1" strike="noStrike">
                    <a:solidFill>
                      <a:srgbClr val="000000"/>
                    </a:solidFill>
                    <a:latin typeface="Arial"/>
                    <a:ea typeface="Arial"/>
                  </a:endParaRPr>
                </a:p>
              </p:txBody>
            </p:sp>
            <p:sp>
              <p:nvSpPr>
                <p:cNvPr id="411" name="Freeform 50"/>
                <p:cNvSpPr/>
                <p:nvPr/>
              </p:nvSpPr>
              <p:spPr>
                <a:xfrm>
                  <a:off x="9414360" y="3506760"/>
                  <a:ext cx="75600" cy="38880"/>
                </a:xfrm>
                <a:custGeom>
                  <a:avLst/>
                  <a:gdLst/>
                  <a:ahLst/>
                  <a:rect l="l" t="t" r="r" b="b"/>
                  <a:pathLst>
                    <a:path w="75931" h="39265">
                      <a:moveTo>
                        <a:pt x="66534" y="13103"/>
                      </a:moveTo>
                      <a:lnTo>
                        <a:pt x="75930" y="21053"/>
                      </a:lnTo>
                      <a:lnTo>
                        <a:pt x="74309" y="36316"/>
                      </a:lnTo>
                      <a:lnTo>
                        <a:pt x="55474" y="37052"/>
                      </a:lnTo>
                      <a:lnTo>
                        <a:pt x="35986" y="35388"/>
                      </a:lnTo>
                      <a:lnTo>
                        <a:pt x="21473" y="39264"/>
                      </a:lnTo>
                      <a:lnTo>
                        <a:pt x="494" y="29846"/>
                      </a:lnTo>
                      <a:lnTo>
                        <a:pt x="0" y="24867"/>
                      </a:lnTo>
                      <a:lnTo>
                        <a:pt x="15271" y="6340"/>
                      </a:lnTo>
                      <a:lnTo>
                        <a:pt x="27736" y="0"/>
                      </a:lnTo>
                      <a:lnTo>
                        <a:pt x="44232" y="5786"/>
                      </a:lnTo>
                      <a:lnTo>
                        <a:pt x="56428" y="6394"/>
                      </a:lnTo>
                      <a:close/>
                    </a:path>
                  </a:pathLst>
                </a:custGeom>
                <a:solidFill>
                  <a:schemeClr val="accent1"/>
                </a:solidFill>
                <a:ln cap="rnd" w="3175">
                  <a:solidFill>
                    <a:srgbClr val="009fdf">
                      <a:lumMod val="60000"/>
                      <a:lumOff val="40000"/>
                    </a:srgbClr>
                  </a:solidFill>
                </a:ln>
              </p:spPr>
              <p:style>
                <a:lnRef idx="2">
                  <a:schemeClr val="accent1">
                    <a:shade val="50000"/>
                  </a:schemeClr>
                </a:lnRef>
                <a:fillRef idx="1">
                  <a:schemeClr val="accent1"/>
                </a:fillRef>
                <a:effectRef idx="0">
                  <a:schemeClr val="accent1"/>
                </a:effectRef>
                <a:fontRef idx="minor"/>
              </p:style>
              <p:txBody>
                <a:bodyPr numCol="1" spcCol="0" horzOverflow="overflow" lIns="72000" rIns="72000" tIns="19440" bIns="19440" anchor="ctr">
                  <a:noAutofit/>
                </a:bodyPr>
                <a:p>
                  <a:pPr algn="ctr" defTabSz="457200">
                    <a:lnSpc>
                      <a:spcPct val="100000"/>
                    </a:lnSpc>
                    <a:tabLst>
                      <a:tab algn="l" pos="0"/>
                    </a:tabLst>
                  </a:pPr>
                  <a:endParaRPr b="0" lang="de-DE" sz="1600" spc="-1" strike="noStrike">
                    <a:solidFill>
                      <a:srgbClr val="000000"/>
                    </a:solidFill>
                    <a:latin typeface="Arial"/>
                    <a:ea typeface="Arial"/>
                  </a:endParaRPr>
                </a:p>
              </p:txBody>
            </p:sp>
            <p:sp>
              <p:nvSpPr>
                <p:cNvPr id="412" name="Freeform 51"/>
                <p:cNvSpPr/>
                <p:nvPr/>
              </p:nvSpPr>
              <p:spPr>
                <a:xfrm>
                  <a:off x="7826400" y="4587480"/>
                  <a:ext cx="219240" cy="221760"/>
                </a:xfrm>
                <a:custGeom>
                  <a:avLst/>
                  <a:gdLst/>
                  <a:ahLst/>
                  <a:rect l="l" t="t" r="r" b="b"/>
                  <a:pathLst>
                    <a:path w="220134" h="222411">
                      <a:moveTo>
                        <a:pt x="132811" y="20842"/>
                      </a:moveTo>
                      <a:lnTo>
                        <a:pt x="137456" y="25103"/>
                      </a:lnTo>
                      <a:lnTo>
                        <a:pt x="144713" y="38945"/>
                      </a:lnTo>
                      <a:lnTo>
                        <a:pt x="170836" y="65305"/>
                      </a:lnTo>
                      <a:lnTo>
                        <a:pt x="180721" y="67892"/>
                      </a:lnTo>
                      <a:lnTo>
                        <a:pt x="180778" y="76386"/>
                      </a:lnTo>
                      <a:lnTo>
                        <a:pt x="187568" y="91688"/>
                      </a:lnTo>
                      <a:lnTo>
                        <a:pt x="205417" y="95397"/>
                      </a:lnTo>
                      <a:lnTo>
                        <a:pt x="220133" y="106333"/>
                      </a:lnTo>
                      <a:lnTo>
                        <a:pt x="187472" y="124204"/>
                      </a:lnTo>
                      <a:lnTo>
                        <a:pt x="166748" y="142382"/>
                      </a:lnTo>
                      <a:lnTo>
                        <a:pt x="159061" y="158662"/>
                      </a:lnTo>
                      <a:lnTo>
                        <a:pt x="152121" y="167863"/>
                      </a:lnTo>
                      <a:lnTo>
                        <a:pt x="139562" y="169826"/>
                      </a:lnTo>
                      <a:lnTo>
                        <a:pt x="135504" y="181575"/>
                      </a:lnTo>
                      <a:lnTo>
                        <a:pt x="133169" y="189252"/>
                      </a:lnTo>
                      <a:lnTo>
                        <a:pt x="118407" y="194989"/>
                      </a:lnTo>
                      <a:lnTo>
                        <a:pt x="99620" y="193770"/>
                      </a:lnTo>
                      <a:lnTo>
                        <a:pt x="88594" y="186871"/>
                      </a:lnTo>
                      <a:lnTo>
                        <a:pt x="78865" y="183883"/>
                      </a:lnTo>
                      <a:lnTo>
                        <a:pt x="67605" y="189588"/>
                      </a:lnTo>
                      <a:lnTo>
                        <a:pt x="61956" y="201399"/>
                      </a:lnTo>
                      <a:lnTo>
                        <a:pt x="51025" y="208831"/>
                      </a:lnTo>
                      <a:lnTo>
                        <a:pt x="39481" y="219880"/>
                      </a:lnTo>
                      <a:lnTo>
                        <a:pt x="22948" y="222410"/>
                      </a:lnTo>
                      <a:lnTo>
                        <a:pt x="17797" y="213710"/>
                      </a:lnTo>
                      <a:lnTo>
                        <a:pt x="19924" y="198651"/>
                      </a:lnTo>
                      <a:lnTo>
                        <a:pt x="6238" y="175264"/>
                      </a:lnTo>
                      <a:lnTo>
                        <a:pt x="7" y="171578"/>
                      </a:lnTo>
                      <a:lnTo>
                        <a:pt x="0" y="100470"/>
                      </a:lnTo>
                      <a:lnTo>
                        <a:pt x="22752" y="99627"/>
                      </a:lnTo>
                      <a:lnTo>
                        <a:pt x="23433" y="14069"/>
                      </a:lnTo>
                      <a:lnTo>
                        <a:pt x="40616" y="13280"/>
                      </a:lnTo>
                      <a:lnTo>
                        <a:pt x="76205" y="4935"/>
                      </a:lnTo>
                      <a:lnTo>
                        <a:pt x="85026" y="14762"/>
                      </a:lnTo>
                      <a:lnTo>
                        <a:pt x="99761" y="5419"/>
                      </a:lnTo>
                      <a:lnTo>
                        <a:pt x="106763" y="5366"/>
                      </a:lnTo>
                      <a:lnTo>
                        <a:pt x="119775" y="0"/>
                      </a:lnTo>
                      <a:lnTo>
                        <a:pt x="123925" y="1779"/>
                      </a:lnTo>
                      <a:close/>
                    </a:path>
                  </a:pathLst>
                </a:custGeom>
                <a:solidFill>
                  <a:schemeClr val="accent1">
                    <a:lumMod val="20000"/>
                    <a:lumOff val="80000"/>
                  </a:schemeClr>
                </a:solidFill>
                <a:ln cap="rnd" w="3175">
                  <a:solidFill>
                    <a:srgbClr val="009fdf">
                      <a:lumMod val="60000"/>
                      <a:lumOff val="40000"/>
                    </a:srgbClr>
                  </a:solidFill>
                </a:ln>
              </p:spPr>
              <p:style>
                <a:lnRef idx="2">
                  <a:schemeClr val="accent1">
                    <a:shade val="50000"/>
                  </a:schemeClr>
                </a:lnRef>
                <a:fillRef idx="1">
                  <a:schemeClr val="accent1"/>
                </a:fillRef>
                <a:effectRef idx="0">
                  <a:schemeClr val="accent1"/>
                </a:effectRef>
                <a:fontRef idx="minor"/>
              </p:style>
              <p:txBody>
                <a:bodyPr numCol="1" spcCol="0" horzOverflow="overflow" lIns="72000" rIns="72000" tIns="72000" bIns="72000" anchor="ctr">
                  <a:noAutofit/>
                </a:bodyPr>
                <a:p>
                  <a:pPr algn="ctr" defTabSz="457200">
                    <a:lnSpc>
                      <a:spcPct val="100000"/>
                    </a:lnSpc>
                    <a:tabLst>
                      <a:tab algn="l" pos="0"/>
                    </a:tabLst>
                  </a:pPr>
                  <a:endParaRPr b="0" lang="de-DE" sz="1600" spc="-1" strike="noStrike">
                    <a:solidFill>
                      <a:srgbClr val="000000"/>
                    </a:solidFill>
                    <a:latin typeface="Arial"/>
                    <a:ea typeface="Arial"/>
                  </a:endParaRPr>
                </a:p>
              </p:txBody>
            </p:sp>
            <p:sp>
              <p:nvSpPr>
                <p:cNvPr id="413" name="Freeform 52"/>
                <p:cNvSpPr/>
                <p:nvPr/>
              </p:nvSpPr>
              <p:spPr>
                <a:xfrm>
                  <a:off x="7701480" y="3918600"/>
                  <a:ext cx="297000" cy="205200"/>
                </a:xfrm>
                <a:custGeom>
                  <a:avLst/>
                  <a:gdLst/>
                  <a:ahLst/>
                  <a:rect l="l" t="t" r="r" b="b"/>
                  <a:pathLst>
                    <a:path w="298110" h="205890">
                      <a:moveTo>
                        <a:pt x="18929" y="86615"/>
                      </a:moveTo>
                      <a:lnTo>
                        <a:pt x="38014" y="84871"/>
                      </a:lnTo>
                      <a:lnTo>
                        <a:pt x="42268" y="78900"/>
                      </a:lnTo>
                      <a:lnTo>
                        <a:pt x="46091" y="79353"/>
                      </a:lnTo>
                      <a:lnTo>
                        <a:pt x="51857" y="84610"/>
                      </a:lnTo>
                      <a:lnTo>
                        <a:pt x="80917" y="75728"/>
                      </a:lnTo>
                      <a:lnTo>
                        <a:pt x="90718" y="66658"/>
                      </a:lnTo>
                      <a:lnTo>
                        <a:pt x="102755" y="58533"/>
                      </a:lnTo>
                      <a:lnTo>
                        <a:pt x="100470" y="50345"/>
                      </a:lnTo>
                      <a:lnTo>
                        <a:pt x="106979" y="48206"/>
                      </a:lnTo>
                      <a:lnTo>
                        <a:pt x="129270" y="49652"/>
                      </a:lnTo>
                      <a:lnTo>
                        <a:pt x="150995" y="38869"/>
                      </a:lnTo>
                      <a:lnTo>
                        <a:pt x="167682" y="13435"/>
                      </a:lnTo>
                      <a:lnTo>
                        <a:pt x="179392" y="3984"/>
                      </a:lnTo>
                      <a:lnTo>
                        <a:pt x="194005" y="0"/>
                      </a:lnTo>
                      <a:lnTo>
                        <a:pt x="196622" y="9994"/>
                      </a:lnTo>
                      <a:lnTo>
                        <a:pt x="209935" y="24580"/>
                      </a:lnTo>
                      <a:lnTo>
                        <a:pt x="210003" y="34088"/>
                      </a:lnTo>
                      <a:lnTo>
                        <a:pt x="206252" y="43779"/>
                      </a:lnTo>
                      <a:lnTo>
                        <a:pt x="207735" y="51011"/>
                      </a:lnTo>
                      <a:lnTo>
                        <a:pt x="215740" y="57709"/>
                      </a:lnTo>
                      <a:lnTo>
                        <a:pt x="233319" y="67870"/>
                      </a:lnTo>
                      <a:lnTo>
                        <a:pt x="245958" y="77256"/>
                      </a:lnTo>
                      <a:lnTo>
                        <a:pt x="246171" y="84801"/>
                      </a:lnTo>
                      <a:lnTo>
                        <a:pt x="261694" y="96884"/>
                      </a:lnTo>
                      <a:lnTo>
                        <a:pt x="271314" y="106916"/>
                      </a:lnTo>
                      <a:lnTo>
                        <a:pt x="277142" y="120816"/>
                      </a:lnTo>
                      <a:lnTo>
                        <a:pt x="294397" y="129981"/>
                      </a:lnTo>
                      <a:lnTo>
                        <a:pt x="298109" y="137320"/>
                      </a:lnTo>
                      <a:lnTo>
                        <a:pt x="290488" y="139775"/>
                      </a:lnTo>
                      <a:lnTo>
                        <a:pt x="275685" y="139242"/>
                      </a:lnTo>
                      <a:lnTo>
                        <a:pt x="258319" y="136807"/>
                      </a:lnTo>
                      <a:lnTo>
                        <a:pt x="249741" y="138790"/>
                      </a:lnTo>
                      <a:lnTo>
                        <a:pt x="246279" y="144417"/>
                      </a:lnTo>
                      <a:lnTo>
                        <a:pt x="238805" y="145111"/>
                      </a:lnTo>
                      <a:lnTo>
                        <a:pt x="229699" y="140216"/>
                      </a:lnTo>
                      <a:lnTo>
                        <a:pt x="204001" y="151763"/>
                      </a:lnTo>
                      <a:lnTo>
                        <a:pt x="193481" y="149440"/>
                      </a:lnTo>
                      <a:lnTo>
                        <a:pt x="190310" y="151223"/>
                      </a:lnTo>
                      <a:lnTo>
                        <a:pt x="183409" y="165188"/>
                      </a:lnTo>
                      <a:lnTo>
                        <a:pt x="166189" y="160675"/>
                      </a:lnTo>
                      <a:lnTo>
                        <a:pt x="149303" y="158399"/>
                      </a:lnTo>
                      <a:lnTo>
                        <a:pt x="134602" y="149867"/>
                      </a:lnTo>
                      <a:lnTo>
                        <a:pt x="115607" y="142004"/>
                      </a:lnTo>
                      <a:lnTo>
                        <a:pt x="103247" y="149454"/>
                      </a:lnTo>
                      <a:lnTo>
                        <a:pt x="94260" y="161196"/>
                      </a:lnTo>
                      <a:lnTo>
                        <a:pt x="92185" y="177318"/>
                      </a:lnTo>
                      <a:lnTo>
                        <a:pt x="77339" y="176028"/>
                      </a:lnTo>
                      <a:lnTo>
                        <a:pt x="61715" y="172145"/>
                      </a:lnTo>
                      <a:lnTo>
                        <a:pt x="47958" y="184392"/>
                      </a:lnTo>
                      <a:lnTo>
                        <a:pt x="35858" y="205889"/>
                      </a:lnTo>
                      <a:lnTo>
                        <a:pt x="33423" y="199197"/>
                      </a:lnTo>
                      <a:lnTo>
                        <a:pt x="32393" y="188659"/>
                      </a:lnTo>
                      <a:lnTo>
                        <a:pt x="21836" y="181225"/>
                      </a:lnTo>
                      <a:lnTo>
                        <a:pt x="13315" y="169298"/>
                      </a:lnTo>
                      <a:lnTo>
                        <a:pt x="11347" y="160998"/>
                      </a:lnTo>
                      <a:lnTo>
                        <a:pt x="438" y="148920"/>
                      </a:lnTo>
                      <a:lnTo>
                        <a:pt x="2297" y="142026"/>
                      </a:lnTo>
                      <a:lnTo>
                        <a:pt x="0" y="132278"/>
                      </a:lnTo>
                      <a:lnTo>
                        <a:pt x="1781" y="114324"/>
                      </a:lnTo>
                      <a:lnTo>
                        <a:pt x="7321" y="110117"/>
                      </a:lnTo>
                      <a:close/>
                    </a:path>
                  </a:pathLst>
                </a:custGeom>
                <a:solidFill>
                  <a:schemeClr val="accent1">
                    <a:lumMod val="20000"/>
                    <a:lumOff val="80000"/>
                  </a:schemeClr>
                </a:solidFill>
                <a:ln cap="rnd" w="3175">
                  <a:solidFill>
                    <a:srgbClr val="009fdf">
                      <a:lumMod val="60000"/>
                      <a:lumOff val="40000"/>
                    </a:srgbClr>
                  </a:solidFill>
                </a:ln>
              </p:spPr>
              <p:style>
                <a:lnRef idx="2">
                  <a:schemeClr val="accent1">
                    <a:shade val="50000"/>
                  </a:schemeClr>
                </a:lnRef>
                <a:fillRef idx="1">
                  <a:schemeClr val="accent1"/>
                </a:fillRef>
                <a:effectRef idx="0">
                  <a:schemeClr val="accent1"/>
                </a:effectRef>
                <a:fontRef idx="minor"/>
              </p:style>
              <p:txBody>
                <a:bodyPr numCol="1" spcCol="0" horzOverflow="overflow" lIns="72000" rIns="72000" tIns="72000" bIns="72000" anchor="ctr">
                  <a:noAutofit/>
                </a:bodyPr>
                <a:p>
                  <a:pPr algn="ctr" defTabSz="457200">
                    <a:lnSpc>
                      <a:spcPct val="100000"/>
                    </a:lnSpc>
                    <a:tabLst>
                      <a:tab algn="l" pos="0"/>
                    </a:tabLst>
                  </a:pPr>
                  <a:endParaRPr b="0" lang="de-DE" sz="1600" spc="-1" strike="noStrike">
                    <a:solidFill>
                      <a:srgbClr val="000000"/>
                    </a:solidFill>
                    <a:latin typeface="Arial"/>
                    <a:ea typeface="Arial"/>
                  </a:endParaRPr>
                </a:p>
              </p:txBody>
            </p:sp>
            <p:sp>
              <p:nvSpPr>
                <p:cNvPr id="414" name="Freeform 53"/>
                <p:cNvSpPr/>
                <p:nvPr/>
              </p:nvSpPr>
              <p:spPr>
                <a:xfrm>
                  <a:off x="9065520" y="2811600"/>
                  <a:ext cx="1413000" cy="940680"/>
                </a:xfrm>
                <a:custGeom>
                  <a:avLst/>
                  <a:gdLst>
                    <a:gd name="textAreaLeft" fmla="*/ 0 w 1413000"/>
                    <a:gd name="textAreaRight" fmla="*/ 1413360 w 1413000"/>
                    <a:gd name="textAreaTop" fmla="*/ 0 h 940680"/>
                    <a:gd name="textAreaBottom" fmla="*/ 941040 h 940680"/>
                  </a:gdLst>
                  <a:ahLst/>
                  <a:rect l="textAreaLeft" t="textAreaTop" r="textAreaRight" b="textAreaBottom"/>
                  <a:pathLst>
                    <a:path w="1416144" h="943012">
                      <a:moveTo>
                        <a:pt x="843354" y="897452"/>
                      </a:moveTo>
                      <a:lnTo>
                        <a:pt x="856626" y="898022"/>
                      </a:lnTo>
                      <a:lnTo>
                        <a:pt x="861784" y="907181"/>
                      </a:lnTo>
                      <a:lnTo>
                        <a:pt x="851642" y="917726"/>
                      </a:lnTo>
                      <a:lnTo>
                        <a:pt x="846299" y="931538"/>
                      </a:lnTo>
                      <a:lnTo>
                        <a:pt x="826356" y="943012"/>
                      </a:lnTo>
                      <a:lnTo>
                        <a:pt x="807429" y="935615"/>
                      </a:lnTo>
                      <a:lnTo>
                        <a:pt x="806760" y="915044"/>
                      </a:lnTo>
                      <a:lnTo>
                        <a:pt x="818135" y="904180"/>
                      </a:lnTo>
                      <a:close/>
                      <a:moveTo>
                        <a:pt x="1151736" y="0"/>
                      </a:moveTo>
                      <a:lnTo>
                        <a:pt x="1186285" y="9344"/>
                      </a:lnTo>
                      <a:lnTo>
                        <a:pt x="1206555" y="20851"/>
                      </a:lnTo>
                      <a:lnTo>
                        <a:pt x="1220820" y="52095"/>
                      </a:lnTo>
                      <a:lnTo>
                        <a:pt x="1229471" y="65309"/>
                      </a:lnTo>
                      <a:lnTo>
                        <a:pt x="1237510" y="84045"/>
                      </a:lnTo>
                      <a:lnTo>
                        <a:pt x="1246050" y="113648"/>
                      </a:lnTo>
                      <a:lnTo>
                        <a:pt x="1286223" y="123236"/>
                      </a:lnTo>
                      <a:lnTo>
                        <a:pt x="1313564" y="144432"/>
                      </a:lnTo>
                      <a:lnTo>
                        <a:pt x="1322913" y="172186"/>
                      </a:lnTo>
                      <a:lnTo>
                        <a:pt x="1357984" y="172220"/>
                      </a:lnTo>
                      <a:lnTo>
                        <a:pt x="1377995" y="160603"/>
                      </a:lnTo>
                      <a:lnTo>
                        <a:pt x="1416144" y="151888"/>
                      </a:lnTo>
                      <a:lnTo>
                        <a:pt x="1404014" y="178399"/>
                      </a:lnTo>
                      <a:lnTo>
                        <a:pt x="1395048" y="189107"/>
                      </a:lnTo>
                      <a:lnTo>
                        <a:pt x="1387137" y="220911"/>
                      </a:lnTo>
                      <a:lnTo>
                        <a:pt x="1371614" y="248849"/>
                      </a:lnTo>
                      <a:lnTo>
                        <a:pt x="1343598" y="243784"/>
                      </a:lnTo>
                      <a:lnTo>
                        <a:pt x="1323788" y="253877"/>
                      </a:lnTo>
                      <a:lnTo>
                        <a:pt x="1329867" y="278199"/>
                      </a:lnTo>
                      <a:lnTo>
                        <a:pt x="1326546" y="311420"/>
                      </a:lnTo>
                      <a:lnTo>
                        <a:pt x="1314755" y="312174"/>
                      </a:lnTo>
                      <a:lnTo>
                        <a:pt x="1314897" y="326338"/>
                      </a:lnTo>
                      <a:lnTo>
                        <a:pt x="1299991" y="309871"/>
                      </a:lnTo>
                      <a:lnTo>
                        <a:pt x="1290813" y="325504"/>
                      </a:lnTo>
                      <a:lnTo>
                        <a:pt x="1255163" y="337463"/>
                      </a:lnTo>
                      <a:lnTo>
                        <a:pt x="1258769" y="352046"/>
                      </a:lnTo>
                      <a:lnTo>
                        <a:pt x="1238811" y="351043"/>
                      </a:lnTo>
                      <a:lnTo>
                        <a:pt x="1227853" y="342384"/>
                      </a:lnTo>
                      <a:lnTo>
                        <a:pt x="1211995" y="361942"/>
                      </a:lnTo>
                      <a:lnTo>
                        <a:pt x="1186555" y="376681"/>
                      </a:lnTo>
                      <a:lnTo>
                        <a:pt x="1167759" y="394176"/>
                      </a:lnTo>
                      <a:lnTo>
                        <a:pt x="1135488" y="402073"/>
                      </a:lnTo>
                      <a:lnTo>
                        <a:pt x="1118495" y="414728"/>
                      </a:lnTo>
                      <a:lnTo>
                        <a:pt x="1093638" y="422097"/>
                      </a:lnTo>
                      <a:lnTo>
                        <a:pt x="1105906" y="409578"/>
                      </a:lnTo>
                      <a:lnTo>
                        <a:pt x="1101076" y="399020"/>
                      </a:lnTo>
                      <a:lnTo>
                        <a:pt x="1119353" y="380710"/>
                      </a:lnTo>
                      <a:lnTo>
                        <a:pt x="1107161" y="366363"/>
                      </a:lnTo>
                      <a:lnTo>
                        <a:pt x="1087039" y="376037"/>
                      </a:lnTo>
                      <a:lnTo>
                        <a:pt x="1060978" y="395004"/>
                      </a:lnTo>
                      <a:lnTo>
                        <a:pt x="1046755" y="412515"/>
                      </a:lnTo>
                      <a:lnTo>
                        <a:pt x="1024118" y="413814"/>
                      </a:lnTo>
                      <a:lnTo>
                        <a:pt x="1012345" y="426404"/>
                      </a:lnTo>
                      <a:lnTo>
                        <a:pt x="1024509" y="444559"/>
                      </a:lnTo>
                      <a:lnTo>
                        <a:pt x="1043401" y="448951"/>
                      </a:lnTo>
                      <a:lnTo>
                        <a:pt x="1044175" y="460932"/>
                      </a:lnTo>
                      <a:lnTo>
                        <a:pt x="1062436" y="468704"/>
                      </a:lnTo>
                      <a:lnTo>
                        <a:pt x="1088304" y="449671"/>
                      </a:lnTo>
                      <a:lnTo>
                        <a:pt x="1108797" y="460061"/>
                      </a:lnTo>
                      <a:lnTo>
                        <a:pt x="1123724" y="460771"/>
                      </a:lnTo>
                      <a:lnTo>
                        <a:pt x="1127465" y="474700"/>
                      </a:lnTo>
                      <a:lnTo>
                        <a:pt x="1094783" y="482102"/>
                      </a:lnTo>
                      <a:lnTo>
                        <a:pt x="1084001" y="496365"/>
                      </a:lnTo>
                      <a:lnTo>
                        <a:pt x="1061553" y="509565"/>
                      </a:lnTo>
                      <a:lnTo>
                        <a:pt x="1049704" y="527899"/>
                      </a:lnTo>
                      <a:lnTo>
                        <a:pt x="1074549" y="542227"/>
                      </a:lnTo>
                      <a:lnTo>
                        <a:pt x="1083616" y="567730"/>
                      </a:lnTo>
                      <a:lnTo>
                        <a:pt x="1097665" y="591333"/>
                      </a:lnTo>
                      <a:lnTo>
                        <a:pt x="1113342" y="611004"/>
                      </a:lnTo>
                      <a:lnTo>
                        <a:pt x="1112967" y="629932"/>
                      </a:lnTo>
                      <a:lnTo>
                        <a:pt x="1098479" y="636867"/>
                      </a:lnTo>
                      <a:lnTo>
                        <a:pt x="1104002" y="650378"/>
                      </a:lnTo>
                      <a:lnTo>
                        <a:pt x="1117588" y="658220"/>
                      </a:lnTo>
                      <a:lnTo>
                        <a:pt x="1114041" y="678728"/>
                      </a:lnTo>
                      <a:lnTo>
                        <a:pt x="1108178" y="698586"/>
                      </a:lnTo>
                      <a:lnTo>
                        <a:pt x="1095280" y="700831"/>
                      </a:lnTo>
                      <a:lnTo>
                        <a:pt x="1078425" y="727795"/>
                      </a:lnTo>
                      <a:lnTo>
                        <a:pt x="1059729" y="760271"/>
                      </a:lnTo>
                      <a:lnTo>
                        <a:pt x="1038294" y="789607"/>
                      </a:lnTo>
                      <a:lnTo>
                        <a:pt x="1006549" y="812174"/>
                      </a:lnTo>
                      <a:lnTo>
                        <a:pt x="974443" y="832667"/>
                      </a:lnTo>
                      <a:lnTo>
                        <a:pt x="948432" y="835456"/>
                      </a:lnTo>
                      <a:lnTo>
                        <a:pt x="934322" y="846237"/>
                      </a:lnTo>
                      <a:lnTo>
                        <a:pt x="926341" y="838364"/>
                      </a:lnTo>
                      <a:lnTo>
                        <a:pt x="913283" y="850415"/>
                      </a:lnTo>
                      <a:lnTo>
                        <a:pt x="881025" y="862533"/>
                      </a:lnTo>
                      <a:lnTo>
                        <a:pt x="856601" y="866239"/>
                      </a:lnTo>
                      <a:lnTo>
                        <a:pt x="848719" y="891689"/>
                      </a:lnTo>
                      <a:lnTo>
                        <a:pt x="835928" y="893098"/>
                      </a:lnTo>
                      <a:lnTo>
                        <a:pt x="829875" y="875624"/>
                      </a:lnTo>
                      <a:lnTo>
                        <a:pt x="835342" y="866289"/>
                      </a:lnTo>
                      <a:lnTo>
                        <a:pt x="804372" y="858551"/>
                      </a:lnTo>
                      <a:lnTo>
                        <a:pt x="793463" y="862488"/>
                      </a:lnTo>
                      <a:lnTo>
                        <a:pt x="770224" y="856212"/>
                      </a:lnTo>
                      <a:lnTo>
                        <a:pt x="759233" y="846372"/>
                      </a:lnTo>
                      <a:lnTo>
                        <a:pt x="762883" y="832391"/>
                      </a:lnTo>
                      <a:lnTo>
                        <a:pt x="741782" y="827950"/>
                      </a:lnTo>
                      <a:lnTo>
                        <a:pt x="730656" y="818817"/>
                      </a:lnTo>
                      <a:lnTo>
                        <a:pt x="710981" y="831786"/>
                      </a:lnTo>
                      <a:lnTo>
                        <a:pt x="688537" y="834590"/>
                      </a:lnTo>
                      <a:lnTo>
                        <a:pt x="670128" y="834467"/>
                      </a:lnTo>
                      <a:lnTo>
                        <a:pt x="657742" y="840393"/>
                      </a:lnTo>
                      <a:lnTo>
                        <a:pt x="645776" y="843948"/>
                      </a:lnTo>
                      <a:lnTo>
                        <a:pt x="649264" y="871616"/>
                      </a:lnTo>
                      <a:lnTo>
                        <a:pt x="636958" y="870958"/>
                      </a:lnTo>
                      <a:lnTo>
                        <a:pt x="634881" y="865286"/>
                      </a:lnTo>
                      <a:lnTo>
                        <a:pt x="634189" y="855290"/>
                      </a:lnTo>
                      <a:lnTo>
                        <a:pt x="617258" y="862332"/>
                      </a:lnTo>
                      <a:lnTo>
                        <a:pt x="607262" y="857880"/>
                      </a:lnTo>
                      <a:lnTo>
                        <a:pt x="590121" y="848793"/>
                      </a:lnTo>
                      <a:lnTo>
                        <a:pt x="596840" y="828628"/>
                      </a:lnTo>
                      <a:lnTo>
                        <a:pt x="582223" y="823915"/>
                      </a:lnTo>
                      <a:lnTo>
                        <a:pt x="576719" y="801457"/>
                      </a:lnTo>
                      <a:lnTo>
                        <a:pt x="552354" y="805511"/>
                      </a:lnTo>
                      <a:lnTo>
                        <a:pt x="555121" y="776447"/>
                      </a:lnTo>
                      <a:lnTo>
                        <a:pt x="576985" y="755881"/>
                      </a:lnTo>
                      <a:lnTo>
                        <a:pt x="577915" y="735478"/>
                      </a:lnTo>
                      <a:lnTo>
                        <a:pt x="577237" y="716466"/>
                      </a:lnTo>
                      <a:lnTo>
                        <a:pt x="567161" y="710526"/>
                      </a:lnTo>
                      <a:lnTo>
                        <a:pt x="559446" y="695824"/>
                      </a:lnTo>
                      <a:lnTo>
                        <a:pt x="545945" y="697684"/>
                      </a:lnTo>
                      <a:lnTo>
                        <a:pt x="521056" y="693946"/>
                      </a:lnTo>
                      <a:lnTo>
                        <a:pt x="528853" y="683423"/>
                      </a:lnTo>
                      <a:lnTo>
                        <a:pt x="518028" y="667794"/>
                      </a:lnTo>
                      <a:lnTo>
                        <a:pt x="501574" y="678384"/>
                      </a:lnTo>
                      <a:lnTo>
                        <a:pt x="482211" y="672207"/>
                      </a:lnTo>
                      <a:lnTo>
                        <a:pt x="455605" y="688196"/>
                      </a:lnTo>
                      <a:lnTo>
                        <a:pt x="434595" y="706794"/>
                      </a:lnTo>
                      <a:lnTo>
                        <a:pt x="415980" y="709915"/>
                      </a:lnTo>
                      <a:lnTo>
                        <a:pt x="405874" y="703206"/>
                      </a:lnTo>
                      <a:lnTo>
                        <a:pt x="393678" y="702598"/>
                      </a:lnTo>
                      <a:lnTo>
                        <a:pt x="377182" y="696812"/>
                      </a:lnTo>
                      <a:lnTo>
                        <a:pt x="364717" y="703152"/>
                      </a:lnTo>
                      <a:lnTo>
                        <a:pt x="349446" y="721679"/>
                      </a:lnTo>
                      <a:lnTo>
                        <a:pt x="347509" y="702051"/>
                      </a:lnTo>
                      <a:lnTo>
                        <a:pt x="333431" y="707301"/>
                      </a:lnTo>
                      <a:lnTo>
                        <a:pt x="306519" y="704862"/>
                      </a:lnTo>
                      <a:lnTo>
                        <a:pt x="280407" y="699134"/>
                      </a:lnTo>
                      <a:lnTo>
                        <a:pt x="261672" y="688142"/>
                      </a:lnTo>
                      <a:lnTo>
                        <a:pt x="243735" y="683199"/>
                      </a:lnTo>
                      <a:lnTo>
                        <a:pt x="235989" y="671131"/>
                      </a:lnTo>
                      <a:lnTo>
                        <a:pt x="223019" y="667518"/>
                      </a:lnTo>
                      <a:lnTo>
                        <a:pt x="199715" y="651077"/>
                      </a:lnTo>
                      <a:lnTo>
                        <a:pt x="181209" y="643296"/>
                      </a:lnTo>
                      <a:lnTo>
                        <a:pt x="171640" y="649352"/>
                      </a:lnTo>
                      <a:lnTo>
                        <a:pt x="139558" y="631625"/>
                      </a:lnTo>
                      <a:lnTo>
                        <a:pt x="116880" y="615503"/>
                      </a:lnTo>
                      <a:lnTo>
                        <a:pt x="110406" y="587278"/>
                      </a:lnTo>
                      <a:lnTo>
                        <a:pt x="126973" y="590730"/>
                      </a:lnTo>
                      <a:lnTo>
                        <a:pt x="127729" y="577595"/>
                      </a:lnTo>
                      <a:lnTo>
                        <a:pt x="118546" y="564383"/>
                      </a:lnTo>
                      <a:lnTo>
                        <a:pt x="120882" y="543225"/>
                      </a:lnTo>
                      <a:lnTo>
                        <a:pt x="96072" y="512604"/>
                      </a:lnTo>
                      <a:lnTo>
                        <a:pt x="58110" y="501977"/>
                      </a:lnTo>
                      <a:lnTo>
                        <a:pt x="51279" y="481692"/>
                      </a:lnTo>
                      <a:lnTo>
                        <a:pt x="34224" y="469325"/>
                      </a:lnTo>
                      <a:lnTo>
                        <a:pt x="30114" y="461690"/>
                      </a:lnTo>
                      <a:lnTo>
                        <a:pt x="26652" y="446472"/>
                      </a:lnTo>
                      <a:lnTo>
                        <a:pt x="27456" y="436050"/>
                      </a:lnTo>
                      <a:lnTo>
                        <a:pt x="13438" y="429933"/>
                      </a:lnTo>
                      <a:lnTo>
                        <a:pt x="5851" y="432640"/>
                      </a:lnTo>
                      <a:lnTo>
                        <a:pt x="0" y="407673"/>
                      </a:lnTo>
                      <a:lnTo>
                        <a:pt x="6571" y="401470"/>
                      </a:lnTo>
                      <a:lnTo>
                        <a:pt x="3391" y="395115"/>
                      </a:lnTo>
                      <a:lnTo>
                        <a:pt x="25426" y="382241"/>
                      </a:lnTo>
                      <a:lnTo>
                        <a:pt x="41375" y="376894"/>
                      </a:lnTo>
                      <a:lnTo>
                        <a:pt x="65809" y="380560"/>
                      </a:lnTo>
                      <a:lnTo>
                        <a:pt x="74537" y="363065"/>
                      </a:lnTo>
                      <a:lnTo>
                        <a:pt x="104145" y="359798"/>
                      </a:lnTo>
                      <a:lnTo>
                        <a:pt x="112373" y="348860"/>
                      </a:lnTo>
                      <a:lnTo>
                        <a:pt x="148746" y="333868"/>
                      </a:lnTo>
                      <a:lnTo>
                        <a:pt x="151991" y="327590"/>
                      </a:lnTo>
                      <a:lnTo>
                        <a:pt x="150148" y="311697"/>
                      </a:lnTo>
                      <a:lnTo>
                        <a:pt x="165984" y="304412"/>
                      </a:lnTo>
                      <a:lnTo>
                        <a:pt x="145207" y="255315"/>
                      </a:lnTo>
                      <a:lnTo>
                        <a:pt x="190933" y="243902"/>
                      </a:lnTo>
                      <a:lnTo>
                        <a:pt x="202748" y="237523"/>
                      </a:lnTo>
                      <a:lnTo>
                        <a:pt x="219404" y="185672"/>
                      </a:lnTo>
                      <a:lnTo>
                        <a:pt x="265195" y="195276"/>
                      </a:lnTo>
                      <a:lnTo>
                        <a:pt x="278033" y="182075"/>
                      </a:lnTo>
                      <a:lnTo>
                        <a:pt x="279136" y="152554"/>
                      </a:lnTo>
                      <a:lnTo>
                        <a:pt x="298307" y="149787"/>
                      </a:lnTo>
                      <a:lnTo>
                        <a:pt x="315877" y="129981"/>
                      </a:lnTo>
                      <a:lnTo>
                        <a:pt x="324910" y="127525"/>
                      </a:lnTo>
                      <a:lnTo>
                        <a:pt x="330970" y="148296"/>
                      </a:lnTo>
                      <a:lnTo>
                        <a:pt x="350371" y="163976"/>
                      </a:lnTo>
                      <a:lnTo>
                        <a:pt x="383298" y="175022"/>
                      </a:lnTo>
                      <a:lnTo>
                        <a:pt x="399225" y="198561"/>
                      </a:lnTo>
                      <a:lnTo>
                        <a:pt x="390337" y="232352"/>
                      </a:lnTo>
                      <a:lnTo>
                        <a:pt x="398642" y="244788"/>
                      </a:lnTo>
                      <a:lnTo>
                        <a:pt x="426072" y="249677"/>
                      </a:lnTo>
                      <a:lnTo>
                        <a:pt x="457161" y="253662"/>
                      </a:lnTo>
                      <a:lnTo>
                        <a:pt x="485049" y="271381"/>
                      </a:lnTo>
                      <a:lnTo>
                        <a:pt x="499313" y="274526"/>
                      </a:lnTo>
                      <a:lnTo>
                        <a:pt x="509829" y="300511"/>
                      </a:lnTo>
                      <a:lnTo>
                        <a:pt x="523377" y="317127"/>
                      </a:lnTo>
                      <a:lnTo>
                        <a:pt x="548823" y="316478"/>
                      </a:lnTo>
                      <a:lnTo>
                        <a:pt x="596467" y="322729"/>
                      </a:lnTo>
                      <a:lnTo>
                        <a:pt x="627168" y="318852"/>
                      </a:lnTo>
                      <a:lnTo>
                        <a:pt x="649955" y="323002"/>
                      </a:lnTo>
                      <a:lnTo>
                        <a:pt x="684099" y="339868"/>
                      </a:lnTo>
                      <a:lnTo>
                        <a:pt x="712030" y="339844"/>
                      </a:lnTo>
                      <a:lnTo>
                        <a:pt x="722249" y="348441"/>
                      </a:lnTo>
                      <a:lnTo>
                        <a:pt x="749124" y="333580"/>
                      </a:lnTo>
                      <a:lnTo>
                        <a:pt x="786413" y="323931"/>
                      </a:lnTo>
                      <a:lnTo>
                        <a:pt x="821010" y="322875"/>
                      </a:lnTo>
                      <a:lnTo>
                        <a:pt x="847982" y="313062"/>
                      </a:lnTo>
                      <a:lnTo>
                        <a:pt x="864546" y="298058"/>
                      </a:lnTo>
                      <a:lnTo>
                        <a:pt x="880702" y="288599"/>
                      </a:lnTo>
                      <a:lnTo>
                        <a:pt x="876965" y="279283"/>
                      </a:lnTo>
                      <a:lnTo>
                        <a:pt x="869594" y="268400"/>
                      </a:lnTo>
                      <a:lnTo>
                        <a:pt x="881711" y="250048"/>
                      </a:lnTo>
                      <a:lnTo>
                        <a:pt x="894701" y="252630"/>
                      </a:lnTo>
                      <a:lnTo>
                        <a:pt x="918426" y="258410"/>
                      </a:lnTo>
                      <a:lnTo>
                        <a:pt x="941427" y="243250"/>
                      </a:lnTo>
                      <a:lnTo>
                        <a:pt x="976622" y="232136"/>
                      </a:lnTo>
                      <a:lnTo>
                        <a:pt x="993536" y="213070"/>
                      </a:lnTo>
                      <a:lnTo>
                        <a:pt x="1009782" y="204822"/>
                      </a:lnTo>
                      <a:lnTo>
                        <a:pt x="1043313" y="200967"/>
                      </a:lnTo>
                      <a:lnTo>
                        <a:pt x="1061524" y="204243"/>
                      </a:lnTo>
                      <a:lnTo>
                        <a:pt x="1064053" y="193904"/>
                      </a:lnTo>
                      <a:lnTo>
                        <a:pt x="1043134" y="173451"/>
                      </a:lnTo>
                      <a:lnTo>
                        <a:pt x="1024612" y="164045"/>
                      </a:lnTo>
                      <a:lnTo>
                        <a:pt x="1006870" y="174900"/>
                      </a:lnTo>
                      <a:lnTo>
                        <a:pt x="984098" y="170326"/>
                      </a:lnTo>
                      <a:lnTo>
                        <a:pt x="971030" y="174054"/>
                      </a:lnTo>
                      <a:lnTo>
                        <a:pt x="965085" y="162021"/>
                      </a:lnTo>
                      <a:lnTo>
                        <a:pt x="981393" y="132380"/>
                      </a:lnTo>
                      <a:lnTo>
                        <a:pt x="992634" y="109791"/>
                      </a:lnTo>
                      <a:lnTo>
                        <a:pt x="1020344" y="121128"/>
                      </a:lnTo>
                      <a:lnTo>
                        <a:pt x="1052873" y="102125"/>
                      </a:lnTo>
                      <a:lnTo>
                        <a:pt x="1052663" y="88810"/>
                      </a:lnTo>
                      <a:lnTo>
                        <a:pt x="1073499" y="56423"/>
                      </a:lnTo>
                      <a:lnTo>
                        <a:pt x="1086336" y="46552"/>
                      </a:lnTo>
                      <a:lnTo>
                        <a:pt x="1086050" y="29459"/>
                      </a:lnTo>
                      <a:lnTo>
                        <a:pt x="1073385" y="22064"/>
                      </a:lnTo>
                      <a:lnTo>
                        <a:pt x="1092451" y="6512"/>
                      </a:lnTo>
                      <a:lnTo>
                        <a:pt x="1121134" y="851"/>
                      </a:lnTo>
                      <a:close/>
                    </a:path>
                  </a:pathLst>
                </a:custGeom>
                <a:solidFill>
                  <a:schemeClr val="accent1"/>
                </a:solidFill>
                <a:ln cap="rnd" w="3175">
                  <a:solidFill>
                    <a:srgbClr val="009fdf">
                      <a:lumMod val="60000"/>
                      <a:lumOff val="40000"/>
                    </a:srgbClr>
                  </a:solidFill>
                </a:ln>
              </p:spPr>
              <p:style>
                <a:lnRef idx="2">
                  <a:schemeClr val="accent1">
                    <a:shade val="50000"/>
                  </a:schemeClr>
                </a:lnRef>
                <a:fillRef idx="1">
                  <a:schemeClr val="accent1"/>
                </a:fillRef>
                <a:effectRef idx="0">
                  <a:schemeClr val="accent1"/>
                </a:effectRef>
                <a:fontRef idx="minor"/>
              </p:style>
              <p:txBody>
                <a:bodyPr numCol="1" spcCol="0" horzOverflow="overflow" lIns="72000" rIns="72000" tIns="72000" bIns="72000" anchor="ctr">
                  <a:noAutofit/>
                </a:bodyPr>
                <a:p>
                  <a:pPr algn="ctr" defTabSz="457200">
                    <a:lnSpc>
                      <a:spcPct val="100000"/>
                    </a:lnSpc>
                    <a:tabLst>
                      <a:tab algn="l" pos="0"/>
                    </a:tabLst>
                  </a:pPr>
                  <a:endParaRPr b="0" lang="de-DE" sz="1600" spc="-1" strike="noStrike">
                    <a:solidFill>
                      <a:srgbClr val="000000"/>
                    </a:solidFill>
                    <a:latin typeface="Arial"/>
                    <a:ea typeface="Arial"/>
                  </a:endParaRPr>
                </a:p>
              </p:txBody>
            </p:sp>
            <p:sp>
              <p:nvSpPr>
                <p:cNvPr id="415" name="Freeform 54"/>
                <p:cNvSpPr/>
                <p:nvPr/>
              </p:nvSpPr>
              <p:spPr>
                <a:xfrm>
                  <a:off x="7507080" y="2982240"/>
                  <a:ext cx="101520" cy="59400"/>
                </a:xfrm>
                <a:custGeom>
                  <a:avLst/>
                  <a:gdLst/>
                  <a:ahLst/>
                  <a:rect l="l" t="t" r="r" b="b"/>
                  <a:pathLst>
                    <a:path w="102029" h="59718">
                      <a:moveTo>
                        <a:pt x="82443" y="8975"/>
                      </a:moveTo>
                      <a:lnTo>
                        <a:pt x="83336" y="14169"/>
                      </a:lnTo>
                      <a:lnTo>
                        <a:pt x="79806" y="21319"/>
                      </a:lnTo>
                      <a:lnTo>
                        <a:pt x="90250" y="26624"/>
                      </a:lnTo>
                      <a:lnTo>
                        <a:pt x="102028" y="27415"/>
                      </a:lnTo>
                      <a:lnTo>
                        <a:pt x="100197" y="39319"/>
                      </a:lnTo>
                      <a:lnTo>
                        <a:pt x="90028" y="44202"/>
                      </a:lnTo>
                      <a:lnTo>
                        <a:pt x="72948" y="40576"/>
                      </a:lnTo>
                      <a:lnTo>
                        <a:pt x="67949" y="52230"/>
                      </a:lnTo>
                      <a:lnTo>
                        <a:pt x="56953" y="53146"/>
                      </a:lnTo>
                      <a:lnTo>
                        <a:pt x="52953" y="48573"/>
                      </a:lnTo>
                      <a:lnTo>
                        <a:pt x="40012" y="58350"/>
                      </a:lnTo>
                      <a:lnTo>
                        <a:pt x="28882" y="59717"/>
                      </a:lnTo>
                      <a:lnTo>
                        <a:pt x="18951" y="53550"/>
                      </a:lnTo>
                      <a:lnTo>
                        <a:pt x="11022" y="40881"/>
                      </a:lnTo>
                      <a:lnTo>
                        <a:pt x="0" y="45414"/>
                      </a:lnTo>
                      <a:lnTo>
                        <a:pt x="341" y="32293"/>
                      </a:lnTo>
                      <a:lnTo>
                        <a:pt x="17223" y="15920"/>
                      </a:lnTo>
                      <a:lnTo>
                        <a:pt x="16480" y="8484"/>
                      </a:lnTo>
                      <a:lnTo>
                        <a:pt x="26998" y="11180"/>
                      </a:lnTo>
                      <a:lnTo>
                        <a:pt x="33335" y="6175"/>
                      </a:lnTo>
                      <a:lnTo>
                        <a:pt x="52968" y="6380"/>
                      </a:lnTo>
                      <a:lnTo>
                        <a:pt x="57707" y="0"/>
                      </a:lnTo>
                      <a:close/>
                    </a:path>
                  </a:pathLst>
                </a:custGeom>
                <a:solidFill>
                  <a:schemeClr val="accent1"/>
                </a:solidFill>
                <a:ln cap="rnd" w="3175">
                  <a:solidFill>
                    <a:srgbClr val="009fdf">
                      <a:lumMod val="60000"/>
                      <a:lumOff val="40000"/>
                    </a:srgbClr>
                  </a:solidFill>
                </a:ln>
              </p:spPr>
              <p:style>
                <a:lnRef idx="2">
                  <a:schemeClr val="accent1">
                    <a:shade val="50000"/>
                  </a:schemeClr>
                </a:lnRef>
                <a:fillRef idx="1">
                  <a:schemeClr val="accent1"/>
                </a:fillRef>
                <a:effectRef idx="0">
                  <a:schemeClr val="accent1"/>
                </a:effectRef>
                <a:fontRef idx="minor"/>
              </p:style>
              <p:txBody>
                <a:bodyPr numCol="1" spcCol="0" horzOverflow="overflow" lIns="72000" rIns="72000" tIns="29520" bIns="29520" anchor="ctr">
                  <a:noAutofit/>
                </a:bodyPr>
                <a:p>
                  <a:pPr algn="ctr" defTabSz="457200">
                    <a:lnSpc>
                      <a:spcPct val="100000"/>
                    </a:lnSpc>
                    <a:tabLst>
                      <a:tab algn="l" pos="0"/>
                    </a:tabLst>
                  </a:pPr>
                  <a:endParaRPr b="0" lang="de-DE" sz="1600" spc="-1" strike="noStrike">
                    <a:solidFill>
                      <a:srgbClr val="000000"/>
                    </a:solidFill>
                    <a:latin typeface="Arial"/>
                    <a:ea typeface="Arial"/>
                  </a:endParaRPr>
                </a:p>
              </p:txBody>
            </p:sp>
            <p:sp>
              <p:nvSpPr>
                <p:cNvPr id="416" name="Freeform 55"/>
                <p:cNvSpPr/>
                <p:nvPr/>
              </p:nvSpPr>
              <p:spPr>
                <a:xfrm>
                  <a:off x="7170120" y="3933000"/>
                  <a:ext cx="138960" cy="142920"/>
                </a:xfrm>
                <a:custGeom>
                  <a:avLst/>
                  <a:gdLst/>
                  <a:ahLst/>
                  <a:rect l="l" t="t" r="r" b="b"/>
                  <a:pathLst>
                    <a:path w="139436" h="143603">
                      <a:moveTo>
                        <a:pt x="132651" y="128423"/>
                      </a:moveTo>
                      <a:lnTo>
                        <a:pt x="122149" y="128659"/>
                      </a:lnTo>
                      <a:lnTo>
                        <a:pt x="106043" y="124134"/>
                      </a:lnTo>
                      <a:lnTo>
                        <a:pt x="91245" y="124402"/>
                      </a:lnTo>
                      <a:lnTo>
                        <a:pt x="63902" y="128441"/>
                      </a:lnTo>
                      <a:lnTo>
                        <a:pt x="47876" y="135118"/>
                      </a:lnTo>
                      <a:lnTo>
                        <a:pt x="25020" y="143602"/>
                      </a:lnTo>
                      <a:lnTo>
                        <a:pt x="20560" y="142994"/>
                      </a:lnTo>
                      <a:lnTo>
                        <a:pt x="22333" y="123941"/>
                      </a:lnTo>
                      <a:lnTo>
                        <a:pt x="24540" y="121044"/>
                      </a:lnTo>
                      <a:lnTo>
                        <a:pt x="23838" y="111922"/>
                      </a:lnTo>
                      <a:lnTo>
                        <a:pt x="14062" y="102221"/>
                      </a:lnTo>
                      <a:lnTo>
                        <a:pt x="6729" y="100672"/>
                      </a:lnTo>
                      <a:lnTo>
                        <a:pt x="0" y="94310"/>
                      </a:lnTo>
                      <a:lnTo>
                        <a:pt x="5019" y="84011"/>
                      </a:lnTo>
                      <a:lnTo>
                        <a:pt x="2711" y="72797"/>
                      </a:lnTo>
                      <a:lnTo>
                        <a:pt x="3776" y="66047"/>
                      </a:lnTo>
                      <a:lnTo>
                        <a:pt x="7436" y="66020"/>
                      </a:lnTo>
                      <a:lnTo>
                        <a:pt x="8796" y="55891"/>
                      </a:lnTo>
                      <a:lnTo>
                        <a:pt x="7013" y="51404"/>
                      </a:lnTo>
                      <a:lnTo>
                        <a:pt x="9219" y="48173"/>
                      </a:lnTo>
                      <a:lnTo>
                        <a:pt x="17792" y="45378"/>
                      </a:lnTo>
                      <a:lnTo>
                        <a:pt x="12090" y="26753"/>
                      </a:lnTo>
                      <a:lnTo>
                        <a:pt x="6769" y="17127"/>
                      </a:lnTo>
                      <a:lnTo>
                        <a:pt x="8622" y="9215"/>
                      </a:lnTo>
                      <a:lnTo>
                        <a:pt x="13225" y="7407"/>
                      </a:lnTo>
                      <a:lnTo>
                        <a:pt x="16234" y="5288"/>
                      </a:lnTo>
                      <a:lnTo>
                        <a:pt x="22624" y="8790"/>
                      </a:lnTo>
                      <a:lnTo>
                        <a:pt x="40450" y="8982"/>
                      </a:lnTo>
                      <a:lnTo>
                        <a:pt x="44698" y="2176"/>
                      </a:lnTo>
                      <a:lnTo>
                        <a:pt x="48679" y="2631"/>
                      </a:lnTo>
                      <a:lnTo>
                        <a:pt x="55344" y="0"/>
                      </a:lnTo>
                      <a:lnTo>
                        <a:pt x="58917" y="9976"/>
                      </a:lnTo>
                      <a:lnTo>
                        <a:pt x="64307" y="7033"/>
                      </a:lnTo>
                      <a:lnTo>
                        <a:pt x="73831" y="3577"/>
                      </a:lnTo>
                      <a:lnTo>
                        <a:pt x="84211" y="8662"/>
                      </a:lnTo>
                      <a:lnTo>
                        <a:pt x="88245" y="16371"/>
                      </a:lnTo>
                      <a:lnTo>
                        <a:pt x="98624" y="21290"/>
                      </a:lnTo>
                      <a:lnTo>
                        <a:pt x="106698" y="15430"/>
                      </a:lnTo>
                      <a:lnTo>
                        <a:pt x="117513" y="14545"/>
                      </a:lnTo>
                      <a:lnTo>
                        <a:pt x="133311" y="20553"/>
                      </a:lnTo>
                      <a:lnTo>
                        <a:pt x="139435" y="53654"/>
                      </a:lnTo>
                      <a:lnTo>
                        <a:pt x="129708" y="73157"/>
                      </a:lnTo>
                      <a:lnTo>
                        <a:pt x="123689" y="99342"/>
                      </a:lnTo>
                      <a:lnTo>
                        <a:pt x="133699" y="119291"/>
                      </a:lnTo>
                      <a:close/>
                    </a:path>
                  </a:pathLst>
                </a:custGeom>
                <a:solidFill>
                  <a:schemeClr val="accent1">
                    <a:lumMod val="20000"/>
                    <a:lumOff val="80000"/>
                  </a:schemeClr>
                </a:solidFill>
                <a:ln cap="rnd" w="3175">
                  <a:solidFill>
                    <a:srgbClr val="009fdf">
                      <a:lumMod val="60000"/>
                      <a:lumOff val="40000"/>
                    </a:srgbClr>
                  </a:solidFill>
                </a:ln>
              </p:spPr>
              <p:style>
                <a:lnRef idx="2">
                  <a:schemeClr val="accent1">
                    <a:shade val="50000"/>
                  </a:schemeClr>
                </a:lnRef>
                <a:fillRef idx="1">
                  <a:schemeClr val="accent1"/>
                </a:fillRef>
                <a:effectRef idx="0">
                  <a:schemeClr val="accent1"/>
                </a:effectRef>
                <a:fontRef idx="minor"/>
              </p:style>
              <p:txBody>
                <a:bodyPr numCol="1" spcCol="0" horzOverflow="overflow" lIns="72000" rIns="72000" tIns="71280" bIns="71280" anchor="ctr">
                  <a:noAutofit/>
                </a:bodyPr>
                <a:p>
                  <a:pPr algn="ctr" defTabSz="457200">
                    <a:lnSpc>
                      <a:spcPct val="100000"/>
                    </a:lnSpc>
                    <a:tabLst>
                      <a:tab algn="l" pos="0"/>
                    </a:tabLst>
                  </a:pPr>
                  <a:endParaRPr b="0" lang="de-DE" sz="1600" spc="-1" strike="noStrike">
                    <a:solidFill>
                      <a:srgbClr val="000000"/>
                    </a:solidFill>
                    <a:latin typeface="Arial"/>
                    <a:ea typeface="Arial"/>
                  </a:endParaRPr>
                </a:p>
              </p:txBody>
            </p:sp>
            <p:sp>
              <p:nvSpPr>
                <p:cNvPr id="417" name="Freeform 56"/>
                <p:cNvSpPr/>
                <p:nvPr/>
              </p:nvSpPr>
              <p:spPr>
                <a:xfrm>
                  <a:off x="7563960" y="3878640"/>
                  <a:ext cx="172800" cy="257760"/>
                </a:xfrm>
                <a:custGeom>
                  <a:avLst/>
                  <a:gdLst/>
                  <a:ahLst/>
                  <a:rect l="l" t="t" r="r" b="b"/>
                  <a:pathLst>
                    <a:path w="173676" h="258555">
                      <a:moveTo>
                        <a:pt x="105881" y="246098"/>
                      </a:moveTo>
                      <a:lnTo>
                        <a:pt x="103007" y="244839"/>
                      </a:lnTo>
                      <a:lnTo>
                        <a:pt x="89343" y="247814"/>
                      </a:lnTo>
                      <a:lnTo>
                        <a:pt x="75315" y="244720"/>
                      </a:lnTo>
                      <a:lnTo>
                        <a:pt x="64346" y="246238"/>
                      </a:lnTo>
                      <a:lnTo>
                        <a:pt x="26784" y="245711"/>
                      </a:lnTo>
                      <a:lnTo>
                        <a:pt x="30155" y="227473"/>
                      </a:lnTo>
                      <a:lnTo>
                        <a:pt x="21133" y="212195"/>
                      </a:lnTo>
                      <a:lnTo>
                        <a:pt x="10602" y="208275"/>
                      </a:lnTo>
                      <a:lnTo>
                        <a:pt x="5912" y="197915"/>
                      </a:lnTo>
                      <a:lnTo>
                        <a:pt x="0" y="194599"/>
                      </a:lnTo>
                      <a:lnTo>
                        <a:pt x="265" y="188206"/>
                      </a:lnTo>
                      <a:lnTo>
                        <a:pt x="6203" y="171829"/>
                      </a:lnTo>
                      <a:lnTo>
                        <a:pt x="17182" y="149480"/>
                      </a:lnTo>
                      <a:lnTo>
                        <a:pt x="23865" y="149272"/>
                      </a:lnTo>
                      <a:lnTo>
                        <a:pt x="37612" y="135702"/>
                      </a:lnTo>
                      <a:lnTo>
                        <a:pt x="46363" y="135317"/>
                      </a:lnTo>
                      <a:lnTo>
                        <a:pt x="59322" y="144846"/>
                      </a:lnTo>
                      <a:lnTo>
                        <a:pt x="75179" y="137033"/>
                      </a:lnTo>
                      <a:lnTo>
                        <a:pt x="77338" y="127390"/>
                      </a:lnTo>
                      <a:lnTo>
                        <a:pt x="82523" y="118040"/>
                      </a:lnTo>
                      <a:lnTo>
                        <a:pt x="86100" y="106286"/>
                      </a:lnTo>
                      <a:lnTo>
                        <a:pt x="98444" y="96710"/>
                      </a:lnTo>
                      <a:lnTo>
                        <a:pt x="103102" y="80421"/>
                      </a:lnTo>
                      <a:lnTo>
                        <a:pt x="107999" y="75231"/>
                      </a:lnTo>
                      <a:lnTo>
                        <a:pt x="111255" y="63119"/>
                      </a:lnTo>
                      <a:lnTo>
                        <a:pt x="117355" y="48228"/>
                      </a:lnTo>
                      <a:lnTo>
                        <a:pt x="136801" y="30147"/>
                      </a:lnTo>
                      <a:lnTo>
                        <a:pt x="138020" y="22370"/>
                      </a:lnTo>
                      <a:lnTo>
                        <a:pt x="140536" y="18142"/>
                      </a:lnTo>
                      <a:lnTo>
                        <a:pt x="131399" y="8811"/>
                      </a:lnTo>
                      <a:lnTo>
                        <a:pt x="132142" y="1346"/>
                      </a:lnTo>
                      <a:lnTo>
                        <a:pt x="138657" y="0"/>
                      </a:lnTo>
                      <a:lnTo>
                        <a:pt x="147835" y="15011"/>
                      </a:lnTo>
                      <a:lnTo>
                        <a:pt x="149376" y="30539"/>
                      </a:lnTo>
                      <a:lnTo>
                        <a:pt x="148531" y="46062"/>
                      </a:lnTo>
                      <a:lnTo>
                        <a:pt x="161095" y="67269"/>
                      </a:lnTo>
                      <a:lnTo>
                        <a:pt x="148203" y="67041"/>
                      </a:lnTo>
                      <a:lnTo>
                        <a:pt x="141690" y="68700"/>
                      </a:lnTo>
                      <a:lnTo>
                        <a:pt x="131171" y="66359"/>
                      </a:lnTo>
                      <a:lnTo>
                        <a:pt x="126156" y="77354"/>
                      </a:lnTo>
                      <a:lnTo>
                        <a:pt x="139781" y="90939"/>
                      </a:lnTo>
                      <a:lnTo>
                        <a:pt x="149834" y="94888"/>
                      </a:lnTo>
                      <a:lnTo>
                        <a:pt x="153085" y="104512"/>
                      </a:lnTo>
                      <a:lnTo>
                        <a:pt x="160362" y="120524"/>
                      </a:lnTo>
                      <a:lnTo>
                        <a:pt x="156746" y="126812"/>
                      </a:lnTo>
                      <a:lnTo>
                        <a:pt x="145138" y="150314"/>
                      </a:lnTo>
                      <a:lnTo>
                        <a:pt x="139598" y="154521"/>
                      </a:lnTo>
                      <a:lnTo>
                        <a:pt x="137817" y="172475"/>
                      </a:lnTo>
                      <a:lnTo>
                        <a:pt x="140114" y="182223"/>
                      </a:lnTo>
                      <a:lnTo>
                        <a:pt x="138255" y="189117"/>
                      </a:lnTo>
                      <a:lnTo>
                        <a:pt x="149164" y="201195"/>
                      </a:lnTo>
                      <a:lnTo>
                        <a:pt x="151132" y="209495"/>
                      </a:lnTo>
                      <a:lnTo>
                        <a:pt x="159653" y="221422"/>
                      </a:lnTo>
                      <a:lnTo>
                        <a:pt x="170210" y="228856"/>
                      </a:lnTo>
                      <a:lnTo>
                        <a:pt x="171240" y="239394"/>
                      </a:lnTo>
                      <a:lnTo>
                        <a:pt x="173675" y="246086"/>
                      </a:lnTo>
                      <a:lnTo>
                        <a:pt x="172014" y="258554"/>
                      </a:lnTo>
                      <a:lnTo>
                        <a:pt x="153674" y="253097"/>
                      </a:lnTo>
                      <a:lnTo>
                        <a:pt x="135011" y="247004"/>
                      </a:lnTo>
                      <a:close/>
                    </a:path>
                  </a:pathLst>
                </a:custGeom>
                <a:solidFill>
                  <a:schemeClr val="accent1"/>
                </a:solidFill>
                <a:ln cap="rnd" w="3175">
                  <a:solidFill>
                    <a:srgbClr val="009fdf">
                      <a:lumMod val="60000"/>
                      <a:lumOff val="40000"/>
                    </a:srgbClr>
                  </a:solidFill>
                </a:ln>
              </p:spPr>
              <p:style>
                <a:lnRef idx="2">
                  <a:schemeClr val="accent1">
                    <a:shade val="50000"/>
                  </a:schemeClr>
                </a:lnRef>
                <a:fillRef idx="1">
                  <a:schemeClr val="accent1"/>
                </a:fillRef>
                <a:effectRef idx="0">
                  <a:schemeClr val="accent1"/>
                </a:effectRef>
                <a:fontRef idx="minor"/>
              </p:style>
              <p:txBody>
                <a:bodyPr numCol="1" spcCol="0" horzOverflow="overflow" lIns="72000" rIns="72000" tIns="72000" bIns="72000" anchor="ctr">
                  <a:noAutofit/>
                </a:bodyPr>
                <a:p>
                  <a:pPr algn="ctr" defTabSz="457200">
                    <a:lnSpc>
                      <a:spcPct val="100000"/>
                    </a:lnSpc>
                    <a:tabLst>
                      <a:tab algn="l" pos="0"/>
                    </a:tabLst>
                  </a:pPr>
                  <a:endParaRPr b="0" lang="de-DE" sz="1600" spc="-1" strike="noStrike">
                    <a:solidFill>
                      <a:srgbClr val="000000"/>
                    </a:solidFill>
                    <a:latin typeface="Arial"/>
                    <a:ea typeface="Arial"/>
                  </a:endParaRPr>
                </a:p>
              </p:txBody>
            </p:sp>
            <p:sp>
              <p:nvSpPr>
                <p:cNvPr id="418" name="Freeform 57"/>
                <p:cNvSpPr/>
                <p:nvPr/>
              </p:nvSpPr>
              <p:spPr>
                <a:xfrm>
                  <a:off x="7648920" y="4055040"/>
                  <a:ext cx="437040" cy="428040"/>
                </a:xfrm>
                <a:custGeom>
                  <a:avLst/>
                  <a:gdLst/>
                  <a:ahLst/>
                  <a:rect l="l" t="t" r="r" b="b"/>
                  <a:pathLst>
                    <a:path w="438383" h="429210">
                      <a:moveTo>
                        <a:pt x="430527" y="40400"/>
                      </a:moveTo>
                      <a:lnTo>
                        <a:pt x="429131" y="67413"/>
                      </a:lnTo>
                      <a:lnTo>
                        <a:pt x="438382" y="70540"/>
                      </a:lnTo>
                      <a:lnTo>
                        <a:pt x="430961" y="78740"/>
                      </a:lnTo>
                      <a:lnTo>
                        <a:pt x="422094" y="84872"/>
                      </a:lnTo>
                      <a:lnTo>
                        <a:pt x="413268" y="96912"/>
                      </a:lnTo>
                      <a:lnTo>
                        <a:pt x="408412" y="107644"/>
                      </a:lnTo>
                      <a:lnTo>
                        <a:pt x="407113" y="126173"/>
                      </a:lnTo>
                      <a:lnTo>
                        <a:pt x="401766" y="134993"/>
                      </a:lnTo>
                      <a:lnTo>
                        <a:pt x="401573" y="152396"/>
                      </a:lnTo>
                      <a:lnTo>
                        <a:pt x="394935" y="158832"/>
                      </a:lnTo>
                      <a:lnTo>
                        <a:pt x="394079" y="172572"/>
                      </a:lnTo>
                      <a:lnTo>
                        <a:pt x="390909" y="174353"/>
                      </a:lnTo>
                      <a:lnTo>
                        <a:pt x="388773" y="186988"/>
                      </a:lnTo>
                      <a:lnTo>
                        <a:pt x="394577" y="197492"/>
                      </a:lnTo>
                      <a:lnTo>
                        <a:pt x="396045" y="225374"/>
                      </a:lnTo>
                      <a:lnTo>
                        <a:pt x="400200" y="246661"/>
                      </a:lnTo>
                      <a:lnTo>
                        <a:pt x="397891" y="258702"/>
                      </a:lnTo>
                      <a:lnTo>
                        <a:pt x="402509" y="272141"/>
                      </a:lnTo>
                      <a:lnTo>
                        <a:pt x="415896" y="285125"/>
                      </a:lnTo>
                      <a:lnTo>
                        <a:pt x="428361" y="314380"/>
                      </a:lnTo>
                      <a:lnTo>
                        <a:pt x="419268" y="312015"/>
                      </a:lnTo>
                      <a:lnTo>
                        <a:pt x="388264" y="315938"/>
                      </a:lnTo>
                      <a:lnTo>
                        <a:pt x="382077" y="318716"/>
                      </a:lnTo>
                      <a:lnTo>
                        <a:pt x="375499" y="333564"/>
                      </a:lnTo>
                      <a:lnTo>
                        <a:pt x="380665" y="343832"/>
                      </a:lnTo>
                      <a:lnTo>
                        <a:pt x="376565" y="371440"/>
                      </a:lnTo>
                      <a:lnTo>
                        <a:pt x="373707" y="394901"/>
                      </a:lnTo>
                      <a:lnTo>
                        <a:pt x="379943" y="399065"/>
                      </a:lnTo>
                      <a:lnTo>
                        <a:pt x="396081" y="408180"/>
                      </a:lnTo>
                      <a:lnTo>
                        <a:pt x="402416" y="403920"/>
                      </a:lnTo>
                      <a:lnTo>
                        <a:pt x="404346" y="429209"/>
                      </a:lnTo>
                      <a:lnTo>
                        <a:pt x="386680" y="429014"/>
                      </a:lnTo>
                      <a:lnTo>
                        <a:pt x="377200" y="416099"/>
                      </a:lnTo>
                      <a:lnTo>
                        <a:pt x="368695" y="406112"/>
                      </a:lnTo>
                      <a:lnTo>
                        <a:pt x="351006" y="402839"/>
                      </a:lnTo>
                      <a:lnTo>
                        <a:pt x="345827" y="390576"/>
                      </a:lnTo>
                      <a:lnTo>
                        <a:pt x="331716" y="397962"/>
                      </a:lnTo>
                      <a:lnTo>
                        <a:pt x="313232" y="394698"/>
                      </a:lnTo>
                      <a:lnTo>
                        <a:pt x="305518" y="384080"/>
                      </a:lnTo>
                      <a:lnTo>
                        <a:pt x="290862" y="381924"/>
                      </a:lnTo>
                      <a:lnTo>
                        <a:pt x="280044" y="382488"/>
                      </a:lnTo>
                      <a:lnTo>
                        <a:pt x="278720" y="375226"/>
                      </a:lnTo>
                      <a:lnTo>
                        <a:pt x="270757" y="374638"/>
                      </a:lnTo>
                      <a:lnTo>
                        <a:pt x="260245" y="373261"/>
                      </a:lnTo>
                      <a:lnTo>
                        <a:pt x="245946" y="376759"/>
                      </a:lnTo>
                      <a:lnTo>
                        <a:pt x="235916" y="376185"/>
                      </a:lnTo>
                      <a:lnTo>
                        <a:pt x="230202" y="378328"/>
                      </a:lnTo>
                      <a:lnTo>
                        <a:pt x="231437" y="350562"/>
                      </a:lnTo>
                      <a:lnTo>
                        <a:pt x="223737" y="341917"/>
                      </a:lnTo>
                      <a:lnTo>
                        <a:pt x="222043" y="327603"/>
                      </a:lnTo>
                      <a:lnTo>
                        <a:pt x="225444" y="313587"/>
                      </a:lnTo>
                      <a:lnTo>
                        <a:pt x="220766" y="304624"/>
                      </a:lnTo>
                      <a:lnTo>
                        <a:pt x="220343" y="290018"/>
                      </a:lnTo>
                      <a:lnTo>
                        <a:pt x="192335" y="290221"/>
                      </a:lnTo>
                      <a:lnTo>
                        <a:pt x="194345" y="281863"/>
                      </a:lnTo>
                      <a:lnTo>
                        <a:pt x="182568" y="281950"/>
                      </a:lnTo>
                      <a:lnTo>
                        <a:pt x="181324" y="285969"/>
                      </a:lnTo>
                      <a:lnTo>
                        <a:pt x="167007" y="286875"/>
                      </a:lnTo>
                      <a:lnTo>
                        <a:pt x="161216" y="300400"/>
                      </a:lnTo>
                      <a:lnTo>
                        <a:pt x="157757" y="306207"/>
                      </a:lnTo>
                      <a:lnTo>
                        <a:pt x="145002" y="302927"/>
                      </a:lnTo>
                      <a:lnTo>
                        <a:pt x="137386" y="306194"/>
                      </a:lnTo>
                      <a:lnTo>
                        <a:pt x="122122" y="308073"/>
                      </a:lnTo>
                      <a:lnTo>
                        <a:pt x="113282" y="295931"/>
                      </a:lnTo>
                      <a:lnTo>
                        <a:pt x="107978" y="288427"/>
                      </a:lnTo>
                      <a:lnTo>
                        <a:pt x="101353" y="274520"/>
                      </a:lnTo>
                      <a:lnTo>
                        <a:pt x="95659" y="257254"/>
                      </a:lnTo>
                      <a:lnTo>
                        <a:pt x="27544" y="256947"/>
                      </a:lnTo>
                      <a:lnTo>
                        <a:pt x="19448" y="259731"/>
                      </a:lnTo>
                      <a:lnTo>
                        <a:pt x="12761" y="259297"/>
                      </a:lnTo>
                      <a:lnTo>
                        <a:pt x="3234" y="262411"/>
                      </a:lnTo>
                      <a:lnTo>
                        <a:pt x="0" y="255227"/>
                      </a:lnTo>
                      <a:lnTo>
                        <a:pt x="5872" y="252781"/>
                      </a:lnTo>
                      <a:lnTo>
                        <a:pt x="6594" y="242689"/>
                      </a:lnTo>
                      <a:lnTo>
                        <a:pt x="10371" y="236739"/>
                      </a:lnTo>
                      <a:lnTo>
                        <a:pt x="18771" y="231876"/>
                      </a:lnTo>
                      <a:lnTo>
                        <a:pt x="24835" y="234233"/>
                      </a:lnTo>
                      <a:lnTo>
                        <a:pt x="32729" y="225377"/>
                      </a:lnTo>
                      <a:lnTo>
                        <a:pt x="45303" y="225605"/>
                      </a:lnTo>
                      <a:lnTo>
                        <a:pt x="46782" y="232154"/>
                      </a:lnTo>
                      <a:lnTo>
                        <a:pt x="55405" y="236252"/>
                      </a:lnTo>
                      <a:lnTo>
                        <a:pt x="68987" y="221755"/>
                      </a:lnTo>
                      <a:lnTo>
                        <a:pt x="82433" y="210464"/>
                      </a:lnTo>
                      <a:lnTo>
                        <a:pt x="88267" y="203067"/>
                      </a:lnTo>
                      <a:lnTo>
                        <a:pt x="87494" y="184058"/>
                      </a:lnTo>
                      <a:lnTo>
                        <a:pt x="97519" y="161623"/>
                      </a:lnTo>
                      <a:lnTo>
                        <a:pt x="108096" y="149730"/>
                      </a:lnTo>
                      <a:lnTo>
                        <a:pt x="123294" y="138603"/>
                      </a:lnTo>
                      <a:lnTo>
                        <a:pt x="125947" y="131240"/>
                      </a:lnTo>
                      <a:lnTo>
                        <a:pt x="126522" y="122774"/>
                      </a:lnTo>
                      <a:lnTo>
                        <a:pt x="130284" y="114765"/>
                      </a:lnTo>
                      <a:lnTo>
                        <a:pt x="129075" y="101682"/>
                      </a:lnTo>
                      <a:lnTo>
                        <a:pt x="131953" y="81224"/>
                      </a:lnTo>
                      <a:lnTo>
                        <a:pt x="136464" y="66816"/>
                      </a:lnTo>
                      <a:lnTo>
                        <a:pt x="143378" y="54465"/>
                      </a:lnTo>
                      <a:lnTo>
                        <a:pt x="144746" y="40511"/>
                      </a:lnTo>
                      <a:lnTo>
                        <a:pt x="146821" y="24389"/>
                      </a:lnTo>
                      <a:lnTo>
                        <a:pt x="155808" y="12647"/>
                      </a:lnTo>
                      <a:lnTo>
                        <a:pt x="168168" y="5197"/>
                      </a:lnTo>
                      <a:lnTo>
                        <a:pt x="187163" y="13060"/>
                      </a:lnTo>
                      <a:lnTo>
                        <a:pt x="201864" y="21592"/>
                      </a:lnTo>
                      <a:lnTo>
                        <a:pt x="218750" y="23868"/>
                      </a:lnTo>
                      <a:lnTo>
                        <a:pt x="235970" y="28381"/>
                      </a:lnTo>
                      <a:lnTo>
                        <a:pt x="242871" y="14416"/>
                      </a:lnTo>
                      <a:lnTo>
                        <a:pt x="246042" y="12633"/>
                      </a:lnTo>
                      <a:lnTo>
                        <a:pt x="256562" y="14956"/>
                      </a:lnTo>
                      <a:lnTo>
                        <a:pt x="282260" y="3409"/>
                      </a:lnTo>
                      <a:lnTo>
                        <a:pt x="291366" y="8304"/>
                      </a:lnTo>
                      <a:lnTo>
                        <a:pt x="298840" y="7610"/>
                      </a:lnTo>
                      <a:lnTo>
                        <a:pt x="302302" y="1983"/>
                      </a:lnTo>
                      <a:lnTo>
                        <a:pt x="310880" y="0"/>
                      </a:lnTo>
                      <a:lnTo>
                        <a:pt x="328246" y="2435"/>
                      </a:lnTo>
                      <a:lnTo>
                        <a:pt x="343049" y="2968"/>
                      </a:lnTo>
                      <a:lnTo>
                        <a:pt x="350670" y="513"/>
                      </a:lnTo>
                      <a:lnTo>
                        <a:pt x="364652" y="19611"/>
                      </a:lnTo>
                      <a:lnTo>
                        <a:pt x="375017" y="22416"/>
                      </a:lnTo>
                      <a:lnTo>
                        <a:pt x="381196" y="18532"/>
                      </a:lnTo>
                      <a:lnTo>
                        <a:pt x="391869" y="20054"/>
                      </a:lnTo>
                      <a:lnTo>
                        <a:pt x="404724" y="15162"/>
                      </a:lnTo>
                      <a:lnTo>
                        <a:pt x="410207" y="25039"/>
                      </a:lnTo>
                      <a:close/>
                    </a:path>
                  </a:pathLst>
                </a:custGeom>
                <a:solidFill>
                  <a:schemeClr val="accent1">
                    <a:lumMod val="20000"/>
                    <a:lumOff val="80000"/>
                  </a:schemeClr>
                </a:solidFill>
                <a:ln cap="rnd" w="3175">
                  <a:solidFill>
                    <a:srgbClr val="009fdf">
                      <a:lumMod val="60000"/>
                      <a:lumOff val="40000"/>
                    </a:srgbClr>
                  </a:solidFill>
                </a:ln>
              </p:spPr>
              <p:style>
                <a:lnRef idx="2">
                  <a:schemeClr val="accent1">
                    <a:shade val="50000"/>
                  </a:schemeClr>
                </a:lnRef>
                <a:fillRef idx="1">
                  <a:schemeClr val="accent1"/>
                </a:fillRef>
                <a:effectRef idx="0">
                  <a:schemeClr val="accent1"/>
                </a:effectRef>
                <a:fontRef idx="minor"/>
              </p:style>
              <p:txBody>
                <a:bodyPr numCol="1" spcCol="0" horzOverflow="overflow" lIns="72000" rIns="72000" tIns="72000" bIns="72000" anchor="ctr">
                  <a:noAutofit/>
                </a:bodyPr>
                <a:p>
                  <a:pPr algn="ctr" defTabSz="457200">
                    <a:lnSpc>
                      <a:spcPct val="100000"/>
                    </a:lnSpc>
                    <a:tabLst>
                      <a:tab algn="l" pos="0"/>
                    </a:tabLst>
                  </a:pPr>
                  <a:endParaRPr b="0" lang="de-DE" sz="1600" spc="-1" strike="noStrike">
                    <a:solidFill>
                      <a:srgbClr val="000000"/>
                    </a:solidFill>
                    <a:latin typeface="Arial"/>
                    <a:ea typeface="Arial"/>
                  </a:endParaRPr>
                </a:p>
              </p:txBody>
            </p:sp>
            <p:sp>
              <p:nvSpPr>
                <p:cNvPr id="419" name="Freeform 58"/>
                <p:cNvSpPr/>
                <p:nvPr/>
              </p:nvSpPr>
              <p:spPr>
                <a:xfrm>
                  <a:off x="7623720" y="4090320"/>
                  <a:ext cx="169200" cy="201600"/>
                </a:xfrm>
                <a:custGeom>
                  <a:avLst/>
                  <a:gdLst/>
                  <a:ahLst/>
                  <a:rect l="l" t="t" r="r" b="b"/>
                  <a:pathLst>
                    <a:path w="169874" h="202483">
                      <a:moveTo>
                        <a:pt x="43898" y="196538"/>
                      </a:moveTo>
                      <a:lnTo>
                        <a:pt x="35248" y="188603"/>
                      </a:lnTo>
                      <a:lnTo>
                        <a:pt x="28273" y="192493"/>
                      </a:lnTo>
                      <a:lnTo>
                        <a:pt x="18956" y="202482"/>
                      </a:lnTo>
                      <a:lnTo>
                        <a:pt x="0" y="177985"/>
                      </a:lnTo>
                      <a:lnTo>
                        <a:pt x="17575" y="165227"/>
                      </a:lnTo>
                      <a:lnTo>
                        <a:pt x="8870" y="149949"/>
                      </a:lnTo>
                      <a:lnTo>
                        <a:pt x="16786" y="144141"/>
                      </a:lnTo>
                      <a:lnTo>
                        <a:pt x="32361" y="141312"/>
                      </a:lnTo>
                      <a:lnTo>
                        <a:pt x="34198" y="131078"/>
                      </a:lnTo>
                      <a:lnTo>
                        <a:pt x="46532" y="142168"/>
                      </a:lnTo>
                      <a:lnTo>
                        <a:pt x="66909" y="143140"/>
                      </a:lnTo>
                      <a:lnTo>
                        <a:pt x="73991" y="132227"/>
                      </a:lnTo>
                      <a:lnTo>
                        <a:pt x="76905" y="116876"/>
                      </a:lnTo>
                      <a:lnTo>
                        <a:pt x="74388" y="98852"/>
                      </a:lnTo>
                      <a:lnTo>
                        <a:pt x="63468" y="85201"/>
                      </a:lnTo>
                      <a:lnTo>
                        <a:pt x="73461" y="58466"/>
                      </a:lnTo>
                      <a:lnTo>
                        <a:pt x="67699" y="53878"/>
                      </a:lnTo>
                      <a:lnTo>
                        <a:pt x="50525" y="55759"/>
                      </a:lnTo>
                      <a:lnTo>
                        <a:pt x="44073" y="43829"/>
                      </a:lnTo>
                      <a:lnTo>
                        <a:pt x="45752" y="33756"/>
                      </a:lnTo>
                      <a:lnTo>
                        <a:pt x="74882" y="34662"/>
                      </a:lnTo>
                      <a:lnTo>
                        <a:pt x="93545" y="40755"/>
                      </a:lnTo>
                      <a:lnTo>
                        <a:pt x="111885" y="46212"/>
                      </a:lnTo>
                      <a:lnTo>
                        <a:pt x="113546" y="33744"/>
                      </a:lnTo>
                      <a:lnTo>
                        <a:pt x="125646" y="12247"/>
                      </a:lnTo>
                      <a:lnTo>
                        <a:pt x="139403" y="0"/>
                      </a:lnTo>
                      <a:lnTo>
                        <a:pt x="155027" y="3883"/>
                      </a:lnTo>
                      <a:lnTo>
                        <a:pt x="169873" y="5173"/>
                      </a:lnTo>
                      <a:lnTo>
                        <a:pt x="168505" y="19127"/>
                      </a:lnTo>
                      <a:lnTo>
                        <a:pt x="161591" y="31478"/>
                      </a:lnTo>
                      <a:lnTo>
                        <a:pt x="157080" y="45886"/>
                      </a:lnTo>
                      <a:lnTo>
                        <a:pt x="154202" y="66344"/>
                      </a:lnTo>
                      <a:lnTo>
                        <a:pt x="155411" y="79427"/>
                      </a:lnTo>
                      <a:lnTo>
                        <a:pt x="151649" y="87436"/>
                      </a:lnTo>
                      <a:lnTo>
                        <a:pt x="151074" y="95902"/>
                      </a:lnTo>
                      <a:lnTo>
                        <a:pt x="148421" y="103265"/>
                      </a:lnTo>
                      <a:lnTo>
                        <a:pt x="133223" y="114392"/>
                      </a:lnTo>
                      <a:lnTo>
                        <a:pt x="122646" y="126285"/>
                      </a:lnTo>
                      <a:lnTo>
                        <a:pt x="112621" y="148720"/>
                      </a:lnTo>
                      <a:lnTo>
                        <a:pt x="113394" y="167729"/>
                      </a:lnTo>
                      <a:lnTo>
                        <a:pt x="107560" y="175126"/>
                      </a:lnTo>
                      <a:lnTo>
                        <a:pt x="94114" y="186417"/>
                      </a:lnTo>
                      <a:lnTo>
                        <a:pt x="80532" y="200914"/>
                      </a:lnTo>
                      <a:lnTo>
                        <a:pt x="71909" y="196816"/>
                      </a:lnTo>
                      <a:lnTo>
                        <a:pt x="70430" y="190267"/>
                      </a:lnTo>
                      <a:lnTo>
                        <a:pt x="57856" y="190039"/>
                      </a:lnTo>
                      <a:lnTo>
                        <a:pt x="49962" y="198895"/>
                      </a:lnTo>
                      <a:close/>
                    </a:path>
                  </a:pathLst>
                </a:custGeom>
                <a:solidFill>
                  <a:schemeClr val="accent1">
                    <a:lumMod val="20000"/>
                    <a:lumOff val="80000"/>
                  </a:schemeClr>
                </a:solidFill>
                <a:ln cap="rnd" w="3175">
                  <a:solidFill>
                    <a:srgbClr val="009fdf">
                      <a:lumMod val="60000"/>
                      <a:lumOff val="40000"/>
                    </a:srgbClr>
                  </a:solidFill>
                </a:ln>
              </p:spPr>
              <p:style>
                <a:lnRef idx="2">
                  <a:schemeClr val="accent1">
                    <a:shade val="50000"/>
                  </a:schemeClr>
                </a:lnRef>
                <a:fillRef idx="1">
                  <a:schemeClr val="accent1"/>
                </a:fillRef>
                <a:effectRef idx="0">
                  <a:schemeClr val="accent1"/>
                </a:effectRef>
                <a:fontRef idx="minor"/>
              </p:style>
              <p:txBody>
                <a:bodyPr numCol="1" spcCol="0" horzOverflow="overflow" lIns="72000" rIns="72000" tIns="72000" bIns="72000" anchor="ctr">
                  <a:noAutofit/>
                </a:bodyPr>
                <a:p>
                  <a:pPr algn="ctr" defTabSz="457200">
                    <a:lnSpc>
                      <a:spcPct val="100000"/>
                    </a:lnSpc>
                    <a:tabLst>
                      <a:tab algn="l" pos="0"/>
                    </a:tabLst>
                  </a:pPr>
                  <a:endParaRPr b="0" lang="de-DE" sz="1600" spc="-1" strike="noStrike">
                    <a:solidFill>
                      <a:srgbClr val="000000"/>
                    </a:solidFill>
                    <a:latin typeface="Arial"/>
                    <a:ea typeface="Arial"/>
                  </a:endParaRPr>
                </a:p>
              </p:txBody>
            </p:sp>
            <p:sp>
              <p:nvSpPr>
                <p:cNvPr id="420" name="Freeform 59"/>
                <p:cNvSpPr/>
                <p:nvPr/>
              </p:nvSpPr>
              <p:spPr>
                <a:xfrm>
                  <a:off x="8122320" y="3318480"/>
                  <a:ext cx="42120" cy="17280"/>
                </a:xfrm>
                <a:custGeom>
                  <a:avLst/>
                  <a:gdLst/>
                  <a:ahLst/>
                  <a:rect l="l" t="t" r="r" b="b"/>
                  <a:pathLst>
                    <a:path w="42582" h="17594">
                      <a:moveTo>
                        <a:pt x="0" y="13939"/>
                      </a:moveTo>
                      <a:lnTo>
                        <a:pt x="1632" y="13796"/>
                      </a:lnTo>
                      <a:lnTo>
                        <a:pt x="4968" y="7478"/>
                      </a:lnTo>
                      <a:lnTo>
                        <a:pt x="21593" y="7832"/>
                      </a:lnTo>
                      <a:lnTo>
                        <a:pt x="42581" y="0"/>
                      </a:lnTo>
                      <a:lnTo>
                        <a:pt x="26985" y="11171"/>
                      </a:lnTo>
                      <a:lnTo>
                        <a:pt x="28665" y="16072"/>
                      </a:lnTo>
                      <a:lnTo>
                        <a:pt x="26191" y="15155"/>
                      </a:lnTo>
                      <a:lnTo>
                        <a:pt x="21782" y="17135"/>
                      </a:lnTo>
                      <a:lnTo>
                        <a:pt x="18326" y="16590"/>
                      </a:lnTo>
                      <a:lnTo>
                        <a:pt x="17175" y="17593"/>
                      </a:lnTo>
                      <a:lnTo>
                        <a:pt x="16716" y="14949"/>
                      </a:lnTo>
                      <a:lnTo>
                        <a:pt x="15052" y="13346"/>
                      </a:lnTo>
                      <a:lnTo>
                        <a:pt x="10600" y="13073"/>
                      </a:lnTo>
                      <a:lnTo>
                        <a:pt x="4335" y="15305"/>
                      </a:lnTo>
                      <a:close/>
                    </a:path>
                  </a:pathLst>
                </a:custGeom>
                <a:solidFill>
                  <a:schemeClr val="accent1"/>
                </a:solidFill>
                <a:ln cap="rnd" w="3175">
                  <a:solidFill>
                    <a:srgbClr val="009fdf">
                      <a:lumMod val="60000"/>
                      <a:lumOff val="40000"/>
                    </a:srgbClr>
                  </a:solidFill>
                </a:ln>
              </p:spPr>
              <p:style>
                <a:lnRef idx="2">
                  <a:schemeClr val="accent1">
                    <a:shade val="50000"/>
                  </a:schemeClr>
                </a:lnRef>
                <a:fillRef idx="1">
                  <a:schemeClr val="accent1"/>
                </a:fillRef>
                <a:effectRef idx="0">
                  <a:schemeClr val="accent1"/>
                </a:effectRef>
                <a:fontRef idx="minor"/>
              </p:style>
              <p:txBody>
                <a:bodyPr numCol="1" spcCol="0" horzOverflow="overflow" lIns="72000" rIns="72000" tIns="8640" bIns="8640" anchor="ctr">
                  <a:noAutofit/>
                </a:bodyPr>
                <a:p>
                  <a:pPr algn="ctr" defTabSz="457200">
                    <a:lnSpc>
                      <a:spcPct val="100000"/>
                    </a:lnSpc>
                    <a:tabLst>
                      <a:tab algn="l" pos="0"/>
                    </a:tabLst>
                  </a:pPr>
                  <a:endParaRPr b="0" lang="de-DE" sz="1600" spc="-1" strike="noStrike">
                    <a:solidFill>
                      <a:srgbClr val="000000"/>
                    </a:solidFill>
                    <a:latin typeface="Arial"/>
                    <a:ea typeface="Arial"/>
                  </a:endParaRPr>
                </a:p>
              </p:txBody>
            </p:sp>
            <p:sp>
              <p:nvSpPr>
                <p:cNvPr id="421" name="Freeform 60"/>
                <p:cNvSpPr/>
                <p:nvPr/>
              </p:nvSpPr>
              <p:spPr>
                <a:xfrm>
                  <a:off x="8111160" y="3331440"/>
                  <a:ext cx="39960" cy="15480"/>
                </a:xfrm>
                <a:custGeom>
                  <a:avLst/>
                  <a:gdLst/>
                  <a:ahLst/>
                  <a:rect l="l" t="t" r="r" b="b"/>
                  <a:pathLst>
                    <a:path w="40354" h="15705">
                      <a:moveTo>
                        <a:pt x="39631" y="2999"/>
                      </a:moveTo>
                      <a:lnTo>
                        <a:pt x="40353" y="5101"/>
                      </a:lnTo>
                      <a:lnTo>
                        <a:pt x="16692" y="15704"/>
                      </a:lnTo>
                      <a:lnTo>
                        <a:pt x="5392" y="12320"/>
                      </a:lnTo>
                      <a:lnTo>
                        <a:pt x="0" y="1829"/>
                      </a:lnTo>
                      <a:lnTo>
                        <a:pt x="10966" y="866"/>
                      </a:lnTo>
                      <a:lnTo>
                        <a:pt x="15301" y="2232"/>
                      </a:lnTo>
                      <a:lnTo>
                        <a:pt x="21566" y="0"/>
                      </a:lnTo>
                      <a:lnTo>
                        <a:pt x="26018" y="273"/>
                      </a:lnTo>
                      <a:lnTo>
                        <a:pt x="27682" y="1876"/>
                      </a:lnTo>
                      <a:lnTo>
                        <a:pt x="28141" y="4520"/>
                      </a:lnTo>
                      <a:lnTo>
                        <a:pt x="29292" y="3517"/>
                      </a:lnTo>
                      <a:lnTo>
                        <a:pt x="32748" y="4062"/>
                      </a:lnTo>
                      <a:lnTo>
                        <a:pt x="37157" y="2082"/>
                      </a:lnTo>
                      <a:close/>
                    </a:path>
                  </a:pathLst>
                </a:custGeom>
                <a:solidFill>
                  <a:schemeClr val="accent1"/>
                </a:solidFill>
                <a:ln cap="rnd" w="3175">
                  <a:solidFill>
                    <a:srgbClr val="009fdf">
                      <a:lumMod val="60000"/>
                      <a:lumOff val="40000"/>
                    </a:srgbClr>
                  </a:solidFill>
                </a:ln>
              </p:spPr>
              <p:style>
                <a:lnRef idx="2">
                  <a:schemeClr val="accent1">
                    <a:shade val="50000"/>
                  </a:schemeClr>
                </a:lnRef>
                <a:fillRef idx="1">
                  <a:schemeClr val="accent1"/>
                </a:fillRef>
                <a:effectRef idx="0">
                  <a:schemeClr val="accent1"/>
                </a:effectRef>
                <a:fontRef idx="minor"/>
              </p:style>
              <p:txBody>
                <a:bodyPr numCol="1" spcCol="0" horzOverflow="overflow" lIns="72000" rIns="72000" tIns="7560" bIns="7560" anchor="ctr">
                  <a:noAutofit/>
                </a:bodyPr>
                <a:p>
                  <a:pPr algn="ctr" defTabSz="457200">
                    <a:lnSpc>
                      <a:spcPct val="100000"/>
                    </a:lnSpc>
                    <a:tabLst>
                      <a:tab algn="l" pos="0"/>
                    </a:tabLst>
                  </a:pPr>
                  <a:endParaRPr b="0" lang="de-DE" sz="1600" spc="-1" strike="noStrike">
                    <a:solidFill>
                      <a:srgbClr val="000000"/>
                    </a:solidFill>
                    <a:latin typeface="Arial"/>
                    <a:ea typeface="Arial"/>
                  </a:endParaRPr>
                </a:p>
              </p:txBody>
            </p:sp>
            <p:sp>
              <p:nvSpPr>
                <p:cNvPr id="422" name="Freeform 61"/>
                <p:cNvSpPr/>
                <p:nvPr/>
              </p:nvSpPr>
              <p:spPr>
                <a:xfrm>
                  <a:off x="7650360" y="2883960"/>
                  <a:ext cx="151920" cy="76680"/>
                </a:xfrm>
                <a:custGeom>
                  <a:avLst/>
                  <a:gdLst/>
                  <a:ahLst/>
                  <a:rect l="l" t="t" r="r" b="b"/>
                  <a:pathLst>
                    <a:path w="152647" h="77061">
                      <a:moveTo>
                        <a:pt x="108954" y="75825"/>
                      </a:moveTo>
                      <a:lnTo>
                        <a:pt x="98313" y="70220"/>
                      </a:lnTo>
                      <a:lnTo>
                        <a:pt x="87473" y="71762"/>
                      </a:lnTo>
                      <a:lnTo>
                        <a:pt x="69555" y="62683"/>
                      </a:lnTo>
                      <a:lnTo>
                        <a:pt x="61431" y="64908"/>
                      </a:lnTo>
                      <a:lnTo>
                        <a:pt x="48446" y="77060"/>
                      </a:lnTo>
                      <a:lnTo>
                        <a:pt x="31296" y="67504"/>
                      </a:lnTo>
                      <a:lnTo>
                        <a:pt x="18263" y="54685"/>
                      </a:lnTo>
                      <a:lnTo>
                        <a:pt x="6484" y="47491"/>
                      </a:lnTo>
                      <a:lnTo>
                        <a:pt x="4041" y="34820"/>
                      </a:lnTo>
                      <a:lnTo>
                        <a:pt x="0" y="25852"/>
                      </a:lnTo>
                      <a:lnTo>
                        <a:pt x="16775" y="19261"/>
                      </a:lnTo>
                      <a:lnTo>
                        <a:pt x="25345" y="11700"/>
                      </a:lnTo>
                      <a:lnTo>
                        <a:pt x="41921" y="5806"/>
                      </a:lnTo>
                      <a:lnTo>
                        <a:pt x="47710" y="0"/>
                      </a:lnTo>
                      <a:lnTo>
                        <a:pt x="53797" y="3507"/>
                      </a:lnTo>
                      <a:lnTo>
                        <a:pt x="64098" y="323"/>
                      </a:lnTo>
                      <a:lnTo>
                        <a:pt x="75039" y="10134"/>
                      </a:lnTo>
                      <a:lnTo>
                        <a:pt x="92297" y="12779"/>
                      </a:lnTo>
                      <a:lnTo>
                        <a:pt x="90857" y="21124"/>
                      </a:lnTo>
                      <a:lnTo>
                        <a:pt x="103396" y="27380"/>
                      </a:lnTo>
                      <a:lnTo>
                        <a:pt x="106842" y="19568"/>
                      </a:lnTo>
                      <a:lnTo>
                        <a:pt x="122672" y="22954"/>
                      </a:lnTo>
                      <a:lnTo>
                        <a:pt x="124862" y="32411"/>
                      </a:lnTo>
                      <a:lnTo>
                        <a:pt x="142023" y="34232"/>
                      </a:lnTo>
                      <a:lnTo>
                        <a:pt x="152646" y="49025"/>
                      </a:lnTo>
                      <a:lnTo>
                        <a:pt x="145764" y="49061"/>
                      </a:lnTo>
                      <a:lnTo>
                        <a:pt x="142187" y="54448"/>
                      </a:lnTo>
                      <a:lnTo>
                        <a:pt x="136889" y="55748"/>
                      </a:lnTo>
                      <a:lnTo>
                        <a:pt x="135377" y="62537"/>
                      </a:lnTo>
                      <a:lnTo>
                        <a:pt x="130957" y="63952"/>
                      </a:lnTo>
                      <a:lnTo>
                        <a:pt x="130333" y="66721"/>
                      </a:lnTo>
                      <a:lnTo>
                        <a:pt x="122451" y="69797"/>
                      </a:lnTo>
                      <a:lnTo>
                        <a:pt x="112225" y="69294"/>
                      </a:lnTo>
                      <a:close/>
                    </a:path>
                  </a:pathLst>
                </a:custGeom>
                <a:solidFill>
                  <a:schemeClr val="accent1"/>
                </a:solidFill>
                <a:ln cap="rnd" w="3175">
                  <a:solidFill>
                    <a:srgbClr val="009fdf">
                      <a:lumMod val="60000"/>
                      <a:lumOff val="40000"/>
                    </a:srgbClr>
                  </a:solidFill>
                </a:ln>
              </p:spPr>
              <p:style>
                <a:lnRef idx="2">
                  <a:schemeClr val="accent1">
                    <a:shade val="50000"/>
                  </a:schemeClr>
                </a:lnRef>
                <a:fillRef idx="1">
                  <a:schemeClr val="accent1"/>
                </a:fillRef>
                <a:effectRef idx="0">
                  <a:schemeClr val="accent1"/>
                </a:effectRef>
                <a:fontRef idx="minor"/>
              </p:style>
              <p:txBody>
                <a:bodyPr numCol="1" spcCol="0" horzOverflow="overflow" lIns="72000" rIns="72000" tIns="38160" bIns="38160" anchor="ctr">
                  <a:noAutofit/>
                </a:bodyPr>
                <a:p>
                  <a:pPr algn="ctr" defTabSz="457200">
                    <a:lnSpc>
                      <a:spcPct val="100000"/>
                    </a:lnSpc>
                    <a:tabLst>
                      <a:tab algn="l" pos="0"/>
                    </a:tabLst>
                  </a:pPr>
                  <a:endParaRPr b="0" lang="de-DE" sz="1600" spc="-1" strike="noStrike">
                    <a:solidFill>
                      <a:srgbClr val="000000"/>
                    </a:solidFill>
                    <a:latin typeface="Arial"/>
                    <a:ea typeface="Arial"/>
                  </a:endParaRPr>
                </a:p>
              </p:txBody>
            </p:sp>
            <p:sp>
              <p:nvSpPr>
                <p:cNvPr id="423" name="Freeform 62"/>
                <p:cNvSpPr/>
                <p:nvPr/>
              </p:nvSpPr>
              <p:spPr>
                <a:xfrm>
                  <a:off x="7506360" y="2763000"/>
                  <a:ext cx="207720" cy="234000"/>
                </a:xfrm>
                <a:custGeom>
                  <a:avLst/>
                  <a:gdLst/>
                  <a:ahLst/>
                  <a:rect l="l" t="t" r="r" b="b"/>
                  <a:pathLst>
                    <a:path w="208399" h="234888">
                      <a:moveTo>
                        <a:pt x="90790" y="0"/>
                      </a:moveTo>
                      <a:lnTo>
                        <a:pt x="91198" y="12366"/>
                      </a:lnTo>
                      <a:lnTo>
                        <a:pt x="114523" y="19792"/>
                      </a:lnTo>
                      <a:lnTo>
                        <a:pt x="114278" y="31058"/>
                      </a:lnTo>
                      <a:lnTo>
                        <a:pt x="137748" y="25103"/>
                      </a:lnTo>
                      <a:lnTo>
                        <a:pt x="150725" y="16392"/>
                      </a:lnTo>
                      <a:lnTo>
                        <a:pt x="176785" y="28941"/>
                      </a:lnTo>
                      <a:lnTo>
                        <a:pt x="187686" y="39014"/>
                      </a:lnTo>
                      <a:lnTo>
                        <a:pt x="193078" y="55023"/>
                      </a:lnTo>
                      <a:lnTo>
                        <a:pt x="186643" y="63379"/>
                      </a:lnTo>
                      <a:lnTo>
                        <a:pt x="195024" y="74492"/>
                      </a:lnTo>
                      <a:lnTo>
                        <a:pt x="200735" y="91076"/>
                      </a:lnTo>
                      <a:lnTo>
                        <a:pt x="198936" y="101708"/>
                      </a:lnTo>
                      <a:lnTo>
                        <a:pt x="208398" y="121278"/>
                      </a:lnTo>
                      <a:lnTo>
                        <a:pt x="198097" y="124462"/>
                      </a:lnTo>
                      <a:lnTo>
                        <a:pt x="192010" y="120955"/>
                      </a:lnTo>
                      <a:lnTo>
                        <a:pt x="186221" y="126761"/>
                      </a:lnTo>
                      <a:lnTo>
                        <a:pt x="169645" y="132655"/>
                      </a:lnTo>
                      <a:lnTo>
                        <a:pt x="161075" y="140216"/>
                      </a:lnTo>
                      <a:lnTo>
                        <a:pt x="144300" y="146807"/>
                      </a:lnTo>
                      <a:lnTo>
                        <a:pt x="148341" y="155775"/>
                      </a:lnTo>
                      <a:lnTo>
                        <a:pt x="150784" y="168446"/>
                      </a:lnTo>
                      <a:lnTo>
                        <a:pt x="162563" y="175640"/>
                      </a:lnTo>
                      <a:lnTo>
                        <a:pt x="175596" y="188459"/>
                      </a:lnTo>
                      <a:lnTo>
                        <a:pt x="167458" y="202137"/>
                      </a:lnTo>
                      <a:lnTo>
                        <a:pt x="159165" y="205891"/>
                      </a:lnTo>
                      <a:lnTo>
                        <a:pt x="162437" y="225075"/>
                      </a:lnTo>
                      <a:lnTo>
                        <a:pt x="160285" y="230055"/>
                      </a:lnTo>
                      <a:lnTo>
                        <a:pt x="153087" y="224053"/>
                      </a:lnTo>
                      <a:lnTo>
                        <a:pt x="142021" y="223152"/>
                      </a:lnTo>
                      <a:lnTo>
                        <a:pt x="125518" y="228412"/>
                      </a:lnTo>
                      <a:lnTo>
                        <a:pt x="105161" y="227162"/>
                      </a:lnTo>
                      <a:lnTo>
                        <a:pt x="101873" y="234887"/>
                      </a:lnTo>
                      <a:lnTo>
                        <a:pt x="90193" y="226758"/>
                      </a:lnTo>
                      <a:lnTo>
                        <a:pt x="83226" y="228374"/>
                      </a:lnTo>
                      <a:lnTo>
                        <a:pt x="58490" y="219399"/>
                      </a:lnTo>
                      <a:lnTo>
                        <a:pt x="53751" y="225779"/>
                      </a:lnTo>
                      <a:lnTo>
                        <a:pt x="34118" y="225574"/>
                      </a:lnTo>
                      <a:lnTo>
                        <a:pt x="37048" y="204595"/>
                      </a:lnTo>
                      <a:lnTo>
                        <a:pt x="48718" y="184273"/>
                      </a:lnTo>
                      <a:lnTo>
                        <a:pt x="15455" y="178780"/>
                      </a:lnTo>
                      <a:lnTo>
                        <a:pt x="4562" y="170951"/>
                      </a:lnTo>
                      <a:lnTo>
                        <a:pt x="5865" y="157789"/>
                      </a:lnTo>
                      <a:lnTo>
                        <a:pt x="1256" y="150983"/>
                      </a:lnTo>
                      <a:lnTo>
                        <a:pt x="3878" y="130511"/>
                      </a:lnTo>
                      <a:lnTo>
                        <a:pt x="0" y="98431"/>
                      </a:lnTo>
                      <a:lnTo>
                        <a:pt x="13866" y="98418"/>
                      </a:lnTo>
                      <a:lnTo>
                        <a:pt x="19717" y="86793"/>
                      </a:lnTo>
                      <a:lnTo>
                        <a:pt x="25469" y="58286"/>
                      </a:lnTo>
                      <a:lnTo>
                        <a:pt x="21155" y="47675"/>
                      </a:lnTo>
                      <a:lnTo>
                        <a:pt x="25662" y="41005"/>
                      </a:lnTo>
                      <a:lnTo>
                        <a:pt x="44955" y="39290"/>
                      </a:lnTo>
                      <a:lnTo>
                        <a:pt x="49236" y="46240"/>
                      </a:lnTo>
                      <a:lnTo>
                        <a:pt x="64910" y="30675"/>
                      </a:lnTo>
                      <a:lnTo>
                        <a:pt x="59633" y="18772"/>
                      </a:lnTo>
                      <a:lnTo>
                        <a:pt x="58574" y="653"/>
                      </a:lnTo>
                      <a:lnTo>
                        <a:pt x="76020" y="4879"/>
                      </a:lnTo>
                      <a:close/>
                    </a:path>
                  </a:pathLst>
                </a:custGeom>
                <a:solidFill>
                  <a:schemeClr val="accent1"/>
                </a:solidFill>
                <a:ln cap="rnd" w="3175">
                  <a:solidFill>
                    <a:srgbClr val="009fdf">
                      <a:lumMod val="60000"/>
                      <a:lumOff val="40000"/>
                    </a:srgbClr>
                  </a:solidFill>
                </a:ln>
              </p:spPr>
              <p:style>
                <a:lnRef idx="2">
                  <a:schemeClr val="accent1">
                    <a:shade val="50000"/>
                  </a:schemeClr>
                </a:lnRef>
                <a:fillRef idx="1">
                  <a:schemeClr val="accent1"/>
                </a:fillRef>
                <a:effectRef idx="0">
                  <a:schemeClr val="accent1"/>
                </a:effectRef>
                <a:fontRef idx="minor"/>
              </p:style>
              <p:txBody>
                <a:bodyPr numCol="1" spcCol="0" horzOverflow="overflow" lIns="72000" rIns="72000" tIns="72000" bIns="72000" anchor="ctr">
                  <a:noAutofit/>
                </a:bodyPr>
                <a:p>
                  <a:pPr algn="ctr" defTabSz="457200">
                    <a:lnSpc>
                      <a:spcPct val="100000"/>
                    </a:lnSpc>
                    <a:tabLst>
                      <a:tab algn="l" pos="0"/>
                    </a:tabLst>
                  </a:pPr>
                  <a:endParaRPr b="0" lang="de-DE" sz="1600" spc="-1" strike="noStrike">
                    <a:solidFill>
                      <a:srgbClr val="000000"/>
                    </a:solidFill>
                    <a:latin typeface="Arial"/>
                    <a:ea typeface="Arial"/>
                  </a:endParaRPr>
                </a:p>
              </p:txBody>
            </p:sp>
            <p:sp>
              <p:nvSpPr>
                <p:cNvPr id="424" name="Freeform 63"/>
                <p:cNvSpPr/>
                <p:nvPr/>
              </p:nvSpPr>
              <p:spPr>
                <a:xfrm>
                  <a:off x="8327880" y="3882240"/>
                  <a:ext cx="37800" cy="41040"/>
                </a:xfrm>
                <a:custGeom>
                  <a:avLst/>
                  <a:gdLst/>
                  <a:ahLst/>
                  <a:rect l="l" t="t" r="r" b="b"/>
                  <a:pathLst>
                    <a:path w="38228" h="41485">
                      <a:moveTo>
                        <a:pt x="32766" y="0"/>
                      </a:moveTo>
                      <a:lnTo>
                        <a:pt x="38227" y="7254"/>
                      </a:lnTo>
                      <a:lnTo>
                        <a:pt x="37501" y="16979"/>
                      </a:lnTo>
                      <a:lnTo>
                        <a:pt x="24332" y="22579"/>
                      </a:lnTo>
                      <a:lnTo>
                        <a:pt x="34245" y="28978"/>
                      </a:lnTo>
                      <a:lnTo>
                        <a:pt x="25740" y="41484"/>
                      </a:lnTo>
                      <a:lnTo>
                        <a:pt x="20617" y="37321"/>
                      </a:lnTo>
                      <a:lnTo>
                        <a:pt x="15059" y="38977"/>
                      </a:lnTo>
                      <a:lnTo>
                        <a:pt x="2166" y="38587"/>
                      </a:lnTo>
                      <a:lnTo>
                        <a:pt x="1797" y="31478"/>
                      </a:lnTo>
                      <a:lnTo>
                        <a:pt x="0" y="25022"/>
                      </a:lnTo>
                      <a:lnTo>
                        <a:pt x="7808" y="14051"/>
                      </a:lnTo>
                      <a:lnTo>
                        <a:pt x="15923" y="3690"/>
                      </a:lnTo>
                      <a:lnTo>
                        <a:pt x="25804" y="5725"/>
                      </a:lnTo>
                      <a:close/>
                    </a:path>
                  </a:pathLst>
                </a:custGeom>
                <a:solidFill>
                  <a:schemeClr val="accent1">
                    <a:lumMod val="20000"/>
                    <a:lumOff val="80000"/>
                  </a:schemeClr>
                </a:solidFill>
                <a:ln cap="rnd" w="3175">
                  <a:solidFill>
                    <a:srgbClr val="009fdf">
                      <a:lumMod val="60000"/>
                      <a:lumOff val="40000"/>
                    </a:srgbClr>
                  </a:solidFill>
                </a:ln>
              </p:spPr>
              <p:style>
                <a:lnRef idx="2">
                  <a:schemeClr val="accent1">
                    <a:shade val="50000"/>
                  </a:schemeClr>
                </a:lnRef>
                <a:fillRef idx="1">
                  <a:schemeClr val="accent1"/>
                </a:fillRef>
                <a:effectRef idx="0">
                  <a:schemeClr val="accent1"/>
                </a:effectRef>
                <a:fontRef idx="minor"/>
              </p:style>
              <p:txBody>
                <a:bodyPr numCol="1" spcCol="0" horzOverflow="overflow" lIns="72000" rIns="72000" tIns="20520" bIns="20520" anchor="ctr">
                  <a:noAutofit/>
                </a:bodyPr>
                <a:p>
                  <a:pPr algn="ctr" defTabSz="457200">
                    <a:lnSpc>
                      <a:spcPct val="100000"/>
                    </a:lnSpc>
                    <a:tabLst>
                      <a:tab algn="l" pos="0"/>
                    </a:tabLst>
                  </a:pPr>
                  <a:endParaRPr b="0" lang="de-DE" sz="1600" spc="-1" strike="noStrike">
                    <a:solidFill>
                      <a:srgbClr val="000000"/>
                    </a:solidFill>
                    <a:latin typeface="Arial"/>
                    <a:ea typeface="Arial"/>
                  </a:endParaRPr>
                </a:p>
              </p:txBody>
            </p:sp>
            <p:sp>
              <p:nvSpPr>
                <p:cNvPr id="425" name="Freeform 64"/>
                <p:cNvSpPr/>
                <p:nvPr/>
              </p:nvSpPr>
              <p:spPr>
                <a:xfrm>
                  <a:off x="7168320" y="3280320"/>
                  <a:ext cx="476280" cy="451440"/>
                </a:xfrm>
                <a:custGeom>
                  <a:avLst/>
                  <a:gdLst/>
                  <a:ahLst/>
                  <a:rect l="l" t="t" r="r" b="b"/>
                  <a:pathLst>
                    <a:path w="477441" h="452765">
                      <a:moveTo>
                        <a:pt x="477440" y="346187"/>
                      </a:moveTo>
                      <a:lnTo>
                        <a:pt x="398345" y="392453"/>
                      </a:lnTo>
                      <a:lnTo>
                        <a:pt x="331513" y="439739"/>
                      </a:lnTo>
                      <a:lnTo>
                        <a:pt x="298963" y="450421"/>
                      </a:lnTo>
                      <a:lnTo>
                        <a:pt x="273358" y="452764"/>
                      </a:lnTo>
                      <a:lnTo>
                        <a:pt x="273093" y="437524"/>
                      </a:lnTo>
                      <a:lnTo>
                        <a:pt x="262404" y="433621"/>
                      </a:lnTo>
                      <a:lnTo>
                        <a:pt x="248033" y="426754"/>
                      </a:lnTo>
                      <a:lnTo>
                        <a:pt x="242545" y="415485"/>
                      </a:lnTo>
                      <a:lnTo>
                        <a:pt x="164680" y="362715"/>
                      </a:lnTo>
                      <a:lnTo>
                        <a:pt x="86816" y="309412"/>
                      </a:lnTo>
                      <a:lnTo>
                        <a:pt x="0" y="249566"/>
                      </a:lnTo>
                      <a:lnTo>
                        <a:pt x="445" y="244743"/>
                      </a:lnTo>
                      <a:lnTo>
                        <a:pt x="435" y="243075"/>
                      </a:lnTo>
                      <a:lnTo>
                        <a:pt x="238" y="213450"/>
                      </a:lnTo>
                      <a:lnTo>
                        <a:pt x="37514" y="194895"/>
                      </a:lnTo>
                      <a:lnTo>
                        <a:pt x="60564" y="191050"/>
                      </a:lnTo>
                      <a:lnTo>
                        <a:pt x="79457" y="184265"/>
                      </a:lnTo>
                      <a:lnTo>
                        <a:pt x="88286" y="171593"/>
                      </a:lnTo>
                      <a:lnTo>
                        <a:pt x="115274" y="161549"/>
                      </a:lnTo>
                      <a:lnTo>
                        <a:pt x="116265" y="142691"/>
                      </a:lnTo>
                      <a:lnTo>
                        <a:pt x="129619" y="140464"/>
                      </a:lnTo>
                      <a:lnTo>
                        <a:pt x="140061" y="131004"/>
                      </a:lnTo>
                      <a:lnTo>
                        <a:pt x="170270" y="126684"/>
                      </a:lnTo>
                      <a:lnTo>
                        <a:pt x="174502" y="116706"/>
                      </a:lnTo>
                      <a:lnTo>
                        <a:pt x="168420" y="111240"/>
                      </a:lnTo>
                      <a:lnTo>
                        <a:pt x="160447" y="83959"/>
                      </a:lnTo>
                      <a:lnTo>
                        <a:pt x="159073" y="68149"/>
                      </a:lnTo>
                      <a:lnTo>
                        <a:pt x="150372" y="51424"/>
                      </a:lnTo>
                      <a:lnTo>
                        <a:pt x="172562" y="37091"/>
                      </a:lnTo>
                      <a:lnTo>
                        <a:pt x="197517" y="32519"/>
                      </a:lnTo>
                      <a:lnTo>
                        <a:pt x="212090" y="21643"/>
                      </a:lnTo>
                      <a:lnTo>
                        <a:pt x="234320" y="13597"/>
                      </a:lnTo>
                      <a:lnTo>
                        <a:pt x="273440" y="8876"/>
                      </a:lnTo>
                      <a:lnTo>
                        <a:pt x="311620" y="6725"/>
                      </a:lnTo>
                      <a:lnTo>
                        <a:pt x="323262" y="10662"/>
                      </a:lnTo>
                      <a:lnTo>
                        <a:pt x="344999" y="206"/>
                      </a:lnTo>
                      <a:lnTo>
                        <a:pt x="369664" y="0"/>
                      </a:lnTo>
                      <a:lnTo>
                        <a:pt x="379052" y="6177"/>
                      </a:lnTo>
                      <a:lnTo>
                        <a:pt x="394838" y="4567"/>
                      </a:lnTo>
                      <a:lnTo>
                        <a:pt x="390149" y="18158"/>
                      </a:lnTo>
                      <a:lnTo>
                        <a:pt x="393809" y="43261"/>
                      </a:lnTo>
                      <a:lnTo>
                        <a:pt x="388375" y="64833"/>
                      </a:lnTo>
                      <a:lnTo>
                        <a:pt x="374145" y="79348"/>
                      </a:lnTo>
                      <a:lnTo>
                        <a:pt x="376179" y="98858"/>
                      </a:lnTo>
                      <a:lnTo>
                        <a:pt x="395057" y="114217"/>
                      </a:lnTo>
                      <a:lnTo>
                        <a:pt x="395257" y="120438"/>
                      </a:lnTo>
                      <a:lnTo>
                        <a:pt x="409487" y="130790"/>
                      </a:lnTo>
                      <a:lnTo>
                        <a:pt x="419333" y="176498"/>
                      </a:lnTo>
                      <a:lnTo>
                        <a:pt x="426800" y="198789"/>
                      </a:lnTo>
                      <a:lnTo>
                        <a:pt x="428055" y="210471"/>
                      </a:lnTo>
                      <a:lnTo>
                        <a:pt x="423989" y="230905"/>
                      </a:lnTo>
                      <a:lnTo>
                        <a:pt x="425657" y="242282"/>
                      </a:lnTo>
                      <a:lnTo>
                        <a:pt x="422724" y="255901"/>
                      </a:lnTo>
                      <a:lnTo>
                        <a:pt x="424737" y="271495"/>
                      </a:lnTo>
                      <a:lnTo>
                        <a:pt x="415576" y="281830"/>
                      </a:lnTo>
                      <a:lnTo>
                        <a:pt x="429225" y="299802"/>
                      </a:lnTo>
                      <a:lnTo>
                        <a:pt x="430092" y="310336"/>
                      </a:lnTo>
                      <a:lnTo>
                        <a:pt x="438300" y="324010"/>
                      </a:lnTo>
                      <a:lnTo>
                        <a:pt x="449091" y="319522"/>
                      </a:lnTo>
                      <a:lnTo>
                        <a:pt x="467311" y="330897"/>
                      </a:lnTo>
                      <a:close/>
                    </a:path>
                  </a:pathLst>
                </a:custGeom>
                <a:solidFill>
                  <a:schemeClr val="accent1"/>
                </a:solidFill>
                <a:ln cap="rnd" w="3175">
                  <a:solidFill>
                    <a:srgbClr val="009fdf">
                      <a:lumMod val="60000"/>
                      <a:lumOff val="40000"/>
                    </a:srgbClr>
                  </a:solidFill>
                </a:ln>
              </p:spPr>
              <p:style>
                <a:lnRef idx="2">
                  <a:schemeClr val="accent1">
                    <a:shade val="50000"/>
                  </a:schemeClr>
                </a:lnRef>
                <a:fillRef idx="1">
                  <a:schemeClr val="accent1"/>
                </a:fillRef>
                <a:effectRef idx="0">
                  <a:schemeClr val="accent1"/>
                </a:effectRef>
                <a:fontRef idx="minor"/>
              </p:style>
              <p:txBody>
                <a:bodyPr numCol="1" spcCol="0" horzOverflow="overflow" lIns="72000" rIns="72000" tIns="72000" bIns="72000" anchor="ctr">
                  <a:noAutofit/>
                </a:bodyPr>
                <a:p>
                  <a:pPr algn="ctr" defTabSz="457200">
                    <a:lnSpc>
                      <a:spcPct val="100000"/>
                    </a:lnSpc>
                    <a:tabLst>
                      <a:tab algn="l" pos="0"/>
                    </a:tabLst>
                  </a:pPr>
                  <a:endParaRPr b="0" lang="de-DE" sz="1600" spc="-1" strike="noStrike">
                    <a:solidFill>
                      <a:srgbClr val="000000"/>
                    </a:solidFill>
                    <a:latin typeface="Arial"/>
                    <a:ea typeface="Arial"/>
                  </a:endParaRPr>
                </a:p>
              </p:txBody>
            </p:sp>
            <p:sp>
              <p:nvSpPr>
                <p:cNvPr id="426" name="Freeform 65"/>
                <p:cNvSpPr/>
                <p:nvPr/>
              </p:nvSpPr>
              <p:spPr>
                <a:xfrm>
                  <a:off x="7937280" y="3423960"/>
                  <a:ext cx="280080" cy="237240"/>
                </a:xfrm>
                <a:custGeom>
                  <a:avLst/>
                  <a:gdLst/>
                  <a:ahLst/>
                  <a:rect l="l" t="t" r="r" b="b"/>
                  <a:pathLst>
                    <a:path w="280829" h="237937">
                      <a:moveTo>
                        <a:pt x="235964" y="52848"/>
                      </a:moveTo>
                      <a:lnTo>
                        <a:pt x="229481" y="62960"/>
                      </a:lnTo>
                      <a:lnTo>
                        <a:pt x="224513" y="81900"/>
                      </a:lnTo>
                      <a:lnTo>
                        <a:pt x="218234" y="94906"/>
                      </a:lnTo>
                      <a:lnTo>
                        <a:pt x="212852" y="99259"/>
                      </a:lnTo>
                      <a:lnTo>
                        <a:pt x="205160" y="91212"/>
                      </a:lnTo>
                      <a:lnTo>
                        <a:pt x="194742" y="80057"/>
                      </a:lnTo>
                      <a:lnTo>
                        <a:pt x="178271" y="44029"/>
                      </a:lnTo>
                      <a:lnTo>
                        <a:pt x="175899" y="46316"/>
                      </a:lnTo>
                      <a:lnTo>
                        <a:pt x="185464" y="72854"/>
                      </a:lnTo>
                      <a:lnTo>
                        <a:pt x="199635" y="97983"/>
                      </a:lnTo>
                      <a:lnTo>
                        <a:pt x="217081" y="136637"/>
                      </a:lnTo>
                      <a:lnTo>
                        <a:pt x="225606" y="150053"/>
                      </a:lnTo>
                      <a:lnTo>
                        <a:pt x="233020" y="163950"/>
                      </a:lnTo>
                      <a:lnTo>
                        <a:pt x="253733" y="191072"/>
                      </a:lnTo>
                      <a:lnTo>
                        <a:pt x="249146" y="195330"/>
                      </a:lnTo>
                      <a:lnTo>
                        <a:pt x="249891" y="211172"/>
                      </a:lnTo>
                      <a:lnTo>
                        <a:pt x="276776" y="232973"/>
                      </a:lnTo>
                      <a:lnTo>
                        <a:pt x="280828" y="237936"/>
                      </a:lnTo>
                      <a:lnTo>
                        <a:pt x="189276" y="237936"/>
                      </a:lnTo>
                      <a:lnTo>
                        <a:pt x="99716" y="237936"/>
                      </a:lnTo>
                      <a:lnTo>
                        <a:pt x="6923" y="237936"/>
                      </a:lnTo>
                      <a:lnTo>
                        <a:pt x="6923" y="147984"/>
                      </a:lnTo>
                      <a:lnTo>
                        <a:pt x="6923" y="59460"/>
                      </a:lnTo>
                      <a:lnTo>
                        <a:pt x="0" y="39151"/>
                      </a:lnTo>
                      <a:lnTo>
                        <a:pt x="5945" y="23516"/>
                      </a:lnTo>
                      <a:lnTo>
                        <a:pt x="2373" y="12650"/>
                      </a:lnTo>
                      <a:lnTo>
                        <a:pt x="10728" y="422"/>
                      </a:lnTo>
                      <a:lnTo>
                        <a:pt x="41440" y="0"/>
                      </a:lnTo>
                      <a:lnTo>
                        <a:pt x="63652" y="6743"/>
                      </a:lnTo>
                      <a:lnTo>
                        <a:pt x="86570" y="14266"/>
                      </a:lnTo>
                      <a:lnTo>
                        <a:pt x="97258" y="18224"/>
                      </a:lnTo>
                      <a:lnTo>
                        <a:pt x="115029" y="10167"/>
                      </a:lnTo>
                      <a:lnTo>
                        <a:pt x="124530" y="2865"/>
                      </a:lnTo>
                      <a:lnTo>
                        <a:pt x="144887" y="761"/>
                      </a:lnTo>
                      <a:lnTo>
                        <a:pt x="161299" y="3982"/>
                      </a:lnTo>
                      <a:lnTo>
                        <a:pt x="167588" y="16609"/>
                      </a:lnTo>
                      <a:lnTo>
                        <a:pt x="172945" y="8296"/>
                      </a:lnTo>
                      <a:lnTo>
                        <a:pt x="191445" y="14309"/>
                      </a:lnTo>
                      <a:lnTo>
                        <a:pt x="209437" y="15748"/>
                      </a:lnTo>
                      <a:lnTo>
                        <a:pt x="220795" y="9339"/>
                      </a:lnTo>
                      <a:close/>
                    </a:path>
                  </a:pathLst>
                </a:custGeom>
                <a:solidFill>
                  <a:schemeClr val="accent1">
                    <a:lumMod val="20000"/>
                    <a:lumOff val="80000"/>
                  </a:schemeClr>
                </a:solidFill>
                <a:ln cap="rnd" w="3175">
                  <a:solidFill>
                    <a:srgbClr val="009fdf">
                      <a:lumMod val="60000"/>
                      <a:lumOff val="40000"/>
                    </a:srgbClr>
                  </a:solidFill>
                </a:ln>
              </p:spPr>
              <p:style>
                <a:lnRef idx="2">
                  <a:schemeClr val="accent1">
                    <a:shade val="50000"/>
                  </a:schemeClr>
                </a:lnRef>
                <a:fillRef idx="1">
                  <a:schemeClr val="accent1"/>
                </a:fillRef>
                <a:effectRef idx="0">
                  <a:schemeClr val="accent1"/>
                </a:effectRef>
                <a:fontRef idx="minor"/>
              </p:style>
              <p:txBody>
                <a:bodyPr numCol="1" spcCol="0" horzOverflow="overflow" lIns="72000" rIns="72000" tIns="72000" bIns="72000" anchor="ctr">
                  <a:noAutofit/>
                </a:bodyPr>
                <a:p>
                  <a:pPr algn="ctr" defTabSz="457200">
                    <a:lnSpc>
                      <a:spcPct val="100000"/>
                    </a:lnSpc>
                    <a:tabLst>
                      <a:tab algn="l" pos="0"/>
                    </a:tabLst>
                  </a:pPr>
                  <a:endParaRPr b="0" lang="de-DE" sz="1600" spc="-1" strike="noStrike">
                    <a:solidFill>
                      <a:srgbClr val="000000"/>
                    </a:solidFill>
                    <a:latin typeface="Arial"/>
                    <a:ea typeface="Arial"/>
                  </a:endParaRPr>
                </a:p>
              </p:txBody>
            </p:sp>
            <p:sp>
              <p:nvSpPr>
                <p:cNvPr id="427" name="Freeform 66"/>
                <p:cNvSpPr/>
                <p:nvPr/>
              </p:nvSpPr>
              <p:spPr>
                <a:xfrm>
                  <a:off x="8205120" y="3757320"/>
                  <a:ext cx="155160" cy="130320"/>
                </a:xfrm>
                <a:custGeom>
                  <a:avLst/>
                  <a:gdLst/>
                  <a:ahLst/>
                  <a:rect l="l" t="t" r="r" b="b"/>
                  <a:pathLst>
                    <a:path w="155995" h="130929">
                      <a:moveTo>
                        <a:pt x="139151" y="128893"/>
                      </a:moveTo>
                      <a:lnTo>
                        <a:pt x="131261" y="121305"/>
                      </a:lnTo>
                      <a:lnTo>
                        <a:pt x="121770" y="107540"/>
                      </a:lnTo>
                      <a:lnTo>
                        <a:pt x="111535" y="99990"/>
                      </a:lnTo>
                      <a:lnTo>
                        <a:pt x="105566" y="91865"/>
                      </a:lnTo>
                      <a:lnTo>
                        <a:pt x="85476" y="82422"/>
                      </a:lnTo>
                      <a:lnTo>
                        <a:pt x="69650" y="82140"/>
                      </a:lnTo>
                      <a:lnTo>
                        <a:pt x="64082" y="77211"/>
                      </a:lnTo>
                      <a:lnTo>
                        <a:pt x="50545" y="82755"/>
                      </a:lnTo>
                      <a:lnTo>
                        <a:pt x="36537" y="72050"/>
                      </a:lnTo>
                      <a:lnTo>
                        <a:pt x="29328" y="89641"/>
                      </a:lnTo>
                      <a:lnTo>
                        <a:pt x="2454" y="84719"/>
                      </a:lnTo>
                      <a:lnTo>
                        <a:pt x="0" y="75281"/>
                      </a:lnTo>
                      <a:lnTo>
                        <a:pt x="9941" y="40547"/>
                      </a:lnTo>
                      <a:lnTo>
                        <a:pt x="12219" y="24781"/>
                      </a:lnTo>
                      <a:lnTo>
                        <a:pt x="19488" y="17498"/>
                      </a:lnTo>
                      <a:lnTo>
                        <a:pt x="36489" y="13589"/>
                      </a:lnTo>
                      <a:lnTo>
                        <a:pt x="48171" y="0"/>
                      </a:lnTo>
                      <a:lnTo>
                        <a:pt x="61571" y="27534"/>
                      </a:lnTo>
                      <a:lnTo>
                        <a:pt x="67930" y="49288"/>
                      </a:lnTo>
                      <a:lnTo>
                        <a:pt x="80584" y="60806"/>
                      </a:lnTo>
                      <a:lnTo>
                        <a:pt x="112091" y="83094"/>
                      </a:lnTo>
                      <a:lnTo>
                        <a:pt x="124918" y="96515"/>
                      </a:lnTo>
                      <a:lnTo>
                        <a:pt x="137426" y="110080"/>
                      </a:lnTo>
                      <a:lnTo>
                        <a:pt x="144645" y="118147"/>
                      </a:lnTo>
                      <a:lnTo>
                        <a:pt x="155994" y="125203"/>
                      </a:lnTo>
                      <a:lnTo>
                        <a:pt x="149032" y="130928"/>
                      </a:lnTo>
                      <a:close/>
                    </a:path>
                  </a:pathLst>
                </a:custGeom>
                <a:solidFill>
                  <a:schemeClr val="accent1">
                    <a:lumMod val="20000"/>
                    <a:lumOff val="80000"/>
                  </a:schemeClr>
                </a:solidFill>
                <a:ln cap="rnd" w="3175">
                  <a:solidFill>
                    <a:srgbClr val="009fdf">
                      <a:lumMod val="60000"/>
                      <a:lumOff val="40000"/>
                    </a:srgbClr>
                  </a:solidFill>
                </a:ln>
              </p:spPr>
              <p:style>
                <a:lnRef idx="2">
                  <a:schemeClr val="accent1">
                    <a:shade val="50000"/>
                  </a:schemeClr>
                </a:lnRef>
                <a:fillRef idx="1">
                  <a:schemeClr val="accent1"/>
                </a:fillRef>
                <a:effectRef idx="0">
                  <a:schemeClr val="accent1"/>
                </a:effectRef>
                <a:fontRef idx="minor"/>
              </p:style>
              <p:txBody>
                <a:bodyPr numCol="1" spcCol="0" horzOverflow="overflow" lIns="72000" rIns="72000" tIns="65160" bIns="65160" anchor="ctr">
                  <a:noAutofit/>
                </a:bodyPr>
                <a:p>
                  <a:pPr algn="ctr" defTabSz="457200">
                    <a:lnSpc>
                      <a:spcPct val="100000"/>
                    </a:lnSpc>
                    <a:tabLst>
                      <a:tab algn="l" pos="0"/>
                    </a:tabLst>
                  </a:pPr>
                  <a:endParaRPr b="0" lang="de-DE" sz="1600" spc="-1" strike="noStrike">
                    <a:solidFill>
                      <a:srgbClr val="000000"/>
                    </a:solidFill>
                    <a:latin typeface="Arial"/>
                    <a:ea typeface="Arial"/>
                  </a:endParaRPr>
                </a:p>
              </p:txBody>
            </p:sp>
            <p:sp>
              <p:nvSpPr>
                <p:cNvPr id="428" name="Freeform 67"/>
                <p:cNvSpPr/>
                <p:nvPr/>
              </p:nvSpPr>
              <p:spPr>
                <a:xfrm>
                  <a:off x="7151760" y="3099240"/>
                  <a:ext cx="286200" cy="211320"/>
                </a:xfrm>
                <a:custGeom>
                  <a:avLst/>
                  <a:gdLst/>
                  <a:ahLst/>
                  <a:rect l="l" t="t" r="r" b="b"/>
                  <a:pathLst>
                    <a:path w="286974" h="212252">
                      <a:moveTo>
                        <a:pt x="8266" y="52162"/>
                      </a:moveTo>
                      <a:lnTo>
                        <a:pt x="9429" y="32381"/>
                      </a:lnTo>
                      <a:lnTo>
                        <a:pt x="0" y="20266"/>
                      </a:lnTo>
                      <a:lnTo>
                        <a:pt x="32655" y="0"/>
                      </a:lnTo>
                      <a:lnTo>
                        <a:pt x="60902" y="5080"/>
                      </a:lnTo>
                      <a:lnTo>
                        <a:pt x="91892" y="4902"/>
                      </a:lnTo>
                      <a:lnTo>
                        <a:pt x="116454" y="9702"/>
                      </a:lnTo>
                      <a:lnTo>
                        <a:pt x="135619" y="8229"/>
                      </a:lnTo>
                      <a:lnTo>
                        <a:pt x="172925" y="9159"/>
                      </a:lnTo>
                      <a:lnTo>
                        <a:pt x="182125" y="20059"/>
                      </a:lnTo>
                      <a:lnTo>
                        <a:pt x="224617" y="32749"/>
                      </a:lnTo>
                      <a:lnTo>
                        <a:pt x="233008" y="26720"/>
                      </a:lnTo>
                      <a:lnTo>
                        <a:pt x="258981" y="39323"/>
                      </a:lnTo>
                      <a:lnTo>
                        <a:pt x="285738" y="35716"/>
                      </a:lnTo>
                      <a:lnTo>
                        <a:pt x="286973" y="51842"/>
                      </a:lnTo>
                      <a:lnTo>
                        <a:pt x="265099" y="70225"/>
                      </a:lnTo>
                      <a:lnTo>
                        <a:pt x="235522" y="76036"/>
                      </a:lnTo>
                      <a:lnTo>
                        <a:pt x="233464" y="85261"/>
                      </a:lnTo>
                      <a:lnTo>
                        <a:pt x="219276" y="100404"/>
                      </a:lnTo>
                      <a:lnTo>
                        <a:pt x="210380" y="122504"/>
                      </a:lnTo>
                      <a:lnTo>
                        <a:pt x="219382" y="137929"/>
                      </a:lnTo>
                      <a:lnTo>
                        <a:pt x="206031" y="149920"/>
                      </a:lnTo>
                      <a:lnTo>
                        <a:pt x="201039" y="167311"/>
                      </a:lnTo>
                      <a:lnTo>
                        <a:pt x="183612" y="172625"/>
                      </a:lnTo>
                      <a:lnTo>
                        <a:pt x="167268" y="193047"/>
                      </a:lnTo>
                      <a:lnTo>
                        <a:pt x="137968" y="193451"/>
                      </a:lnTo>
                      <a:lnTo>
                        <a:pt x="115967" y="192949"/>
                      </a:lnTo>
                      <a:lnTo>
                        <a:pt x="101511" y="202287"/>
                      </a:lnTo>
                      <a:lnTo>
                        <a:pt x="92694" y="212251"/>
                      </a:lnTo>
                      <a:lnTo>
                        <a:pt x="81400" y="210065"/>
                      </a:lnTo>
                      <a:lnTo>
                        <a:pt x="72854" y="201152"/>
                      </a:lnTo>
                      <a:lnTo>
                        <a:pt x="66310" y="185923"/>
                      </a:lnTo>
                      <a:lnTo>
                        <a:pt x="44762" y="181811"/>
                      </a:lnTo>
                      <a:lnTo>
                        <a:pt x="42837" y="173002"/>
                      </a:lnTo>
                      <a:lnTo>
                        <a:pt x="51391" y="162998"/>
                      </a:lnTo>
                      <a:lnTo>
                        <a:pt x="54559" y="155725"/>
                      </a:lnTo>
                      <a:lnTo>
                        <a:pt x="46600" y="147754"/>
                      </a:lnTo>
                      <a:lnTo>
                        <a:pt x="52972" y="130069"/>
                      </a:lnTo>
                      <a:lnTo>
                        <a:pt x="43725" y="113845"/>
                      </a:lnTo>
                      <a:lnTo>
                        <a:pt x="53698" y="111611"/>
                      </a:lnTo>
                      <a:lnTo>
                        <a:pt x="54625" y="98752"/>
                      </a:lnTo>
                      <a:lnTo>
                        <a:pt x="58374" y="94760"/>
                      </a:lnTo>
                      <a:lnTo>
                        <a:pt x="58671" y="73388"/>
                      </a:lnTo>
                      <a:lnTo>
                        <a:pt x="69336" y="65937"/>
                      </a:lnTo>
                      <a:lnTo>
                        <a:pt x="62884" y="52084"/>
                      </a:lnTo>
                      <a:lnTo>
                        <a:pt x="49434" y="51116"/>
                      </a:lnTo>
                      <a:lnTo>
                        <a:pt x="45482" y="54611"/>
                      </a:lnTo>
                      <a:lnTo>
                        <a:pt x="31848" y="54643"/>
                      </a:lnTo>
                      <a:lnTo>
                        <a:pt x="26062" y="41071"/>
                      </a:lnTo>
                      <a:lnTo>
                        <a:pt x="16642" y="45119"/>
                      </a:lnTo>
                      <a:close/>
                    </a:path>
                  </a:pathLst>
                </a:custGeom>
                <a:solidFill>
                  <a:schemeClr val="accent1"/>
                </a:solidFill>
                <a:ln cap="rnd" w="3175">
                  <a:solidFill>
                    <a:srgbClr val="009fdf">
                      <a:lumMod val="60000"/>
                      <a:lumOff val="40000"/>
                    </a:srgbClr>
                  </a:solidFill>
                </a:ln>
              </p:spPr>
              <p:style>
                <a:lnRef idx="2">
                  <a:schemeClr val="accent1">
                    <a:shade val="50000"/>
                  </a:schemeClr>
                </a:lnRef>
                <a:fillRef idx="1">
                  <a:schemeClr val="accent1"/>
                </a:fillRef>
                <a:effectRef idx="0">
                  <a:schemeClr val="accent1"/>
                </a:effectRef>
                <a:fontRef idx="minor"/>
              </p:style>
              <p:txBody>
                <a:bodyPr numCol="1" spcCol="0" horzOverflow="overflow" lIns="72000" rIns="72000" tIns="72000" bIns="72000" anchor="ctr">
                  <a:noAutofit/>
                </a:bodyPr>
                <a:p>
                  <a:pPr algn="ctr" defTabSz="457200">
                    <a:lnSpc>
                      <a:spcPct val="100000"/>
                    </a:lnSpc>
                    <a:tabLst>
                      <a:tab algn="l" pos="0"/>
                    </a:tabLst>
                  </a:pPr>
                  <a:endParaRPr b="0" lang="de-DE" sz="1600" spc="-1" strike="noStrike">
                    <a:solidFill>
                      <a:srgbClr val="000000"/>
                    </a:solidFill>
                    <a:latin typeface="Arial"/>
                    <a:ea typeface="Arial"/>
                  </a:endParaRPr>
                </a:p>
              </p:txBody>
            </p:sp>
            <p:sp>
              <p:nvSpPr>
                <p:cNvPr id="429" name="Freeform 68"/>
                <p:cNvSpPr/>
                <p:nvPr/>
              </p:nvSpPr>
              <p:spPr>
                <a:xfrm>
                  <a:off x="7905960" y="2610000"/>
                  <a:ext cx="110160" cy="71640"/>
                </a:xfrm>
                <a:custGeom>
                  <a:avLst/>
                  <a:gdLst/>
                  <a:ahLst/>
                  <a:rect l="l" t="t" r="r" b="b"/>
                  <a:pathLst>
                    <a:path w="110610" h="72100">
                      <a:moveTo>
                        <a:pt x="22460" y="61482"/>
                      </a:moveTo>
                      <a:lnTo>
                        <a:pt x="25140" y="41708"/>
                      </a:lnTo>
                      <a:lnTo>
                        <a:pt x="16651" y="45947"/>
                      </a:lnTo>
                      <a:lnTo>
                        <a:pt x="2002" y="33975"/>
                      </a:lnTo>
                      <a:lnTo>
                        <a:pt x="0" y="14487"/>
                      </a:lnTo>
                      <a:lnTo>
                        <a:pt x="29185" y="4975"/>
                      </a:lnTo>
                      <a:lnTo>
                        <a:pt x="58269" y="0"/>
                      </a:lnTo>
                      <a:lnTo>
                        <a:pt x="83313" y="5661"/>
                      </a:lnTo>
                      <a:lnTo>
                        <a:pt x="107133" y="4649"/>
                      </a:lnTo>
                      <a:lnTo>
                        <a:pt x="110609" y="10614"/>
                      </a:lnTo>
                      <a:lnTo>
                        <a:pt x="94185" y="30195"/>
                      </a:lnTo>
                      <a:lnTo>
                        <a:pt x="101030" y="61533"/>
                      </a:lnTo>
                      <a:lnTo>
                        <a:pt x="91139" y="72099"/>
                      </a:lnTo>
                      <a:lnTo>
                        <a:pt x="72104" y="72037"/>
                      </a:lnTo>
                      <a:lnTo>
                        <a:pt x="52236" y="59676"/>
                      </a:lnTo>
                      <a:lnTo>
                        <a:pt x="42121" y="55576"/>
                      </a:lnTo>
                      <a:close/>
                    </a:path>
                  </a:pathLst>
                </a:custGeom>
                <a:solidFill>
                  <a:schemeClr val="accent1"/>
                </a:solidFill>
                <a:ln cap="rnd" w="3175">
                  <a:solidFill>
                    <a:srgbClr val="009fdf">
                      <a:lumMod val="60000"/>
                      <a:lumOff val="40000"/>
                    </a:srgbClr>
                  </a:solidFill>
                </a:ln>
              </p:spPr>
              <p:style>
                <a:lnRef idx="2">
                  <a:schemeClr val="accent1">
                    <a:shade val="50000"/>
                  </a:schemeClr>
                </a:lnRef>
                <a:fillRef idx="1">
                  <a:schemeClr val="accent1"/>
                </a:fillRef>
                <a:effectRef idx="0">
                  <a:schemeClr val="accent1"/>
                </a:effectRef>
                <a:fontRef idx="minor"/>
              </p:style>
              <p:txBody>
                <a:bodyPr numCol="1" spcCol="0" horzOverflow="overflow" lIns="72000" rIns="72000" tIns="35640" bIns="35640" anchor="ctr">
                  <a:noAutofit/>
                </a:bodyPr>
                <a:p>
                  <a:pPr algn="ctr" defTabSz="457200">
                    <a:lnSpc>
                      <a:spcPct val="100000"/>
                    </a:lnSpc>
                    <a:tabLst>
                      <a:tab algn="l" pos="0"/>
                    </a:tabLst>
                  </a:pPr>
                  <a:endParaRPr b="0" lang="de-DE" sz="1600" spc="-1" strike="noStrike">
                    <a:solidFill>
                      <a:srgbClr val="000000"/>
                    </a:solidFill>
                    <a:latin typeface="Arial"/>
                    <a:ea typeface="Arial"/>
                  </a:endParaRPr>
                </a:p>
              </p:txBody>
            </p:sp>
            <p:sp>
              <p:nvSpPr>
                <p:cNvPr id="430" name="Freeform 69"/>
                <p:cNvSpPr/>
                <p:nvPr/>
              </p:nvSpPr>
              <p:spPr>
                <a:xfrm>
                  <a:off x="8127360" y="3829320"/>
                  <a:ext cx="341280" cy="267840"/>
                </a:xfrm>
                <a:custGeom>
                  <a:avLst/>
                  <a:gdLst/>
                  <a:ahLst/>
                  <a:rect l="l" t="t" r="r" b="b"/>
                  <a:pathLst>
                    <a:path w="342438" h="268823">
                      <a:moveTo>
                        <a:pt x="114303" y="0"/>
                      </a:moveTo>
                      <a:lnTo>
                        <a:pt x="128311" y="10705"/>
                      </a:lnTo>
                      <a:lnTo>
                        <a:pt x="141848" y="5161"/>
                      </a:lnTo>
                      <a:lnTo>
                        <a:pt x="147416" y="10090"/>
                      </a:lnTo>
                      <a:lnTo>
                        <a:pt x="163243" y="10372"/>
                      </a:lnTo>
                      <a:lnTo>
                        <a:pt x="183332" y="19815"/>
                      </a:lnTo>
                      <a:lnTo>
                        <a:pt x="189302" y="27939"/>
                      </a:lnTo>
                      <a:lnTo>
                        <a:pt x="199536" y="35490"/>
                      </a:lnTo>
                      <a:lnTo>
                        <a:pt x="209027" y="49255"/>
                      </a:lnTo>
                      <a:lnTo>
                        <a:pt x="216917" y="56843"/>
                      </a:lnTo>
                      <a:lnTo>
                        <a:pt x="208802" y="67204"/>
                      </a:lnTo>
                      <a:lnTo>
                        <a:pt x="200994" y="78175"/>
                      </a:lnTo>
                      <a:lnTo>
                        <a:pt x="202791" y="84631"/>
                      </a:lnTo>
                      <a:lnTo>
                        <a:pt x="203160" y="91740"/>
                      </a:lnTo>
                      <a:lnTo>
                        <a:pt x="216053" y="92130"/>
                      </a:lnTo>
                      <a:lnTo>
                        <a:pt x="221611" y="90474"/>
                      </a:lnTo>
                      <a:lnTo>
                        <a:pt x="226734" y="94637"/>
                      </a:lnTo>
                      <a:lnTo>
                        <a:pt x="221699" y="102908"/>
                      </a:lnTo>
                      <a:lnTo>
                        <a:pt x="230225" y="115751"/>
                      </a:lnTo>
                      <a:lnTo>
                        <a:pt x="238740" y="126968"/>
                      </a:lnTo>
                      <a:lnTo>
                        <a:pt x="247552" y="135278"/>
                      </a:lnTo>
                      <a:lnTo>
                        <a:pt x="323023" y="162869"/>
                      </a:lnTo>
                      <a:lnTo>
                        <a:pt x="342437" y="162726"/>
                      </a:lnTo>
                      <a:lnTo>
                        <a:pt x="277210" y="232298"/>
                      </a:lnTo>
                      <a:lnTo>
                        <a:pt x="247139" y="233318"/>
                      </a:lnTo>
                      <a:lnTo>
                        <a:pt x="226568" y="249624"/>
                      </a:lnTo>
                      <a:lnTo>
                        <a:pt x="211771" y="250050"/>
                      </a:lnTo>
                      <a:lnTo>
                        <a:pt x="205457" y="257338"/>
                      </a:lnTo>
                      <a:lnTo>
                        <a:pt x="189685" y="257334"/>
                      </a:lnTo>
                      <a:lnTo>
                        <a:pt x="180375" y="249521"/>
                      </a:lnTo>
                      <a:lnTo>
                        <a:pt x="159288" y="259191"/>
                      </a:lnTo>
                      <a:lnTo>
                        <a:pt x="152466" y="268822"/>
                      </a:lnTo>
                      <a:lnTo>
                        <a:pt x="137073" y="267004"/>
                      </a:lnTo>
                      <a:lnTo>
                        <a:pt x="131963" y="264339"/>
                      </a:lnTo>
                      <a:lnTo>
                        <a:pt x="126558" y="264975"/>
                      </a:lnTo>
                      <a:lnTo>
                        <a:pt x="119262" y="264742"/>
                      </a:lnTo>
                      <a:lnTo>
                        <a:pt x="90044" y="245108"/>
                      </a:lnTo>
                      <a:lnTo>
                        <a:pt x="73978" y="245108"/>
                      </a:lnTo>
                      <a:lnTo>
                        <a:pt x="66092" y="237496"/>
                      </a:lnTo>
                      <a:lnTo>
                        <a:pt x="66092" y="224508"/>
                      </a:lnTo>
                      <a:lnTo>
                        <a:pt x="54102" y="220624"/>
                      </a:lnTo>
                      <a:lnTo>
                        <a:pt x="40460" y="195415"/>
                      </a:lnTo>
                      <a:lnTo>
                        <a:pt x="29918" y="190039"/>
                      </a:lnTo>
                      <a:lnTo>
                        <a:pt x="25874" y="180765"/>
                      </a:lnTo>
                      <a:lnTo>
                        <a:pt x="14175" y="169453"/>
                      </a:lnTo>
                      <a:lnTo>
                        <a:pt x="0" y="167790"/>
                      </a:lnTo>
                      <a:lnTo>
                        <a:pt x="7862" y="154558"/>
                      </a:lnTo>
                      <a:lnTo>
                        <a:pt x="20113" y="153987"/>
                      </a:lnTo>
                      <a:lnTo>
                        <a:pt x="23563" y="146887"/>
                      </a:lnTo>
                      <a:lnTo>
                        <a:pt x="23255" y="125965"/>
                      </a:lnTo>
                      <a:lnTo>
                        <a:pt x="30083" y="101566"/>
                      </a:lnTo>
                      <a:lnTo>
                        <a:pt x="41017" y="95027"/>
                      </a:lnTo>
                      <a:lnTo>
                        <a:pt x="43337" y="85476"/>
                      </a:lnTo>
                      <a:lnTo>
                        <a:pt x="53236" y="67605"/>
                      </a:lnTo>
                      <a:lnTo>
                        <a:pt x="67158" y="55998"/>
                      </a:lnTo>
                      <a:lnTo>
                        <a:pt x="76543" y="32876"/>
                      </a:lnTo>
                      <a:lnTo>
                        <a:pt x="80220" y="12669"/>
                      </a:lnTo>
                      <a:lnTo>
                        <a:pt x="107094" y="17591"/>
                      </a:lnTo>
                      <a:close/>
                    </a:path>
                  </a:pathLst>
                </a:custGeom>
                <a:solidFill>
                  <a:schemeClr val="accent1">
                    <a:lumMod val="20000"/>
                    <a:lumOff val="80000"/>
                  </a:schemeClr>
                </a:solidFill>
                <a:ln cap="rnd" w="3175">
                  <a:solidFill>
                    <a:srgbClr val="009fdf">
                      <a:lumMod val="60000"/>
                      <a:lumOff val="40000"/>
                    </a:srgbClr>
                  </a:solidFill>
                </a:ln>
              </p:spPr>
              <p:style>
                <a:lnRef idx="2">
                  <a:schemeClr val="accent1">
                    <a:shade val="50000"/>
                  </a:schemeClr>
                </a:lnRef>
                <a:fillRef idx="1">
                  <a:schemeClr val="accent1"/>
                </a:fillRef>
                <a:effectRef idx="0">
                  <a:schemeClr val="accent1"/>
                </a:effectRef>
                <a:fontRef idx="minor"/>
              </p:style>
              <p:txBody>
                <a:bodyPr numCol="1" spcCol="0" horzOverflow="overflow" lIns="72000" rIns="72000" tIns="72000" bIns="72000" anchor="ctr">
                  <a:noAutofit/>
                </a:bodyPr>
                <a:p>
                  <a:pPr algn="ctr" defTabSz="457200">
                    <a:lnSpc>
                      <a:spcPct val="100000"/>
                    </a:lnSpc>
                    <a:tabLst>
                      <a:tab algn="l" pos="0"/>
                    </a:tabLst>
                  </a:pPr>
                  <a:endParaRPr b="0" lang="de-DE" sz="1600" spc="-1" strike="noStrike">
                    <a:solidFill>
                      <a:srgbClr val="000000"/>
                    </a:solidFill>
                    <a:latin typeface="Arial"/>
                    <a:ea typeface="Arial"/>
                  </a:endParaRPr>
                </a:p>
              </p:txBody>
            </p:sp>
            <p:sp>
              <p:nvSpPr>
                <p:cNvPr id="431" name="Freeform 70"/>
                <p:cNvSpPr/>
                <p:nvPr/>
              </p:nvSpPr>
              <p:spPr>
                <a:xfrm>
                  <a:off x="7843680" y="2214360"/>
                  <a:ext cx="250200" cy="387360"/>
                </a:xfrm>
                <a:custGeom>
                  <a:avLst/>
                  <a:gdLst/>
                  <a:ahLst/>
                  <a:rect l="l" t="t" r="r" b="b"/>
                  <a:pathLst>
                    <a:path w="250921" h="388320">
                      <a:moveTo>
                        <a:pt x="183423" y="45026"/>
                      </a:moveTo>
                      <a:lnTo>
                        <a:pt x="180053" y="73184"/>
                      </a:lnTo>
                      <a:lnTo>
                        <a:pt x="215404" y="99622"/>
                      </a:lnTo>
                      <a:lnTo>
                        <a:pt x="194102" y="129132"/>
                      </a:lnTo>
                      <a:lnTo>
                        <a:pt x="220948" y="172895"/>
                      </a:lnTo>
                      <a:lnTo>
                        <a:pt x="205409" y="205257"/>
                      </a:lnTo>
                      <a:lnTo>
                        <a:pt x="226189" y="232951"/>
                      </a:lnTo>
                      <a:lnTo>
                        <a:pt x="216753" y="256906"/>
                      </a:lnTo>
                      <a:lnTo>
                        <a:pt x="250920" y="281805"/>
                      </a:lnTo>
                      <a:lnTo>
                        <a:pt x="242239" y="300154"/>
                      </a:lnTo>
                      <a:lnTo>
                        <a:pt x="220798" y="320751"/>
                      </a:lnTo>
                      <a:lnTo>
                        <a:pt x="171375" y="365587"/>
                      </a:lnTo>
                      <a:lnTo>
                        <a:pt x="129484" y="368352"/>
                      </a:lnTo>
                      <a:lnTo>
                        <a:pt x="88892" y="381047"/>
                      </a:lnTo>
                      <a:lnTo>
                        <a:pt x="51338" y="388319"/>
                      </a:lnTo>
                      <a:lnTo>
                        <a:pt x="37975" y="369464"/>
                      </a:lnTo>
                      <a:lnTo>
                        <a:pt x="15619" y="358042"/>
                      </a:lnTo>
                      <a:lnTo>
                        <a:pt x="20758" y="323400"/>
                      </a:lnTo>
                      <a:lnTo>
                        <a:pt x="9547" y="291189"/>
                      </a:lnTo>
                      <a:lnTo>
                        <a:pt x="20554" y="270137"/>
                      </a:lnTo>
                      <a:lnTo>
                        <a:pt x="41483" y="247197"/>
                      </a:lnTo>
                      <a:lnTo>
                        <a:pt x="94291" y="206992"/>
                      </a:lnTo>
                      <a:lnTo>
                        <a:pt x="109700" y="199152"/>
                      </a:lnTo>
                      <a:lnTo>
                        <a:pt x="107299" y="183203"/>
                      </a:lnTo>
                      <a:lnTo>
                        <a:pt x="75198" y="165237"/>
                      </a:lnTo>
                      <a:lnTo>
                        <a:pt x="67408" y="150325"/>
                      </a:lnTo>
                      <a:lnTo>
                        <a:pt x="66799" y="90229"/>
                      </a:lnTo>
                      <a:lnTo>
                        <a:pt x="30768" y="63086"/>
                      </a:lnTo>
                      <a:lnTo>
                        <a:pt x="0" y="43346"/>
                      </a:lnTo>
                      <a:lnTo>
                        <a:pt x="13834" y="32609"/>
                      </a:lnTo>
                      <a:lnTo>
                        <a:pt x="39486" y="54039"/>
                      </a:lnTo>
                      <a:lnTo>
                        <a:pt x="69628" y="52042"/>
                      </a:lnTo>
                      <a:lnTo>
                        <a:pt x="94410" y="61772"/>
                      </a:lnTo>
                      <a:lnTo>
                        <a:pt x="116420" y="43919"/>
                      </a:lnTo>
                      <a:lnTo>
                        <a:pt x="127740" y="13988"/>
                      </a:lnTo>
                      <a:lnTo>
                        <a:pt x="163580" y="0"/>
                      </a:lnTo>
                      <a:lnTo>
                        <a:pt x="193201" y="16405"/>
                      </a:lnTo>
                      <a:close/>
                    </a:path>
                  </a:pathLst>
                </a:custGeom>
                <a:solidFill>
                  <a:schemeClr val="accent1"/>
                </a:solidFill>
                <a:ln cap="rnd" w="3175">
                  <a:solidFill>
                    <a:srgbClr val="009fdf">
                      <a:lumMod val="60000"/>
                      <a:lumOff val="40000"/>
                    </a:srgbClr>
                  </a:solidFill>
                </a:ln>
              </p:spPr>
              <p:style>
                <a:lnRef idx="2">
                  <a:schemeClr val="accent1">
                    <a:shade val="50000"/>
                  </a:schemeClr>
                </a:lnRef>
                <a:fillRef idx="1">
                  <a:schemeClr val="accent1"/>
                </a:fillRef>
                <a:effectRef idx="0">
                  <a:schemeClr val="accent1"/>
                </a:effectRef>
                <a:fontRef idx="minor"/>
              </p:style>
              <p:txBody>
                <a:bodyPr numCol="1" spcCol="0" horzOverflow="overflow" lIns="72000" rIns="72000" tIns="72000" bIns="72000" anchor="ctr">
                  <a:noAutofit/>
                </a:bodyPr>
                <a:p>
                  <a:pPr algn="ctr" defTabSz="457200">
                    <a:lnSpc>
                      <a:spcPct val="100000"/>
                    </a:lnSpc>
                    <a:tabLst>
                      <a:tab algn="l" pos="0"/>
                    </a:tabLst>
                  </a:pPr>
                  <a:endParaRPr b="0" lang="de-DE" sz="1600" spc="-1" strike="noStrike">
                    <a:solidFill>
                      <a:srgbClr val="000000"/>
                    </a:solidFill>
                    <a:latin typeface="Arial"/>
                    <a:ea typeface="Arial"/>
                  </a:endParaRPr>
                </a:p>
              </p:txBody>
            </p:sp>
            <p:sp>
              <p:nvSpPr>
                <p:cNvPr id="432" name="Freeform 71"/>
                <p:cNvSpPr/>
                <p:nvPr/>
              </p:nvSpPr>
              <p:spPr>
                <a:xfrm>
                  <a:off x="7262280" y="2882880"/>
                  <a:ext cx="3955320" cy="2545200"/>
                </a:xfrm>
                <a:custGeom>
                  <a:avLst/>
                  <a:gdLst>
                    <a:gd name="textAreaLeft" fmla="*/ 0 w 3955320"/>
                    <a:gd name="textAreaRight" fmla="*/ 3955680 w 3955320"/>
                    <a:gd name="textAreaTop" fmla="*/ 0 h 2545200"/>
                    <a:gd name="textAreaBottom" fmla="*/ 2545560 h 2545200"/>
                  </a:gdLst>
                  <a:ahLst/>
                  <a:rect l="textAreaLeft" t="textAreaTop" r="textAreaRight" b="textAreaBottom"/>
                  <a:pathLst>
                    <a:path w="3963580" h="2550519">
                      <a:moveTo>
                        <a:pt x="1697208" y="2516185"/>
                      </a:moveTo>
                      <a:lnTo>
                        <a:pt x="1712096" y="2525545"/>
                      </a:lnTo>
                      <a:lnTo>
                        <a:pt x="1733909" y="2529268"/>
                      </a:lnTo>
                      <a:lnTo>
                        <a:pt x="1734717" y="2534938"/>
                      </a:lnTo>
                      <a:lnTo>
                        <a:pt x="1728254" y="2548566"/>
                      </a:lnTo>
                      <a:lnTo>
                        <a:pt x="1692822" y="2550519"/>
                      </a:lnTo>
                      <a:lnTo>
                        <a:pt x="1692245" y="2534565"/>
                      </a:lnTo>
                      <a:lnTo>
                        <a:pt x="1695650" y="2522273"/>
                      </a:lnTo>
                      <a:close/>
                      <a:moveTo>
                        <a:pt x="3892245" y="1766377"/>
                      </a:moveTo>
                      <a:lnTo>
                        <a:pt x="3902180" y="1766722"/>
                      </a:lnTo>
                      <a:lnTo>
                        <a:pt x="3915107" y="1774896"/>
                      </a:lnTo>
                      <a:lnTo>
                        <a:pt x="3925263" y="1783082"/>
                      </a:lnTo>
                      <a:lnTo>
                        <a:pt x="3932649" y="1789831"/>
                      </a:lnTo>
                      <a:lnTo>
                        <a:pt x="3951577" y="1804806"/>
                      </a:lnTo>
                      <a:lnTo>
                        <a:pt x="3963580" y="1815941"/>
                      </a:lnTo>
                      <a:lnTo>
                        <a:pt x="3954810" y="1821760"/>
                      </a:lnTo>
                      <a:lnTo>
                        <a:pt x="3942107" y="1815207"/>
                      </a:lnTo>
                      <a:lnTo>
                        <a:pt x="3925595" y="1804312"/>
                      </a:lnTo>
                      <a:lnTo>
                        <a:pt x="3910716" y="1791515"/>
                      </a:lnTo>
                      <a:lnTo>
                        <a:pt x="3895440" y="1774529"/>
                      </a:lnTo>
                      <a:close/>
                      <a:moveTo>
                        <a:pt x="322750" y="237592"/>
                      </a:moveTo>
                      <a:lnTo>
                        <a:pt x="326674" y="261485"/>
                      </a:lnTo>
                      <a:lnTo>
                        <a:pt x="319051" y="282847"/>
                      </a:lnTo>
                      <a:lnTo>
                        <a:pt x="308571" y="277231"/>
                      </a:lnTo>
                      <a:lnTo>
                        <a:pt x="303227" y="258597"/>
                      </a:lnTo>
                      <a:lnTo>
                        <a:pt x="307885" y="248256"/>
                      </a:lnTo>
                      <a:close/>
                      <a:moveTo>
                        <a:pt x="164024" y="0"/>
                      </a:moveTo>
                      <a:lnTo>
                        <a:pt x="167367" y="10719"/>
                      </a:lnTo>
                      <a:lnTo>
                        <a:pt x="178096" y="11221"/>
                      </a:lnTo>
                      <a:lnTo>
                        <a:pt x="188828" y="23398"/>
                      </a:lnTo>
                      <a:lnTo>
                        <a:pt x="204936" y="37629"/>
                      </a:lnTo>
                      <a:lnTo>
                        <a:pt x="216782" y="35284"/>
                      </a:lnTo>
                      <a:lnTo>
                        <a:pt x="236976" y="48983"/>
                      </a:lnTo>
                      <a:lnTo>
                        <a:pt x="242139" y="51583"/>
                      </a:lnTo>
                      <a:lnTo>
                        <a:pt x="248800" y="50950"/>
                      </a:lnTo>
                      <a:lnTo>
                        <a:pt x="259693" y="58779"/>
                      </a:lnTo>
                      <a:lnTo>
                        <a:pt x="292956" y="64272"/>
                      </a:lnTo>
                      <a:lnTo>
                        <a:pt x="281286" y="84594"/>
                      </a:lnTo>
                      <a:lnTo>
                        <a:pt x="278356" y="105573"/>
                      </a:lnTo>
                      <a:lnTo>
                        <a:pt x="272019" y="110578"/>
                      </a:lnTo>
                      <a:lnTo>
                        <a:pt x="261501" y="107882"/>
                      </a:lnTo>
                      <a:lnTo>
                        <a:pt x="262244" y="115318"/>
                      </a:lnTo>
                      <a:lnTo>
                        <a:pt x="245362" y="131691"/>
                      </a:lnTo>
                      <a:lnTo>
                        <a:pt x="245021" y="144812"/>
                      </a:lnTo>
                      <a:lnTo>
                        <a:pt x="256043" y="140279"/>
                      </a:lnTo>
                      <a:lnTo>
                        <a:pt x="263972" y="152948"/>
                      </a:lnTo>
                      <a:lnTo>
                        <a:pt x="263020" y="161081"/>
                      </a:lnTo>
                      <a:lnTo>
                        <a:pt x="269813" y="171851"/>
                      </a:lnTo>
                      <a:lnTo>
                        <a:pt x="261810" y="180557"/>
                      </a:lnTo>
                      <a:lnTo>
                        <a:pt x="267757" y="202555"/>
                      </a:lnTo>
                      <a:lnTo>
                        <a:pt x="280268" y="206145"/>
                      </a:lnTo>
                      <a:lnTo>
                        <a:pt x="277628" y="218395"/>
                      </a:lnTo>
                      <a:lnTo>
                        <a:pt x="256716" y="234263"/>
                      </a:lnTo>
                      <a:lnTo>
                        <a:pt x="211191" y="226669"/>
                      </a:lnTo>
                      <a:lnTo>
                        <a:pt x="177569" y="235767"/>
                      </a:lnTo>
                      <a:lnTo>
                        <a:pt x="174928" y="252576"/>
                      </a:lnTo>
                      <a:lnTo>
                        <a:pt x="148171" y="256183"/>
                      </a:lnTo>
                      <a:lnTo>
                        <a:pt x="122198" y="243580"/>
                      </a:lnTo>
                      <a:lnTo>
                        <a:pt x="113807" y="249609"/>
                      </a:lnTo>
                      <a:lnTo>
                        <a:pt x="71315" y="236919"/>
                      </a:lnTo>
                      <a:lnTo>
                        <a:pt x="62115" y="226019"/>
                      </a:lnTo>
                      <a:lnTo>
                        <a:pt x="74052" y="209122"/>
                      </a:lnTo>
                      <a:lnTo>
                        <a:pt x="78447" y="152263"/>
                      </a:lnTo>
                      <a:lnTo>
                        <a:pt x="54628" y="121837"/>
                      </a:lnTo>
                      <a:lnTo>
                        <a:pt x="37603" y="107046"/>
                      </a:lnTo>
                      <a:lnTo>
                        <a:pt x="2327" y="95747"/>
                      </a:lnTo>
                      <a:lnTo>
                        <a:pt x="0" y="74192"/>
                      </a:lnTo>
                      <a:lnTo>
                        <a:pt x="29927" y="67728"/>
                      </a:lnTo>
                      <a:lnTo>
                        <a:pt x="68690" y="75372"/>
                      </a:lnTo>
                      <a:lnTo>
                        <a:pt x="61373" y="41574"/>
                      </a:lnTo>
                      <a:lnTo>
                        <a:pt x="83164" y="54434"/>
                      </a:lnTo>
                      <a:lnTo>
                        <a:pt x="136906" y="31008"/>
                      </a:lnTo>
                      <a:lnTo>
                        <a:pt x="143836" y="6160"/>
                      </a:lnTo>
                      <a:close/>
                    </a:path>
                  </a:pathLst>
                </a:custGeom>
                <a:solidFill>
                  <a:schemeClr val="accent1"/>
                </a:solidFill>
                <a:ln cap="rnd" w="3175">
                  <a:solidFill>
                    <a:srgbClr val="009fdf">
                      <a:lumMod val="60000"/>
                      <a:lumOff val="40000"/>
                    </a:srgbClr>
                  </a:solidFill>
                </a:ln>
              </p:spPr>
              <p:style>
                <a:lnRef idx="2">
                  <a:schemeClr val="accent1">
                    <a:shade val="50000"/>
                  </a:schemeClr>
                </a:lnRef>
                <a:fillRef idx="1">
                  <a:schemeClr val="accent1"/>
                </a:fillRef>
                <a:effectRef idx="0">
                  <a:schemeClr val="accent1"/>
                </a:effectRef>
                <a:fontRef idx="minor"/>
              </p:style>
              <p:txBody>
                <a:bodyPr numCol="1" spcCol="0" horzOverflow="overflow" lIns="72000" rIns="72000" tIns="72000" bIns="72000" anchor="ctr">
                  <a:noAutofit/>
                </a:bodyPr>
                <a:p>
                  <a:pPr algn="ctr" defTabSz="457200">
                    <a:lnSpc>
                      <a:spcPct val="100000"/>
                    </a:lnSpc>
                    <a:tabLst>
                      <a:tab algn="l" pos="0"/>
                    </a:tabLst>
                  </a:pPr>
                  <a:endParaRPr b="0" lang="de-DE" sz="1600" spc="-1" strike="noStrike">
                    <a:solidFill>
                      <a:srgbClr val="000000"/>
                    </a:solidFill>
                    <a:latin typeface="Arial"/>
                    <a:ea typeface="Arial"/>
                  </a:endParaRPr>
                </a:p>
              </p:txBody>
            </p:sp>
            <p:sp>
              <p:nvSpPr>
                <p:cNvPr id="433" name="Freeform 72"/>
                <p:cNvSpPr/>
                <p:nvPr/>
              </p:nvSpPr>
              <p:spPr>
                <a:xfrm>
                  <a:off x="7570800" y="4122720"/>
                  <a:ext cx="129240" cy="145080"/>
                </a:xfrm>
                <a:custGeom>
                  <a:avLst/>
                  <a:gdLst/>
                  <a:ahLst/>
                  <a:rect l="l" t="t" r="r" b="b"/>
                  <a:pathLst>
                    <a:path w="129898" h="145608">
                      <a:moveTo>
                        <a:pt x="52992" y="145607"/>
                      </a:moveTo>
                      <a:lnTo>
                        <a:pt x="29272" y="122281"/>
                      </a:lnTo>
                      <a:lnTo>
                        <a:pt x="14017" y="103221"/>
                      </a:lnTo>
                      <a:lnTo>
                        <a:pt x="0" y="79371"/>
                      </a:lnTo>
                      <a:lnTo>
                        <a:pt x="741" y="71701"/>
                      </a:lnTo>
                      <a:lnTo>
                        <a:pt x="5780" y="64321"/>
                      </a:lnTo>
                      <a:lnTo>
                        <a:pt x="11388" y="47516"/>
                      </a:lnTo>
                      <a:lnTo>
                        <a:pt x="16040" y="30401"/>
                      </a:lnTo>
                      <a:lnTo>
                        <a:pt x="23828" y="29067"/>
                      </a:lnTo>
                      <a:lnTo>
                        <a:pt x="57408" y="29303"/>
                      </a:lnTo>
                      <a:lnTo>
                        <a:pt x="57209" y="1518"/>
                      </a:lnTo>
                      <a:lnTo>
                        <a:pt x="68178" y="0"/>
                      </a:lnTo>
                      <a:lnTo>
                        <a:pt x="82206" y="3094"/>
                      </a:lnTo>
                      <a:lnTo>
                        <a:pt x="95870" y="119"/>
                      </a:lnTo>
                      <a:lnTo>
                        <a:pt x="98744" y="1378"/>
                      </a:lnTo>
                      <a:lnTo>
                        <a:pt x="97065" y="11451"/>
                      </a:lnTo>
                      <a:lnTo>
                        <a:pt x="103517" y="23381"/>
                      </a:lnTo>
                      <a:lnTo>
                        <a:pt x="120691" y="21500"/>
                      </a:lnTo>
                      <a:lnTo>
                        <a:pt x="126453" y="26088"/>
                      </a:lnTo>
                      <a:lnTo>
                        <a:pt x="116460" y="52823"/>
                      </a:lnTo>
                      <a:lnTo>
                        <a:pt x="127380" y="66474"/>
                      </a:lnTo>
                      <a:lnTo>
                        <a:pt x="129897" y="84498"/>
                      </a:lnTo>
                      <a:lnTo>
                        <a:pt x="126983" y="99849"/>
                      </a:lnTo>
                      <a:lnTo>
                        <a:pt x="119901" y="110762"/>
                      </a:lnTo>
                      <a:lnTo>
                        <a:pt x="99524" y="109790"/>
                      </a:lnTo>
                      <a:lnTo>
                        <a:pt x="87190" y="98700"/>
                      </a:lnTo>
                      <a:lnTo>
                        <a:pt x="85353" y="108934"/>
                      </a:lnTo>
                      <a:lnTo>
                        <a:pt x="69778" y="111763"/>
                      </a:lnTo>
                      <a:lnTo>
                        <a:pt x="61862" y="117571"/>
                      </a:lnTo>
                      <a:lnTo>
                        <a:pt x="70567" y="132849"/>
                      </a:lnTo>
                      <a:close/>
                    </a:path>
                  </a:pathLst>
                </a:custGeom>
                <a:solidFill>
                  <a:schemeClr val="accent1">
                    <a:lumMod val="20000"/>
                    <a:lumOff val="80000"/>
                  </a:schemeClr>
                </a:solidFill>
                <a:ln cap="rnd" w="3175">
                  <a:solidFill>
                    <a:srgbClr val="009fdf">
                      <a:lumMod val="60000"/>
                      <a:lumOff val="40000"/>
                    </a:srgbClr>
                  </a:solidFill>
                </a:ln>
              </p:spPr>
              <p:style>
                <a:lnRef idx="2">
                  <a:schemeClr val="accent1">
                    <a:shade val="50000"/>
                  </a:schemeClr>
                </a:lnRef>
                <a:fillRef idx="1">
                  <a:schemeClr val="accent1"/>
                </a:fillRef>
                <a:effectRef idx="0">
                  <a:schemeClr val="accent1"/>
                </a:effectRef>
                <a:fontRef idx="minor"/>
              </p:style>
              <p:txBody>
                <a:bodyPr numCol="1" spcCol="0" horzOverflow="overflow" lIns="72000" rIns="72000" tIns="72000" bIns="72000" anchor="ctr">
                  <a:noAutofit/>
                </a:bodyPr>
                <a:p>
                  <a:pPr algn="ctr" defTabSz="457200">
                    <a:lnSpc>
                      <a:spcPct val="100000"/>
                    </a:lnSpc>
                    <a:tabLst>
                      <a:tab algn="l" pos="0"/>
                    </a:tabLst>
                  </a:pPr>
                  <a:endParaRPr b="0" lang="de-DE" sz="1600" spc="-1" strike="noStrike">
                    <a:solidFill>
                      <a:srgbClr val="000000"/>
                    </a:solidFill>
                    <a:latin typeface="Arial"/>
                    <a:ea typeface="Arial"/>
                  </a:endParaRPr>
                </a:p>
              </p:txBody>
            </p:sp>
            <p:sp>
              <p:nvSpPr>
                <p:cNvPr id="434" name="Freeform 73"/>
                <p:cNvSpPr/>
                <p:nvPr/>
              </p:nvSpPr>
              <p:spPr>
                <a:xfrm>
                  <a:off x="8288640" y="3104640"/>
                  <a:ext cx="153720" cy="68760"/>
                </a:xfrm>
                <a:custGeom>
                  <a:avLst/>
                  <a:gdLst/>
                  <a:ahLst/>
                  <a:rect l="l" t="t" r="r" b="b"/>
                  <a:pathLst>
                    <a:path w="154260" h="69175">
                      <a:moveTo>
                        <a:pt x="36911" y="56199"/>
                      </a:moveTo>
                      <a:lnTo>
                        <a:pt x="40352" y="44385"/>
                      </a:lnTo>
                      <a:lnTo>
                        <a:pt x="34589" y="25426"/>
                      </a:lnTo>
                      <a:lnTo>
                        <a:pt x="21247" y="15134"/>
                      </a:lnTo>
                      <a:lnTo>
                        <a:pt x="8457" y="11914"/>
                      </a:lnTo>
                      <a:lnTo>
                        <a:pt x="0" y="3320"/>
                      </a:lnTo>
                      <a:lnTo>
                        <a:pt x="2815" y="0"/>
                      </a:lnTo>
                      <a:lnTo>
                        <a:pt x="22325" y="4804"/>
                      </a:lnTo>
                      <a:lnTo>
                        <a:pt x="56307" y="9345"/>
                      </a:lnTo>
                      <a:lnTo>
                        <a:pt x="87737" y="22756"/>
                      </a:lnTo>
                      <a:lnTo>
                        <a:pt x="91781" y="27938"/>
                      </a:lnTo>
                      <a:lnTo>
                        <a:pt x="105779" y="23561"/>
                      </a:lnTo>
                      <a:lnTo>
                        <a:pt x="127307" y="29392"/>
                      </a:lnTo>
                      <a:lnTo>
                        <a:pt x="134374" y="40795"/>
                      </a:lnTo>
                      <a:lnTo>
                        <a:pt x="148882" y="47217"/>
                      </a:lnTo>
                      <a:lnTo>
                        <a:pt x="142891" y="51030"/>
                      </a:lnTo>
                      <a:lnTo>
                        <a:pt x="154259" y="65951"/>
                      </a:lnTo>
                      <a:lnTo>
                        <a:pt x="151114" y="69174"/>
                      </a:lnTo>
                      <a:lnTo>
                        <a:pt x="138671" y="67541"/>
                      </a:lnTo>
                      <a:lnTo>
                        <a:pt x="121471" y="59624"/>
                      </a:lnTo>
                      <a:lnTo>
                        <a:pt x="115817" y="64123"/>
                      </a:lnTo>
                      <a:lnTo>
                        <a:pt x="83738" y="68413"/>
                      </a:lnTo>
                      <a:lnTo>
                        <a:pt x="61505" y="54887"/>
                      </a:lnTo>
                      <a:close/>
                    </a:path>
                  </a:pathLst>
                </a:custGeom>
                <a:solidFill>
                  <a:schemeClr val="accent1"/>
                </a:solidFill>
                <a:ln cap="rnd" w="3175">
                  <a:solidFill>
                    <a:srgbClr val="009fdf">
                      <a:lumMod val="60000"/>
                      <a:lumOff val="40000"/>
                    </a:srgbClr>
                  </a:solidFill>
                </a:ln>
              </p:spPr>
              <p:style>
                <a:lnRef idx="2">
                  <a:schemeClr val="accent1">
                    <a:shade val="50000"/>
                  </a:schemeClr>
                </a:lnRef>
                <a:fillRef idx="1">
                  <a:schemeClr val="accent1"/>
                </a:fillRef>
                <a:effectRef idx="0">
                  <a:schemeClr val="accent1"/>
                </a:effectRef>
                <a:fontRef idx="minor"/>
              </p:style>
              <p:txBody>
                <a:bodyPr numCol="1" spcCol="0" horzOverflow="overflow" lIns="72000" rIns="72000" tIns="34200" bIns="34200" anchor="ctr">
                  <a:noAutofit/>
                </a:bodyPr>
                <a:p>
                  <a:pPr algn="ctr" defTabSz="457200">
                    <a:lnSpc>
                      <a:spcPct val="100000"/>
                    </a:lnSpc>
                    <a:tabLst>
                      <a:tab algn="l" pos="0"/>
                    </a:tabLst>
                  </a:pPr>
                  <a:endParaRPr b="0" lang="de-DE" sz="1600" spc="-1" strike="noStrike">
                    <a:solidFill>
                      <a:srgbClr val="000000"/>
                    </a:solidFill>
                    <a:latin typeface="Arial"/>
                    <a:ea typeface="Arial"/>
                  </a:endParaRPr>
                </a:p>
              </p:txBody>
            </p:sp>
            <p:sp>
              <p:nvSpPr>
                <p:cNvPr id="435" name="Freeform 74"/>
                <p:cNvSpPr/>
                <p:nvPr/>
              </p:nvSpPr>
              <p:spPr>
                <a:xfrm>
                  <a:off x="7293600" y="3919680"/>
                  <a:ext cx="98640" cy="147600"/>
                </a:xfrm>
                <a:custGeom>
                  <a:avLst/>
                  <a:gdLst/>
                  <a:ahLst/>
                  <a:rect l="l" t="t" r="r" b="b"/>
                  <a:pathLst>
                    <a:path w="99360" h="148403">
                      <a:moveTo>
                        <a:pt x="99359" y="120201"/>
                      </a:moveTo>
                      <a:lnTo>
                        <a:pt x="63171" y="133754"/>
                      </a:lnTo>
                      <a:lnTo>
                        <a:pt x="50337" y="141691"/>
                      </a:lnTo>
                      <a:lnTo>
                        <a:pt x="29538" y="148402"/>
                      </a:lnTo>
                      <a:lnTo>
                        <a:pt x="8962" y="141831"/>
                      </a:lnTo>
                      <a:lnTo>
                        <a:pt x="10010" y="132699"/>
                      </a:lnTo>
                      <a:lnTo>
                        <a:pt x="0" y="112750"/>
                      </a:lnTo>
                      <a:lnTo>
                        <a:pt x="6019" y="86565"/>
                      </a:lnTo>
                      <a:lnTo>
                        <a:pt x="15746" y="67062"/>
                      </a:lnTo>
                      <a:lnTo>
                        <a:pt x="9622" y="33961"/>
                      </a:lnTo>
                      <a:lnTo>
                        <a:pt x="6474" y="16411"/>
                      </a:lnTo>
                      <a:lnTo>
                        <a:pt x="7016" y="3168"/>
                      </a:lnTo>
                      <a:lnTo>
                        <a:pt x="47112" y="2068"/>
                      </a:lnTo>
                      <a:lnTo>
                        <a:pt x="57309" y="3770"/>
                      </a:lnTo>
                      <a:lnTo>
                        <a:pt x="64762" y="0"/>
                      </a:lnTo>
                      <a:lnTo>
                        <a:pt x="75438" y="1861"/>
                      </a:lnTo>
                      <a:lnTo>
                        <a:pt x="73739" y="9140"/>
                      </a:lnTo>
                      <a:lnTo>
                        <a:pt x="83373" y="21172"/>
                      </a:lnTo>
                      <a:lnTo>
                        <a:pt x="83335" y="38094"/>
                      </a:lnTo>
                      <a:lnTo>
                        <a:pt x="85534" y="56425"/>
                      </a:lnTo>
                      <a:lnTo>
                        <a:pt x="91324" y="64904"/>
                      </a:lnTo>
                      <a:lnTo>
                        <a:pt x="86221" y="85821"/>
                      </a:lnTo>
                      <a:lnTo>
                        <a:pt x="88054" y="97360"/>
                      </a:lnTo>
                      <a:lnTo>
                        <a:pt x="94207" y="112066"/>
                      </a:lnTo>
                      <a:close/>
                    </a:path>
                  </a:pathLst>
                </a:custGeom>
                <a:solidFill>
                  <a:schemeClr val="accent1">
                    <a:lumMod val="20000"/>
                    <a:lumOff val="80000"/>
                  </a:schemeClr>
                </a:solidFill>
                <a:ln cap="rnd" w="3175">
                  <a:solidFill>
                    <a:srgbClr val="009fdf">
                      <a:lumMod val="60000"/>
                      <a:lumOff val="40000"/>
                    </a:srgbClr>
                  </a:solidFill>
                </a:ln>
              </p:spPr>
              <p:style>
                <a:lnRef idx="2">
                  <a:schemeClr val="accent1">
                    <a:shade val="50000"/>
                  </a:schemeClr>
                </a:lnRef>
                <a:fillRef idx="1">
                  <a:schemeClr val="accent1"/>
                </a:fillRef>
                <a:effectRef idx="0">
                  <a:schemeClr val="accent1"/>
                </a:effectRef>
                <a:fontRef idx="minor"/>
              </p:style>
              <p:txBody>
                <a:bodyPr numCol="1" spcCol="0" horzOverflow="overflow" lIns="72000" rIns="72000" tIns="72000" bIns="72000" anchor="ctr">
                  <a:noAutofit/>
                </a:bodyPr>
                <a:p>
                  <a:pPr algn="ctr" defTabSz="457200">
                    <a:lnSpc>
                      <a:spcPct val="100000"/>
                    </a:lnSpc>
                    <a:tabLst>
                      <a:tab algn="l" pos="0"/>
                    </a:tabLst>
                  </a:pPr>
                  <a:endParaRPr b="0" lang="de-DE" sz="1600" spc="-1" strike="noStrike">
                    <a:solidFill>
                      <a:srgbClr val="000000"/>
                    </a:solidFill>
                    <a:latin typeface="Arial"/>
                    <a:ea typeface="Arial"/>
                  </a:endParaRPr>
                </a:p>
              </p:txBody>
            </p:sp>
            <p:sp>
              <p:nvSpPr>
                <p:cNvPr id="436" name="Freeform 75"/>
                <p:cNvSpPr/>
                <p:nvPr/>
              </p:nvSpPr>
              <p:spPr>
                <a:xfrm>
                  <a:off x="7019640" y="3884760"/>
                  <a:ext cx="167760" cy="122400"/>
                </a:xfrm>
                <a:custGeom>
                  <a:avLst/>
                  <a:gdLst/>
                  <a:ahLst/>
                  <a:rect l="l" t="t" r="r" b="b"/>
                  <a:pathLst>
                    <a:path w="168464" h="123025">
                      <a:moveTo>
                        <a:pt x="154447" y="114274"/>
                      </a:moveTo>
                      <a:lnTo>
                        <a:pt x="147919" y="113678"/>
                      </a:lnTo>
                      <a:lnTo>
                        <a:pt x="143211" y="123024"/>
                      </a:lnTo>
                      <a:lnTo>
                        <a:pt x="136685" y="122910"/>
                      </a:lnTo>
                      <a:lnTo>
                        <a:pt x="132194" y="117968"/>
                      </a:lnTo>
                      <a:lnTo>
                        <a:pt x="133719" y="108643"/>
                      </a:lnTo>
                      <a:lnTo>
                        <a:pt x="124069" y="94410"/>
                      </a:lnTo>
                      <a:lnTo>
                        <a:pt x="118039" y="97027"/>
                      </a:lnTo>
                      <a:lnTo>
                        <a:pt x="113111" y="97545"/>
                      </a:lnTo>
                      <a:lnTo>
                        <a:pt x="106754" y="98877"/>
                      </a:lnTo>
                      <a:lnTo>
                        <a:pt x="107012" y="90353"/>
                      </a:lnTo>
                      <a:lnTo>
                        <a:pt x="103308" y="84267"/>
                      </a:lnTo>
                      <a:lnTo>
                        <a:pt x="104055" y="77502"/>
                      </a:lnTo>
                      <a:lnTo>
                        <a:pt x="99052" y="67714"/>
                      </a:lnTo>
                      <a:lnTo>
                        <a:pt x="92627" y="59380"/>
                      </a:lnTo>
                      <a:lnTo>
                        <a:pt x="74166" y="59354"/>
                      </a:lnTo>
                      <a:lnTo>
                        <a:pt x="68786" y="63745"/>
                      </a:lnTo>
                      <a:lnTo>
                        <a:pt x="62425" y="64275"/>
                      </a:lnTo>
                      <a:lnTo>
                        <a:pt x="58483" y="69299"/>
                      </a:lnTo>
                      <a:lnTo>
                        <a:pt x="55823" y="75761"/>
                      </a:lnTo>
                      <a:lnTo>
                        <a:pt x="43483" y="85992"/>
                      </a:lnTo>
                      <a:lnTo>
                        <a:pt x="33359" y="72221"/>
                      </a:lnTo>
                      <a:lnTo>
                        <a:pt x="24382" y="63102"/>
                      </a:lnTo>
                      <a:lnTo>
                        <a:pt x="18472" y="60083"/>
                      </a:lnTo>
                      <a:lnTo>
                        <a:pt x="12710" y="55449"/>
                      </a:lnTo>
                      <a:lnTo>
                        <a:pt x="10089" y="45141"/>
                      </a:lnTo>
                      <a:lnTo>
                        <a:pt x="6712" y="39998"/>
                      </a:lnTo>
                      <a:lnTo>
                        <a:pt x="0" y="36172"/>
                      </a:lnTo>
                      <a:lnTo>
                        <a:pt x="10263" y="24780"/>
                      </a:lnTo>
                      <a:lnTo>
                        <a:pt x="17269" y="25214"/>
                      </a:lnTo>
                      <a:lnTo>
                        <a:pt x="23289" y="21288"/>
                      </a:lnTo>
                      <a:lnTo>
                        <a:pt x="28381" y="21251"/>
                      </a:lnTo>
                      <a:lnTo>
                        <a:pt x="32019" y="18150"/>
                      </a:lnTo>
                      <a:lnTo>
                        <a:pt x="30055" y="10392"/>
                      </a:lnTo>
                      <a:lnTo>
                        <a:pt x="32583" y="7944"/>
                      </a:lnTo>
                      <a:lnTo>
                        <a:pt x="33005" y="0"/>
                      </a:lnTo>
                      <a:lnTo>
                        <a:pt x="44146" y="242"/>
                      </a:lnTo>
                      <a:lnTo>
                        <a:pt x="60737" y="5955"/>
                      </a:lnTo>
                      <a:lnTo>
                        <a:pt x="65826" y="5431"/>
                      </a:lnTo>
                      <a:lnTo>
                        <a:pt x="67558" y="2825"/>
                      </a:lnTo>
                      <a:lnTo>
                        <a:pt x="80144" y="4678"/>
                      </a:lnTo>
                      <a:lnTo>
                        <a:pt x="83476" y="3356"/>
                      </a:lnTo>
                      <a:lnTo>
                        <a:pt x="84810" y="11933"/>
                      </a:lnTo>
                      <a:lnTo>
                        <a:pt x="88470" y="11907"/>
                      </a:lnTo>
                      <a:lnTo>
                        <a:pt x="94495" y="8786"/>
                      </a:lnTo>
                      <a:lnTo>
                        <a:pt x="98320" y="9567"/>
                      </a:lnTo>
                      <a:lnTo>
                        <a:pt x="104729" y="15512"/>
                      </a:lnTo>
                      <a:lnTo>
                        <a:pt x="114608" y="17382"/>
                      </a:lnTo>
                      <a:lnTo>
                        <a:pt x="120938" y="12316"/>
                      </a:lnTo>
                      <a:lnTo>
                        <a:pt x="128395" y="9184"/>
                      </a:lnTo>
                      <a:lnTo>
                        <a:pt x="133942" y="5903"/>
                      </a:lnTo>
                      <a:lnTo>
                        <a:pt x="138562" y="6518"/>
                      </a:lnTo>
                      <a:lnTo>
                        <a:pt x="143691" y="11664"/>
                      </a:lnTo>
                      <a:lnTo>
                        <a:pt x="146442" y="18119"/>
                      </a:lnTo>
                      <a:lnTo>
                        <a:pt x="155901" y="27917"/>
                      </a:lnTo>
                      <a:lnTo>
                        <a:pt x="151169" y="33933"/>
                      </a:lnTo>
                      <a:lnTo>
                        <a:pt x="150268" y="41532"/>
                      </a:lnTo>
                      <a:lnTo>
                        <a:pt x="155185" y="39235"/>
                      </a:lnTo>
                      <a:lnTo>
                        <a:pt x="158070" y="41959"/>
                      </a:lnTo>
                      <a:lnTo>
                        <a:pt x="156846" y="48909"/>
                      </a:lnTo>
                      <a:lnTo>
                        <a:pt x="163896" y="55634"/>
                      </a:lnTo>
                      <a:lnTo>
                        <a:pt x="159293" y="57442"/>
                      </a:lnTo>
                      <a:lnTo>
                        <a:pt x="157440" y="65354"/>
                      </a:lnTo>
                      <a:lnTo>
                        <a:pt x="162761" y="74980"/>
                      </a:lnTo>
                      <a:lnTo>
                        <a:pt x="168463" y="93605"/>
                      </a:lnTo>
                      <a:lnTo>
                        <a:pt x="159890" y="96400"/>
                      </a:lnTo>
                      <a:lnTo>
                        <a:pt x="157684" y="99631"/>
                      </a:lnTo>
                      <a:lnTo>
                        <a:pt x="159467" y="104118"/>
                      </a:lnTo>
                      <a:lnTo>
                        <a:pt x="158107" y="114247"/>
                      </a:lnTo>
                      <a:close/>
                    </a:path>
                  </a:pathLst>
                </a:custGeom>
                <a:solidFill>
                  <a:schemeClr val="accent1">
                    <a:lumMod val="20000"/>
                    <a:lumOff val="80000"/>
                  </a:schemeClr>
                </a:solidFill>
                <a:ln cap="rnd" w="3175">
                  <a:solidFill>
                    <a:srgbClr val="009fdf">
                      <a:lumMod val="60000"/>
                      <a:lumOff val="40000"/>
                    </a:srgbClr>
                  </a:solidFill>
                </a:ln>
              </p:spPr>
              <p:style>
                <a:lnRef idx="2">
                  <a:schemeClr val="accent1">
                    <a:shade val="50000"/>
                  </a:schemeClr>
                </a:lnRef>
                <a:fillRef idx="1">
                  <a:schemeClr val="accent1"/>
                </a:fillRef>
                <a:effectRef idx="0">
                  <a:schemeClr val="accent1"/>
                </a:effectRef>
                <a:fontRef idx="minor"/>
              </p:style>
              <p:txBody>
                <a:bodyPr numCol="1" spcCol="0" horzOverflow="overflow" lIns="72000" rIns="72000" tIns="61200" bIns="61200" anchor="ctr">
                  <a:noAutofit/>
                </a:bodyPr>
                <a:p>
                  <a:pPr algn="ctr" defTabSz="457200">
                    <a:lnSpc>
                      <a:spcPct val="100000"/>
                    </a:lnSpc>
                    <a:tabLst>
                      <a:tab algn="l" pos="0"/>
                    </a:tabLst>
                  </a:pPr>
                  <a:endParaRPr b="0" lang="de-DE" sz="1600" spc="-1" strike="noStrike">
                    <a:solidFill>
                      <a:srgbClr val="000000"/>
                    </a:solidFill>
                    <a:latin typeface="Arial"/>
                    <a:ea typeface="Arial"/>
                  </a:endParaRPr>
                </a:p>
              </p:txBody>
            </p:sp>
            <p:sp>
              <p:nvSpPr>
                <p:cNvPr id="437" name="Freeform 76"/>
                <p:cNvSpPr/>
                <p:nvPr/>
              </p:nvSpPr>
              <p:spPr>
                <a:xfrm>
                  <a:off x="6980400" y="3854520"/>
                  <a:ext cx="68760" cy="17280"/>
                </a:xfrm>
                <a:custGeom>
                  <a:avLst/>
                  <a:gdLst/>
                  <a:ahLst/>
                  <a:rect l="l" t="t" r="r" b="b"/>
                  <a:pathLst>
                    <a:path w="69170" h="17536">
                      <a:moveTo>
                        <a:pt x="0" y="17040"/>
                      </a:moveTo>
                      <a:lnTo>
                        <a:pt x="2950" y="6620"/>
                      </a:lnTo>
                      <a:lnTo>
                        <a:pt x="28090" y="5947"/>
                      </a:lnTo>
                      <a:lnTo>
                        <a:pt x="33303" y="379"/>
                      </a:lnTo>
                      <a:lnTo>
                        <a:pt x="40621" y="0"/>
                      </a:lnTo>
                      <a:lnTo>
                        <a:pt x="49731" y="5788"/>
                      </a:lnTo>
                      <a:lnTo>
                        <a:pt x="56895" y="5898"/>
                      </a:lnTo>
                      <a:lnTo>
                        <a:pt x="64505" y="1939"/>
                      </a:lnTo>
                      <a:lnTo>
                        <a:pt x="69169" y="8733"/>
                      </a:lnTo>
                      <a:lnTo>
                        <a:pt x="59180" y="14006"/>
                      </a:lnTo>
                      <a:lnTo>
                        <a:pt x="49150" y="13592"/>
                      </a:lnTo>
                      <a:lnTo>
                        <a:pt x="39249" y="8628"/>
                      </a:lnTo>
                      <a:lnTo>
                        <a:pt x="30693" y="14053"/>
                      </a:lnTo>
                      <a:lnTo>
                        <a:pt x="26557" y="14246"/>
                      </a:lnTo>
                      <a:lnTo>
                        <a:pt x="21011" y="17535"/>
                      </a:lnTo>
                      <a:close/>
                    </a:path>
                  </a:pathLst>
                </a:custGeom>
                <a:solidFill>
                  <a:schemeClr val="accent1"/>
                </a:solidFill>
                <a:ln cap="rnd" w="3175">
                  <a:solidFill>
                    <a:srgbClr val="009fdf">
                      <a:lumMod val="60000"/>
                      <a:lumOff val="40000"/>
                    </a:srgbClr>
                  </a:solidFill>
                </a:ln>
              </p:spPr>
              <p:style>
                <a:lnRef idx="2">
                  <a:schemeClr val="accent1">
                    <a:shade val="50000"/>
                  </a:schemeClr>
                </a:lnRef>
                <a:fillRef idx="1">
                  <a:schemeClr val="accent1"/>
                </a:fillRef>
                <a:effectRef idx="0">
                  <a:schemeClr val="accent1"/>
                </a:effectRef>
                <a:fontRef idx="minor"/>
              </p:style>
              <p:txBody>
                <a:bodyPr numCol="1" spcCol="0" horzOverflow="overflow" lIns="72000" rIns="72000" tIns="8640" bIns="8640" anchor="ctr">
                  <a:noAutofit/>
                </a:bodyPr>
                <a:p>
                  <a:pPr algn="ctr" defTabSz="457200">
                    <a:lnSpc>
                      <a:spcPct val="100000"/>
                    </a:lnSpc>
                    <a:tabLst>
                      <a:tab algn="l" pos="0"/>
                    </a:tabLst>
                  </a:pPr>
                  <a:endParaRPr b="0" lang="de-DE" sz="1600" spc="-1" strike="noStrike">
                    <a:solidFill>
                      <a:srgbClr val="000000"/>
                    </a:solidFill>
                    <a:latin typeface="Arial"/>
                    <a:ea typeface="Arial"/>
                  </a:endParaRPr>
                </a:p>
              </p:txBody>
            </p:sp>
            <p:sp>
              <p:nvSpPr>
                <p:cNvPr id="438" name="Freeform 77"/>
                <p:cNvSpPr/>
                <p:nvPr/>
              </p:nvSpPr>
              <p:spPr>
                <a:xfrm>
                  <a:off x="6984000" y="3884040"/>
                  <a:ext cx="68400" cy="36720"/>
                </a:xfrm>
                <a:custGeom>
                  <a:avLst/>
                  <a:gdLst/>
                  <a:ahLst/>
                  <a:rect l="l" t="t" r="r" b="b"/>
                  <a:pathLst>
                    <a:path w="68718" h="37158">
                      <a:moveTo>
                        <a:pt x="35712" y="37157"/>
                      </a:moveTo>
                      <a:lnTo>
                        <a:pt x="23389" y="27387"/>
                      </a:lnTo>
                      <a:lnTo>
                        <a:pt x="13671" y="25841"/>
                      </a:lnTo>
                      <a:lnTo>
                        <a:pt x="8372" y="19246"/>
                      </a:lnTo>
                      <a:lnTo>
                        <a:pt x="8506" y="15684"/>
                      </a:lnTo>
                      <a:lnTo>
                        <a:pt x="1468" y="10715"/>
                      </a:lnTo>
                      <a:lnTo>
                        <a:pt x="0" y="5704"/>
                      </a:lnTo>
                      <a:lnTo>
                        <a:pt x="12228" y="1885"/>
                      </a:lnTo>
                      <a:lnTo>
                        <a:pt x="19872" y="2640"/>
                      </a:lnTo>
                      <a:lnTo>
                        <a:pt x="26060" y="0"/>
                      </a:lnTo>
                      <a:lnTo>
                        <a:pt x="68717" y="985"/>
                      </a:lnTo>
                      <a:lnTo>
                        <a:pt x="68295" y="8929"/>
                      </a:lnTo>
                      <a:lnTo>
                        <a:pt x="65767" y="11377"/>
                      </a:lnTo>
                      <a:lnTo>
                        <a:pt x="67731" y="19135"/>
                      </a:lnTo>
                      <a:lnTo>
                        <a:pt x="64093" y="22236"/>
                      </a:lnTo>
                      <a:lnTo>
                        <a:pt x="59001" y="22273"/>
                      </a:lnTo>
                      <a:lnTo>
                        <a:pt x="52981" y="26199"/>
                      </a:lnTo>
                      <a:lnTo>
                        <a:pt x="45975" y="25765"/>
                      </a:lnTo>
                      <a:close/>
                    </a:path>
                  </a:pathLst>
                </a:custGeom>
                <a:solidFill>
                  <a:schemeClr val="accent1">
                    <a:lumMod val="20000"/>
                    <a:lumOff val="80000"/>
                  </a:schemeClr>
                </a:solidFill>
                <a:ln cap="rnd" w="3175">
                  <a:solidFill>
                    <a:srgbClr val="009fdf">
                      <a:lumMod val="60000"/>
                      <a:lumOff val="40000"/>
                    </a:srgbClr>
                  </a:solidFill>
                </a:ln>
              </p:spPr>
              <p:style>
                <a:lnRef idx="2">
                  <a:schemeClr val="accent1">
                    <a:shade val="50000"/>
                  </a:schemeClr>
                </a:lnRef>
                <a:fillRef idx="1">
                  <a:schemeClr val="accent1"/>
                </a:fillRef>
                <a:effectRef idx="0">
                  <a:schemeClr val="accent1"/>
                </a:effectRef>
                <a:fontRef idx="minor"/>
              </p:style>
              <p:txBody>
                <a:bodyPr numCol="1" spcCol="0" horzOverflow="overflow" lIns="72000" rIns="72000" tIns="18360" bIns="18360" anchor="ctr">
                  <a:noAutofit/>
                </a:bodyPr>
                <a:p>
                  <a:pPr algn="ctr" defTabSz="457200">
                    <a:lnSpc>
                      <a:spcPct val="100000"/>
                    </a:lnSpc>
                    <a:tabLst>
                      <a:tab algn="l" pos="0"/>
                    </a:tabLst>
                  </a:pPr>
                  <a:endParaRPr b="0" lang="de-DE" sz="1600" spc="-1" strike="noStrike">
                    <a:solidFill>
                      <a:srgbClr val="000000"/>
                    </a:solidFill>
                    <a:latin typeface="Arial"/>
                    <a:ea typeface="Arial"/>
                  </a:endParaRPr>
                </a:p>
              </p:txBody>
            </p:sp>
            <p:sp>
              <p:nvSpPr>
                <p:cNvPr id="439" name="Freeform 78"/>
                <p:cNvSpPr/>
                <p:nvPr/>
              </p:nvSpPr>
              <p:spPr>
                <a:xfrm>
                  <a:off x="7582680" y="4123800"/>
                  <a:ext cx="45360" cy="29160"/>
                </a:xfrm>
                <a:custGeom>
                  <a:avLst/>
                  <a:gdLst/>
                  <a:ahLst/>
                  <a:rect l="l" t="t" r="r" b="b"/>
                  <a:pathLst>
                    <a:path w="45692" h="29411">
                      <a:moveTo>
                        <a:pt x="4323" y="29410"/>
                      </a:moveTo>
                      <a:lnTo>
                        <a:pt x="0" y="25929"/>
                      </a:lnTo>
                      <a:lnTo>
                        <a:pt x="7930" y="0"/>
                      </a:lnTo>
                      <a:lnTo>
                        <a:pt x="45492" y="527"/>
                      </a:lnTo>
                      <a:lnTo>
                        <a:pt x="45691" y="28312"/>
                      </a:lnTo>
                      <a:lnTo>
                        <a:pt x="12111" y="28076"/>
                      </a:lnTo>
                      <a:close/>
                    </a:path>
                  </a:pathLst>
                </a:custGeom>
                <a:solidFill>
                  <a:schemeClr val="accent1"/>
                </a:solidFill>
                <a:ln cap="rnd" w="3175">
                  <a:solidFill>
                    <a:srgbClr val="009fdf">
                      <a:lumMod val="60000"/>
                      <a:lumOff val="40000"/>
                    </a:srgbClr>
                  </a:solidFill>
                </a:ln>
              </p:spPr>
              <p:style>
                <a:lnRef idx="2">
                  <a:schemeClr val="accent1">
                    <a:shade val="50000"/>
                  </a:schemeClr>
                </a:lnRef>
                <a:fillRef idx="1">
                  <a:schemeClr val="accent1"/>
                </a:fillRef>
                <a:effectRef idx="0">
                  <a:schemeClr val="accent1"/>
                </a:effectRef>
                <a:fontRef idx="minor"/>
              </p:style>
              <p:txBody>
                <a:bodyPr numCol="1" spcCol="0" horzOverflow="overflow" lIns="72000" rIns="72000" tIns="14400" bIns="14400" anchor="ctr">
                  <a:noAutofit/>
                </a:bodyPr>
                <a:p>
                  <a:pPr algn="ctr" defTabSz="457200">
                    <a:lnSpc>
                      <a:spcPct val="100000"/>
                    </a:lnSpc>
                    <a:tabLst>
                      <a:tab algn="l" pos="0"/>
                    </a:tabLst>
                  </a:pPr>
                  <a:endParaRPr b="0" lang="de-DE" sz="1600" spc="-1" strike="noStrike">
                    <a:solidFill>
                      <a:srgbClr val="000000"/>
                    </a:solidFill>
                    <a:latin typeface="Arial"/>
                    <a:ea typeface="Arial"/>
                  </a:endParaRPr>
                </a:p>
              </p:txBody>
            </p:sp>
            <p:sp>
              <p:nvSpPr>
                <p:cNvPr id="440" name="Freeform 79"/>
                <p:cNvSpPr/>
                <p:nvPr/>
              </p:nvSpPr>
              <p:spPr>
                <a:xfrm>
                  <a:off x="7832520" y="3152880"/>
                  <a:ext cx="148320" cy="184680"/>
                </a:xfrm>
                <a:custGeom>
                  <a:avLst/>
                  <a:gdLst>
                    <a:gd name="textAreaLeft" fmla="*/ 0 w 148320"/>
                    <a:gd name="textAreaRight" fmla="*/ 148680 w 148320"/>
                    <a:gd name="textAreaTop" fmla="*/ 0 h 184680"/>
                    <a:gd name="textAreaBottom" fmla="*/ 185040 h 184680"/>
                  </a:gdLst>
                  <a:ahLst/>
                  <a:rect l="textAreaLeft" t="textAreaTop" r="textAreaRight" b="textAreaBottom"/>
                  <a:pathLst>
                    <a:path w="148979" h="185536">
                      <a:moveTo>
                        <a:pt x="81942" y="164966"/>
                      </a:moveTo>
                      <a:lnTo>
                        <a:pt x="94561" y="173811"/>
                      </a:lnTo>
                      <a:lnTo>
                        <a:pt x="112528" y="172317"/>
                      </a:lnTo>
                      <a:lnTo>
                        <a:pt x="129706" y="174178"/>
                      </a:lnTo>
                      <a:lnTo>
                        <a:pt x="129148" y="178736"/>
                      </a:lnTo>
                      <a:lnTo>
                        <a:pt x="141727" y="175594"/>
                      </a:lnTo>
                      <a:lnTo>
                        <a:pt x="138842" y="183314"/>
                      </a:lnTo>
                      <a:lnTo>
                        <a:pt x="105602" y="185536"/>
                      </a:lnTo>
                      <a:lnTo>
                        <a:pt x="105834" y="181222"/>
                      </a:lnTo>
                      <a:lnTo>
                        <a:pt x="77672" y="176118"/>
                      </a:lnTo>
                      <a:close/>
                      <a:moveTo>
                        <a:pt x="137735" y="0"/>
                      </a:moveTo>
                      <a:lnTo>
                        <a:pt x="148979" y="7318"/>
                      </a:lnTo>
                      <a:lnTo>
                        <a:pt x="141833" y="24543"/>
                      </a:lnTo>
                      <a:lnTo>
                        <a:pt x="136347" y="27619"/>
                      </a:lnTo>
                      <a:lnTo>
                        <a:pt x="122284" y="26839"/>
                      </a:lnTo>
                      <a:lnTo>
                        <a:pt x="110239" y="24247"/>
                      </a:lnTo>
                      <a:lnTo>
                        <a:pt x="82285" y="31373"/>
                      </a:lnTo>
                      <a:lnTo>
                        <a:pt x="98285" y="46728"/>
                      </a:lnTo>
                      <a:lnTo>
                        <a:pt x="86559" y="51166"/>
                      </a:lnTo>
                      <a:lnTo>
                        <a:pt x="73702" y="51193"/>
                      </a:lnTo>
                      <a:lnTo>
                        <a:pt x="61491" y="37149"/>
                      </a:lnTo>
                      <a:lnTo>
                        <a:pt x="57159" y="43141"/>
                      </a:lnTo>
                      <a:lnTo>
                        <a:pt x="62317" y="59391"/>
                      </a:lnTo>
                      <a:lnTo>
                        <a:pt x="73865" y="72102"/>
                      </a:lnTo>
                      <a:lnTo>
                        <a:pt x="65164" y="78019"/>
                      </a:lnTo>
                      <a:lnTo>
                        <a:pt x="78019" y="90429"/>
                      </a:lnTo>
                      <a:lnTo>
                        <a:pt x="89445" y="98214"/>
                      </a:lnTo>
                      <a:lnTo>
                        <a:pt x="89791" y="113326"/>
                      </a:lnTo>
                      <a:lnTo>
                        <a:pt x="68440" y="106247"/>
                      </a:lnTo>
                      <a:lnTo>
                        <a:pt x="75248" y="119859"/>
                      </a:lnTo>
                      <a:lnTo>
                        <a:pt x="60591" y="122653"/>
                      </a:lnTo>
                      <a:lnTo>
                        <a:pt x="69345" y="146057"/>
                      </a:lnTo>
                      <a:lnTo>
                        <a:pt x="54013" y="146387"/>
                      </a:lnTo>
                      <a:lnTo>
                        <a:pt x="35086" y="134873"/>
                      </a:lnTo>
                      <a:lnTo>
                        <a:pt x="26430" y="113594"/>
                      </a:lnTo>
                      <a:lnTo>
                        <a:pt x="22390" y="95791"/>
                      </a:lnTo>
                      <a:lnTo>
                        <a:pt x="13388" y="83434"/>
                      </a:lnTo>
                      <a:lnTo>
                        <a:pt x="1562" y="68039"/>
                      </a:lnTo>
                      <a:lnTo>
                        <a:pt x="0" y="60323"/>
                      </a:lnTo>
                      <a:lnTo>
                        <a:pt x="10733" y="47136"/>
                      </a:lnTo>
                      <a:lnTo>
                        <a:pt x="12118" y="38269"/>
                      </a:lnTo>
                      <a:lnTo>
                        <a:pt x="19619" y="34305"/>
                      </a:lnTo>
                      <a:lnTo>
                        <a:pt x="20082" y="27109"/>
                      </a:lnTo>
                      <a:lnTo>
                        <a:pt x="35181" y="24680"/>
                      </a:lnTo>
                      <a:lnTo>
                        <a:pt x="43981" y="18675"/>
                      </a:lnTo>
                      <a:lnTo>
                        <a:pt x="56490" y="19208"/>
                      </a:lnTo>
                      <a:lnTo>
                        <a:pt x="60286" y="14412"/>
                      </a:lnTo>
                      <a:lnTo>
                        <a:pt x="64686" y="13497"/>
                      </a:lnTo>
                      <a:lnTo>
                        <a:pt x="81760" y="14294"/>
                      </a:lnTo>
                      <a:lnTo>
                        <a:pt x="100239" y="6716"/>
                      </a:lnTo>
                      <a:lnTo>
                        <a:pt x="116502" y="16347"/>
                      </a:lnTo>
                      <a:lnTo>
                        <a:pt x="137483" y="13748"/>
                      </a:lnTo>
                      <a:close/>
                    </a:path>
                  </a:pathLst>
                </a:custGeom>
                <a:solidFill>
                  <a:schemeClr val="accent1"/>
                </a:solidFill>
                <a:ln cap="rnd" w="3175">
                  <a:solidFill>
                    <a:srgbClr val="009fdf">
                      <a:lumMod val="60000"/>
                      <a:lumOff val="40000"/>
                    </a:srgbClr>
                  </a:solidFill>
                </a:ln>
              </p:spPr>
              <p:style>
                <a:lnRef idx="2">
                  <a:schemeClr val="accent1">
                    <a:shade val="50000"/>
                  </a:schemeClr>
                </a:lnRef>
                <a:fillRef idx="1">
                  <a:schemeClr val="accent1"/>
                </a:fillRef>
                <a:effectRef idx="0">
                  <a:schemeClr val="accent1"/>
                </a:effectRef>
                <a:fontRef idx="minor"/>
              </p:style>
              <p:txBody>
                <a:bodyPr numCol="1" spcCol="0" horzOverflow="overflow" lIns="72000" rIns="72000" tIns="72000" bIns="72000" anchor="ctr">
                  <a:noAutofit/>
                </a:bodyPr>
                <a:p>
                  <a:pPr algn="ctr" defTabSz="457200">
                    <a:lnSpc>
                      <a:spcPct val="100000"/>
                    </a:lnSpc>
                    <a:tabLst>
                      <a:tab algn="l" pos="0"/>
                    </a:tabLst>
                  </a:pPr>
                  <a:endParaRPr b="0" lang="de-DE" sz="1600" spc="-1" strike="noStrike">
                    <a:solidFill>
                      <a:srgbClr val="000000"/>
                    </a:solidFill>
                    <a:latin typeface="Arial"/>
                    <a:ea typeface="Arial"/>
                  </a:endParaRPr>
                </a:p>
              </p:txBody>
            </p:sp>
            <p:sp>
              <p:nvSpPr>
                <p:cNvPr id="441" name="Freeform 80"/>
                <p:cNvSpPr/>
                <p:nvPr/>
              </p:nvSpPr>
              <p:spPr>
                <a:xfrm>
                  <a:off x="7682760" y="3020760"/>
                  <a:ext cx="131760" cy="113760"/>
                </a:xfrm>
                <a:custGeom>
                  <a:avLst/>
                  <a:gdLst/>
                  <a:ahLst/>
                  <a:rect l="l" t="t" r="r" b="b"/>
                  <a:pathLst>
                    <a:path w="132345" h="114250">
                      <a:moveTo>
                        <a:pt x="119403" y="17185"/>
                      </a:moveTo>
                      <a:lnTo>
                        <a:pt x="125011" y="28319"/>
                      </a:lnTo>
                      <a:lnTo>
                        <a:pt x="132344" y="36482"/>
                      </a:lnTo>
                      <a:lnTo>
                        <a:pt x="123458" y="47223"/>
                      </a:lnTo>
                      <a:lnTo>
                        <a:pt x="113019" y="40909"/>
                      </a:lnTo>
                      <a:lnTo>
                        <a:pt x="97058" y="41305"/>
                      </a:lnTo>
                      <a:lnTo>
                        <a:pt x="77216" y="36560"/>
                      </a:lnTo>
                      <a:lnTo>
                        <a:pt x="66431" y="37194"/>
                      </a:lnTo>
                      <a:lnTo>
                        <a:pt x="61427" y="43121"/>
                      </a:lnTo>
                      <a:lnTo>
                        <a:pt x="53145" y="36560"/>
                      </a:lnTo>
                      <a:lnTo>
                        <a:pt x="48313" y="48406"/>
                      </a:lnTo>
                      <a:lnTo>
                        <a:pt x="59615" y="61691"/>
                      </a:lnTo>
                      <a:lnTo>
                        <a:pt x="64619" y="70462"/>
                      </a:lnTo>
                      <a:lnTo>
                        <a:pt x="75231" y="80998"/>
                      </a:lnTo>
                      <a:lnTo>
                        <a:pt x="84030" y="87224"/>
                      </a:lnTo>
                      <a:lnTo>
                        <a:pt x="92745" y="98939"/>
                      </a:lnTo>
                      <a:lnTo>
                        <a:pt x="113175" y="109513"/>
                      </a:lnTo>
                      <a:lnTo>
                        <a:pt x="110636" y="114249"/>
                      </a:lnTo>
                      <a:lnTo>
                        <a:pt x="88937" y="103931"/>
                      </a:lnTo>
                      <a:lnTo>
                        <a:pt x="75550" y="93857"/>
                      </a:lnTo>
                      <a:lnTo>
                        <a:pt x="54438" y="85514"/>
                      </a:lnTo>
                      <a:lnTo>
                        <a:pt x="35028" y="64749"/>
                      </a:lnTo>
                      <a:lnTo>
                        <a:pt x="39685" y="62633"/>
                      </a:lnTo>
                      <a:lnTo>
                        <a:pt x="29161" y="50690"/>
                      </a:lnTo>
                      <a:lnTo>
                        <a:pt x="28729" y="41067"/>
                      </a:lnTo>
                      <a:lnTo>
                        <a:pt x="13890" y="36560"/>
                      </a:lnTo>
                      <a:lnTo>
                        <a:pt x="6816" y="48878"/>
                      </a:lnTo>
                      <a:lnTo>
                        <a:pt x="0" y="39329"/>
                      </a:lnTo>
                      <a:lnTo>
                        <a:pt x="518" y="29390"/>
                      </a:lnTo>
                      <a:lnTo>
                        <a:pt x="1341" y="28927"/>
                      </a:lnTo>
                      <a:lnTo>
                        <a:pt x="17427" y="29906"/>
                      </a:lnTo>
                      <a:lnTo>
                        <a:pt x="21655" y="25064"/>
                      </a:lnTo>
                      <a:lnTo>
                        <a:pt x="29506" y="29748"/>
                      </a:lnTo>
                      <a:lnTo>
                        <a:pt x="38564" y="30303"/>
                      </a:lnTo>
                      <a:lnTo>
                        <a:pt x="38478" y="22281"/>
                      </a:lnTo>
                      <a:lnTo>
                        <a:pt x="46501" y="19337"/>
                      </a:lnTo>
                      <a:lnTo>
                        <a:pt x="48745" y="7687"/>
                      </a:lnTo>
                      <a:lnTo>
                        <a:pt x="67121" y="0"/>
                      </a:lnTo>
                      <a:lnTo>
                        <a:pt x="74454" y="3566"/>
                      </a:lnTo>
                      <a:lnTo>
                        <a:pt x="91710" y="15950"/>
                      </a:lnTo>
                      <a:lnTo>
                        <a:pt x="110776" y="21485"/>
                      </a:lnTo>
                      <a:close/>
                    </a:path>
                  </a:pathLst>
                </a:custGeom>
                <a:solidFill>
                  <a:schemeClr val="accent1">
                    <a:lumMod val="20000"/>
                    <a:lumOff val="80000"/>
                  </a:schemeClr>
                </a:solidFill>
                <a:ln cap="rnd" w="3175">
                  <a:solidFill>
                    <a:srgbClr val="009fdf">
                      <a:lumMod val="60000"/>
                      <a:lumOff val="40000"/>
                    </a:srgbClr>
                  </a:solidFill>
                </a:ln>
              </p:spPr>
              <p:style>
                <a:lnRef idx="2">
                  <a:schemeClr val="accent1">
                    <a:shade val="50000"/>
                  </a:schemeClr>
                </a:lnRef>
                <a:fillRef idx="1">
                  <a:schemeClr val="accent1"/>
                </a:fillRef>
                <a:effectRef idx="0">
                  <a:schemeClr val="accent1"/>
                </a:effectRef>
                <a:fontRef idx="minor"/>
              </p:style>
              <p:txBody>
                <a:bodyPr numCol="1" spcCol="0" horzOverflow="overflow" lIns="72000" rIns="72000" tIns="56880" bIns="56880" anchor="ctr">
                  <a:noAutofit/>
                </a:bodyPr>
                <a:p>
                  <a:pPr algn="ctr" defTabSz="457200">
                    <a:lnSpc>
                      <a:spcPct val="100000"/>
                    </a:lnSpc>
                    <a:tabLst>
                      <a:tab algn="l" pos="0"/>
                    </a:tabLst>
                  </a:pPr>
                  <a:endParaRPr b="0" lang="de-DE" sz="1600" spc="-1" strike="noStrike">
                    <a:solidFill>
                      <a:srgbClr val="000000"/>
                    </a:solidFill>
                    <a:latin typeface="Arial"/>
                    <a:ea typeface="Arial"/>
                  </a:endParaRPr>
                </a:p>
              </p:txBody>
            </p:sp>
            <p:sp>
              <p:nvSpPr>
                <p:cNvPr id="442" name="Freeform 81"/>
                <p:cNvSpPr/>
                <p:nvPr/>
              </p:nvSpPr>
              <p:spPr>
                <a:xfrm>
                  <a:off x="7741440" y="2958840"/>
                  <a:ext cx="149400" cy="83160"/>
                </a:xfrm>
                <a:custGeom>
                  <a:avLst/>
                  <a:gdLst/>
                  <a:ahLst/>
                  <a:rect l="l" t="t" r="r" b="b"/>
                  <a:pathLst>
                    <a:path w="150228" h="83637">
                      <a:moveTo>
                        <a:pt x="0" y="52029"/>
                      </a:moveTo>
                      <a:lnTo>
                        <a:pt x="7663" y="33237"/>
                      </a:lnTo>
                      <a:lnTo>
                        <a:pt x="3192" y="26881"/>
                      </a:lnTo>
                      <a:lnTo>
                        <a:pt x="16191" y="26824"/>
                      </a:lnTo>
                      <a:lnTo>
                        <a:pt x="17944" y="14798"/>
                      </a:lnTo>
                      <a:lnTo>
                        <a:pt x="29688" y="22339"/>
                      </a:lnTo>
                      <a:lnTo>
                        <a:pt x="38198" y="25544"/>
                      </a:lnTo>
                      <a:lnTo>
                        <a:pt x="57573" y="21943"/>
                      </a:lnTo>
                      <a:lnTo>
                        <a:pt x="59431" y="16029"/>
                      </a:lnTo>
                      <a:lnTo>
                        <a:pt x="68603" y="15156"/>
                      </a:lnTo>
                      <a:lnTo>
                        <a:pt x="79844" y="10574"/>
                      </a:lnTo>
                      <a:lnTo>
                        <a:pt x="82340" y="12462"/>
                      </a:lnTo>
                      <a:lnTo>
                        <a:pt x="93179" y="8773"/>
                      </a:lnTo>
                      <a:lnTo>
                        <a:pt x="98592" y="1808"/>
                      </a:lnTo>
                      <a:lnTo>
                        <a:pt x="106157" y="0"/>
                      </a:lnTo>
                      <a:lnTo>
                        <a:pt x="130877" y="8998"/>
                      </a:lnTo>
                      <a:lnTo>
                        <a:pt x="135802" y="5972"/>
                      </a:lnTo>
                      <a:lnTo>
                        <a:pt x="148618" y="14010"/>
                      </a:lnTo>
                      <a:lnTo>
                        <a:pt x="150227" y="21906"/>
                      </a:lnTo>
                      <a:lnTo>
                        <a:pt x="136129" y="28069"/>
                      </a:lnTo>
                      <a:lnTo>
                        <a:pt x="125205" y="47899"/>
                      </a:lnTo>
                      <a:lnTo>
                        <a:pt x="111250" y="67584"/>
                      </a:lnTo>
                      <a:lnTo>
                        <a:pt x="92744" y="73034"/>
                      </a:lnTo>
                      <a:lnTo>
                        <a:pt x="78337" y="71756"/>
                      </a:lnTo>
                      <a:lnTo>
                        <a:pt x="60650" y="79336"/>
                      </a:lnTo>
                      <a:lnTo>
                        <a:pt x="52023" y="83636"/>
                      </a:lnTo>
                      <a:lnTo>
                        <a:pt x="32957" y="78101"/>
                      </a:lnTo>
                      <a:lnTo>
                        <a:pt x="15701" y="65717"/>
                      </a:lnTo>
                      <a:lnTo>
                        <a:pt x="8368" y="62151"/>
                      </a:lnTo>
                      <a:lnTo>
                        <a:pt x="3883" y="52350"/>
                      </a:lnTo>
                      <a:close/>
                    </a:path>
                  </a:pathLst>
                </a:custGeom>
                <a:solidFill>
                  <a:schemeClr val="accent1"/>
                </a:solidFill>
                <a:ln cap="rnd" w="3175">
                  <a:solidFill>
                    <a:srgbClr val="009fdf">
                      <a:lumMod val="60000"/>
                      <a:lumOff val="40000"/>
                    </a:srgbClr>
                  </a:solidFill>
                </a:ln>
              </p:spPr>
              <p:style>
                <a:lnRef idx="2">
                  <a:schemeClr val="accent1">
                    <a:shade val="50000"/>
                  </a:schemeClr>
                </a:lnRef>
                <a:fillRef idx="1">
                  <a:schemeClr val="accent1"/>
                </a:fillRef>
                <a:effectRef idx="0">
                  <a:schemeClr val="accent1"/>
                </a:effectRef>
                <a:fontRef idx="minor"/>
              </p:style>
              <p:txBody>
                <a:bodyPr numCol="1" spcCol="0" horzOverflow="overflow" lIns="72000" rIns="72000" tIns="41400" bIns="41400" anchor="ctr">
                  <a:noAutofit/>
                </a:bodyPr>
                <a:p>
                  <a:pPr algn="ctr" defTabSz="457200">
                    <a:lnSpc>
                      <a:spcPct val="100000"/>
                    </a:lnSpc>
                    <a:tabLst>
                      <a:tab algn="l" pos="0"/>
                    </a:tabLst>
                  </a:pPr>
                  <a:endParaRPr b="0" lang="de-DE" sz="1600" spc="-1" strike="noStrike">
                    <a:solidFill>
                      <a:srgbClr val="000000"/>
                    </a:solidFill>
                    <a:latin typeface="Arial"/>
                    <a:ea typeface="Arial"/>
                  </a:endParaRPr>
                </a:p>
              </p:txBody>
            </p:sp>
            <p:sp>
              <p:nvSpPr>
                <p:cNvPr id="443" name="Freeform 82"/>
                <p:cNvSpPr/>
                <p:nvPr/>
              </p:nvSpPr>
              <p:spPr>
                <a:xfrm>
                  <a:off x="9563400" y="4050000"/>
                  <a:ext cx="1053360" cy="365400"/>
                </a:xfrm>
                <a:custGeom>
                  <a:avLst/>
                  <a:gdLst>
                    <a:gd name="textAreaLeft" fmla="*/ 0 w 1053360"/>
                    <a:gd name="textAreaRight" fmla="*/ 1053720 w 1053360"/>
                    <a:gd name="textAreaTop" fmla="*/ 0 h 365400"/>
                    <a:gd name="textAreaBottom" fmla="*/ 365760 h 365400"/>
                  </a:gdLst>
                  <a:ahLst/>
                  <a:rect l="textAreaLeft" t="textAreaTop" r="textAreaRight" b="textAreaBottom"/>
                  <a:pathLst>
                    <a:path w="1055820" h="366587">
                      <a:moveTo>
                        <a:pt x="568002" y="343315"/>
                      </a:moveTo>
                      <a:lnTo>
                        <a:pt x="580130" y="350408"/>
                      </a:lnTo>
                      <a:lnTo>
                        <a:pt x="588204" y="357486"/>
                      </a:lnTo>
                      <a:lnTo>
                        <a:pt x="586821" y="363779"/>
                      </a:lnTo>
                      <a:lnTo>
                        <a:pt x="577112" y="364224"/>
                      </a:lnTo>
                      <a:lnTo>
                        <a:pt x="546477" y="347894"/>
                      </a:lnTo>
                      <a:close/>
                      <a:moveTo>
                        <a:pt x="684993" y="332412"/>
                      </a:moveTo>
                      <a:lnTo>
                        <a:pt x="687332" y="336999"/>
                      </a:lnTo>
                      <a:lnTo>
                        <a:pt x="687760" y="344057"/>
                      </a:lnTo>
                      <a:lnTo>
                        <a:pt x="672696" y="361457"/>
                      </a:lnTo>
                      <a:lnTo>
                        <a:pt x="652938" y="366587"/>
                      </a:lnTo>
                      <a:lnTo>
                        <a:pt x="650168" y="363788"/>
                      </a:lnTo>
                      <a:lnTo>
                        <a:pt x="652246" y="355863"/>
                      </a:lnTo>
                      <a:lnTo>
                        <a:pt x="662172" y="341655"/>
                      </a:lnTo>
                      <a:close/>
                      <a:moveTo>
                        <a:pt x="521829" y="313882"/>
                      </a:moveTo>
                      <a:lnTo>
                        <a:pt x="530153" y="320079"/>
                      </a:lnTo>
                      <a:lnTo>
                        <a:pt x="544414" y="318180"/>
                      </a:lnTo>
                      <a:lnTo>
                        <a:pt x="550140" y="328063"/>
                      </a:lnTo>
                      <a:lnTo>
                        <a:pt x="523454" y="332734"/>
                      </a:lnTo>
                      <a:lnTo>
                        <a:pt x="507465" y="335857"/>
                      </a:lnTo>
                      <a:lnTo>
                        <a:pt x="495057" y="335672"/>
                      </a:lnTo>
                      <a:lnTo>
                        <a:pt x="502988" y="322282"/>
                      </a:lnTo>
                      <a:lnTo>
                        <a:pt x="515644" y="322099"/>
                      </a:lnTo>
                      <a:close/>
                      <a:moveTo>
                        <a:pt x="637324" y="313848"/>
                      </a:moveTo>
                      <a:lnTo>
                        <a:pt x="633941" y="326760"/>
                      </a:lnTo>
                      <a:lnTo>
                        <a:pt x="599260" y="333362"/>
                      </a:lnTo>
                      <a:lnTo>
                        <a:pt x="568558" y="330495"/>
                      </a:lnTo>
                      <a:lnTo>
                        <a:pt x="568477" y="321996"/>
                      </a:lnTo>
                      <a:lnTo>
                        <a:pt x="586809" y="317164"/>
                      </a:lnTo>
                      <a:lnTo>
                        <a:pt x="601272" y="324131"/>
                      </a:lnTo>
                      <a:lnTo>
                        <a:pt x="616638" y="322362"/>
                      </a:lnTo>
                      <a:close/>
                      <a:moveTo>
                        <a:pt x="248338" y="262860"/>
                      </a:moveTo>
                      <a:lnTo>
                        <a:pt x="276345" y="264228"/>
                      </a:lnTo>
                      <a:lnTo>
                        <a:pt x="294974" y="273282"/>
                      </a:lnTo>
                      <a:lnTo>
                        <a:pt x="304548" y="275048"/>
                      </a:lnTo>
                      <a:lnTo>
                        <a:pt x="307702" y="283294"/>
                      </a:lnTo>
                      <a:lnTo>
                        <a:pt x="351923" y="285605"/>
                      </a:lnTo>
                      <a:lnTo>
                        <a:pt x="357009" y="276050"/>
                      </a:lnTo>
                      <a:lnTo>
                        <a:pt x="399833" y="287198"/>
                      </a:lnTo>
                      <a:lnTo>
                        <a:pt x="408234" y="302237"/>
                      </a:lnTo>
                      <a:lnTo>
                        <a:pt x="442861" y="306469"/>
                      </a:lnTo>
                      <a:lnTo>
                        <a:pt x="471174" y="320275"/>
                      </a:lnTo>
                      <a:lnTo>
                        <a:pt x="444837" y="329133"/>
                      </a:lnTo>
                      <a:lnTo>
                        <a:pt x="419451" y="319767"/>
                      </a:lnTo>
                      <a:lnTo>
                        <a:pt x="398560" y="320400"/>
                      </a:lnTo>
                      <a:lnTo>
                        <a:pt x="374609" y="318679"/>
                      </a:lnTo>
                      <a:lnTo>
                        <a:pt x="353006" y="314507"/>
                      </a:lnTo>
                      <a:lnTo>
                        <a:pt x="326265" y="305637"/>
                      </a:lnTo>
                      <a:lnTo>
                        <a:pt x="309322" y="303337"/>
                      </a:lnTo>
                      <a:lnTo>
                        <a:pt x="299722" y="306240"/>
                      </a:lnTo>
                      <a:lnTo>
                        <a:pt x="257627" y="296682"/>
                      </a:lnTo>
                      <a:lnTo>
                        <a:pt x="253622" y="286707"/>
                      </a:lnTo>
                      <a:lnTo>
                        <a:pt x="232499" y="285003"/>
                      </a:lnTo>
                      <a:close/>
                      <a:moveTo>
                        <a:pt x="904993" y="252420"/>
                      </a:moveTo>
                      <a:lnTo>
                        <a:pt x="910241" y="259193"/>
                      </a:lnTo>
                      <a:lnTo>
                        <a:pt x="910186" y="270238"/>
                      </a:lnTo>
                      <a:lnTo>
                        <a:pt x="898310" y="286019"/>
                      </a:lnTo>
                      <a:lnTo>
                        <a:pt x="896063" y="268571"/>
                      </a:lnTo>
                      <a:lnTo>
                        <a:pt x="900161" y="260246"/>
                      </a:lnTo>
                      <a:close/>
                      <a:moveTo>
                        <a:pt x="731896" y="198869"/>
                      </a:moveTo>
                      <a:lnTo>
                        <a:pt x="737634" y="206488"/>
                      </a:lnTo>
                      <a:lnTo>
                        <a:pt x="728994" y="214159"/>
                      </a:lnTo>
                      <a:lnTo>
                        <a:pt x="713041" y="209916"/>
                      </a:lnTo>
                      <a:lnTo>
                        <a:pt x="708546" y="199977"/>
                      </a:lnTo>
                      <a:close/>
                      <a:moveTo>
                        <a:pt x="786610" y="191311"/>
                      </a:moveTo>
                      <a:lnTo>
                        <a:pt x="812009" y="198047"/>
                      </a:lnTo>
                      <a:lnTo>
                        <a:pt x="820400" y="215719"/>
                      </a:lnTo>
                      <a:lnTo>
                        <a:pt x="800911" y="206193"/>
                      </a:lnTo>
                      <a:lnTo>
                        <a:pt x="781630" y="204260"/>
                      </a:lnTo>
                      <a:lnTo>
                        <a:pt x="768599" y="205786"/>
                      </a:lnTo>
                      <a:lnTo>
                        <a:pt x="752630" y="204972"/>
                      </a:lnTo>
                      <a:lnTo>
                        <a:pt x="758100" y="192269"/>
                      </a:lnTo>
                      <a:close/>
                      <a:moveTo>
                        <a:pt x="856069" y="135143"/>
                      </a:moveTo>
                      <a:lnTo>
                        <a:pt x="893127" y="144622"/>
                      </a:lnTo>
                      <a:lnTo>
                        <a:pt x="896769" y="153202"/>
                      </a:lnTo>
                      <a:lnTo>
                        <a:pt x="903215" y="190549"/>
                      </a:lnTo>
                      <a:lnTo>
                        <a:pt x="927105" y="204378"/>
                      </a:lnTo>
                      <a:lnTo>
                        <a:pt x="946396" y="179874"/>
                      </a:lnTo>
                      <a:lnTo>
                        <a:pt x="972882" y="165938"/>
                      </a:lnTo>
                      <a:lnTo>
                        <a:pt x="993402" y="165919"/>
                      </a:lnTo>
                      <a:lnTo>
                        <a:pt x="1013142" y="173969"/>
                      </a:lnTo>
                      <a:lnTo>
                        <a:pt x="1030263" y="182230"/>
                      </a:lnTo>
                      <a:lnTo>
                        <a:pt x="1055043" y="186644"/>
                      </a:lnTo>
                      <a:lnTo>
                        <a:pt x="1055432" y="262005"/>
                      </a:lnTo>
                      <a:lnTo>
                        <a:pt x="1055820" y="337649"/>
                      </a:lnTo>
                      <a:lnTo>
                        <a:pt x="1035266" y="318563"/>
                      </a:lnTo>
                      <a:lnTo>
                        <a:pt x="1011823" y="313890"/>
                      </a:lnTo>
                      <a:lnTo>
                        <a:pt x="1006138" y="320510"/>
                      </a:lnTo>
                      <a:lnTo>
                        <a:pt x="976892" y="321225"/>
                      </a:lnTo>
                      <a:lnTo>
                        <a:pt x="986693" y="302322"/>
                      </a:lnTo>
                      <a:lnTo>
                        <a:pt x="1001225" y="295878"/>
                      </a:lnTo>
                      <a:lnTo>
                        <a:pt x="995207" y="270665"/>
                      </a:lnTo>
                      <a:lnTo>
                        <a:pt x="984125" y="251224"/>
                      </a:lnTo>
                      <a:lnTo>
                        <a:pt x="939377" y="231629"/>
                      </a:lnTo>
                      <a:lnTo>
                        <a:pt x="920342" y="229696"/>
                      </a:lnTo>
                      <a:lnTo>
                        <a:pt x="885678" y="208332"/>
                      </a:lnTo>
                      <a:lnTo>
                        <a:pt x="878865" y="219565"/>
                      </a:lnTo>
                      <a:lnTo>
                        <a:pt x="870007" y="221603"/>
                      </a:lnTo>
                      <a:lnTo>
                        <a:pt x="864767" y="213126"/>
                      </a:lnTo>
                      <a:lnTo>
                        <a:pt x="864694" y="203085"/>
                      </a:lnTo>
                      <a:lnTo>
                        <a:pt x="847060" y="191735"/>
                      </a:lnTo>
                      <a:lnTo>
                        <a:pt x="871920" y="183417"/>
                      </a:lnTo>
                      <a:lnTo>
                        <a:pt x="888383" y="183866"/>
                      </a:lnTo>
                      <a:lnTo>
                        <a:pt x="886448" y="177738"/>
                      </a:lnTo>
                      <a:lnTo>
                        <a:pt x="852659" y="177692"/>
                      </a:lnTo>
                      <a:lnTo>
                        <a:pt x="843514" y="163944"/>
                      </a:lnTo>
                      <a:lnTo>
                        <a:pt x="822892" y="159681"/>
                      </a:lnTo>
                      <a:lnTo>
                        <a:pt x="813122" y="148258"/>
                      </a:lnTo>
                      <a:lnTo>
                        <a:pt x="844237" y="142666"/>
                      </a:lnTo>
                      <a:close/>
                      <a:moveTo>
                        <a:pt x="687239" y="88678"/>
                      </a:moveTo>
                      <a:lnTo>
                        <a:pt x="691268" y="93837"/>
                      </a:lnTo>
                      <a:lnTo>
                        <a:pt x="672721" y="116736"/>
                      </a:lnTo>
                      <a:lnTo>
                        <a:pt x="655374" y="121174"/>
                      </a:lnTo>
                      <a:lnTo>
                        <a:pt x="633158" y="116661"/>
                      </a:lnTo>
                      <a:lnTo>
                        <a:pt x="594695" y="117813"/>
                      </a:lnTo>
                      <a:lnTo>
                        <a:pt x="574528" y="121136"/>
                      </a:lnTo>
                      <a:lnTo>
                        <a:pt x="571246" y="138608"/>
                      </a:lnTo>
                      <a:lnTo>
                        <a:pt x="591906" y="159136"/>
                      </a:lnTo>
                      <a:lnTo>
                        <a:pt x="604369" y="148679"/>
                      </a:lnTo>
                      <a:lnTo>
                        <a:pt x="647412" y="140824"/>
                      </a:lnTo>
                      <a:lnTo>
                        <a:pt x="645515" y="151456"/>
                      </a:lnTo>
                      <a:lnTo>
                        <a:pt x="635458" y="148102"/>
                      </a:lnTo>
                      <a:lnTo>
                        <a:pt x="625436" y="161628"/>
                      </a:lnTo>
                      <a:lnTo>
                        <a:pt x="605117" y="170578"/>
                      </a:lnTo>
                      <a:lnTo>
                        <a:pt x="626961" y="200180"/>
                      </a:lnTo>
                      <a:lnTo>
                        <a:pt x="622744" y="208116"/>
                      </a:lnTo>
                      <a:lnTo>
                        <a:pt x="643497" y="234802"/>
                      </a:lnTo>
                      <a:lnTo>
                        <a:pt x="643297" y="250002"/>
                      </a:lnTo>
                      <a:lnTo>
                        <a:pt x="630976" y="256808"/>
                      </a:lnTo>
                      <a:lnTo>
                        <a:pt x="621925" y="248667"/>
                      </a:lnTo>
                      <a:lnTo>
                        <a:pt x="633078" y="229724"/>
                      </a:lnTo>
                      <a:lnTo>
                        <a:pt x="610426" y="238680"/>
                      </a:lnTo>
                      <a:lnTo>
                        <a:pt x="604683" y="232277"/>
                      </a:lnTo>
                      <a:lnTo>
                        <a:pt x="607678" y="223349"/>
                      </a:lnTo>
                      <a:lnTo>
                        <a:pt x="591034" y="209794"/>
                      </a:lnTo>
                      <a:lnTo>
                        <a:pt x="592748" y="187279"/>
                      </a:lnTo>
                      <a:lnTo>
                        <a:pt x="577353" y="194301"/>
                      </a:lnTo>
                      <a:lnTo>
                        <a:pt x="579306" y="221247"/>
                      </a:lnTo>
                      <a:lnTo>
                        <a:pt x="580244" y="254346"/>
                      </a:lnTo>
                      <a:lnTo>
                        <a:pt x="565607" y="257707"/>
                      </a:lnTo>
                      <a:lnTo>
                        <a:pt x="555689" y="250912"/>
                      </a:lnTo>
                      <a:lnTo>
                        <a:pt x="562307" y="229614"/>
                      </a:lnTo>
                      <a:lnTo>
                        <a:pt x="558734" y="207305"/>
                      </a:lnTo>
                      <a:lnTo>
                        <a:pt x="549028" y="207134"/>
                      </a:lnTo>
                      <a:lnTo>
                        <a:pt x="541859" y="191307"/>
                      </a:lnTo>
                      <a:lnTo>
                        <a:pt x="551397" y="176181"/>
                      </a:lnTo>
                      <a:lnTo>
                        <a:pt x="554685" y="157849"/>
                      </a:lnTo>
                      <a:lnTo>
                        <a:pt x="566286" y="123052"/>
                      </a:lnTo>
                      <a:lnTo>
                        <a:pt x="571127" y="113537"/>
                      </a:lnTo>
                      <a:lnTo>
                        <a:pt x="590749" y="96391"/>
                      </a:lnTo>
                      <a:lnTo>
                        <a:pt x="608777" y="103207"/>
                      </a:lnTo>
                      <a:lnTo>
                        <a:pt x="637879" y="106410"/>
                      </a:lnTo>
                      <a:lnTo>
                        <a:pt x="664422" y="105443"/>
                      </a:lnTo>
                      <a:close/>
                      <a:moveTo>
                        <a:pt x="753403" y="76409"/>
                      </a:moveTo>
                      <a:lnTo>
                        <a:pt x="755060" y="89018"/>
                      </a:lnTo>
                      <a:lnTo>
                        <a:pt x="768688" y="91044"/>
                      </a:lnTo>
                      <a:lnTo>
                        <a:pt x="770851" y="100473"/>
                      </a:lnTo>
                      <a:lnTo>
                        <a:pt x="769644" y="120646"/>
                      </a:lnTo>
                      <a:lnTo>
                        <a:pt x="757737" y="118385"/>
                      </a:lnTo>
                      <a:lnTo>
                        <a:pt x="754226" y="132431"/>
                      </a:lnTo>
                      <a:lnTo>
                        <a:pt x="763736" y="144618"/>
                      </a:lnTo>
                      <a:lnTo>
                        <a:pt x="757272" y="147388"/>
                      </a:lnTo>
                      <a:lnTo>
                        <a:pt x="747957" y="132766"/>
                      </a:lnTo>
                      <a:lnTo>
                        <a:pt x="741103" y="103259"/>
                      </a:lnTo>
                      <a:lnTo>
                        <a:pt x="745743" y="84812"/>
                      </a:lnTo>
                      <a:close/>
                      <a:moveTo>
                        <a:pt x="474868" y="27146"/>
                      </a:moveTo>
                      <a:lnTo>
                        <a:pt x="501406" y="27157"/>
                      </a:lnTo>
                      <a:lnTo>
                        <a:pt x="521414" y="31054"/>
                      </a:lnTo>
                      <a:lnTo>
                        <a:pt x="508285" y="51928"/>
                      </a:lnTo>
                      <a:lnTo>
                        <a:pt x="525253" y="73798"/>
                      </a:lnTo>
                      <a:lnTo>
                        <a:pt x="521267" y="84421"/>
                      </a:lnTo>
                      <a:lnTo>
                        <a:pt x="547145" y="105786"/>
                      </a:lnTo>
                      <a:lnTo>
                        <a:pt x="519795" y="108510"/>
                      </a:lnTo>
                      <a:lnTo>
                        <a:pt x="512096" y="124247"/>
                      </a:lnTo>
                      <a:lnTo>
                        <a:pt x="513096" y="145165"/>
                      </a:lnTo>
                      <a:lnTo>
                        <a:pt x="490899" y="160954"/>
                      </a:lnTo>
                      <a:lnTo>
                        <a:pt x="490293" y="183950"/>
                      </a:lnTo>
                      <a:lnTo>
                        <a:pt x="481390" y="219286"/>
                      </a:lnTo>
                      <a:lnTo>
                        <a:pt x="477992" y="211064"/>
                      </a:lnTo>
                      <a:lnTo>
                        <a:pt x="451769" y="221465"/>
                      </a:lnTo>
                      <a:lnTo>
                        <a:pt x="442624" y="207335"/>
                      </a:lnTo>
                      <a:lnTo>
                        <a:pt x="426167" y="206028"/>
                      </a:lnTo>
                      <a:lnTo>
                        <a:pt x="414656" y="198625"/>
                      </a:lnTo>
                      <a:lnTo>
                        <a:pt x="387214" y="206935"/>
                      </a:lnTo>
                      <a:lnTo>
                        <a:pt x="378792" y="195752"/>
                      </a:lnTo>
                      <a:lnTo>
                        <a:pt x="363672" y="197023"/>
                      </a:lnTo>
                      <a:lnTo>
                        <a:pt x="344643" y="194357"/>
                      </a:lnTo>
                      <a:lnTo>
                        <a:pt x="341113" y="163384"/>
                      </a:lnTo>
                      <a:lnTo>
                        <a:pt x="329595" y="156966"/>
                      </a:lnTo>
                      <a:lnTo>
                        <a:pt x="318514" y="137219"/>
                      </a:lnTo>
                      <a:lnTo>
                        <a:pt x="315300" y="117025"/>
                      </a:lnTo>
                      <a:lnTo>
                        <a:pt x="317989" y="95635"/>
                      </a:lnTo>
                      <a:lnTo>
                        <a:pt x="331703" y="80292"/>
                      </a:lnTo>
                      <a:lnTo>
                        <a:pt x="335557" y="95723"/>
                      </a:lnTo>
                      <a:lnTo>
                        <a:pt x="351341" y="108766"/>
                      </a:lnTo>
                      <a:lnTo>
                        <a:pt x="366232" y="104072"/>
                      </a:lnTo>
                      <a:lnTo>
                        <a:pt x="380968" y="105735"/>
                      </a:lnTo>
                      <a:lnTo>
                        <a:pt x="394419" y="94061"/>
                      </a:lnTo>
                      <a:lnTo>
                        <a:pt x="405488" y="92037"/>
                      </a:lnTo>
                      <a:lnTo>
                        <a:pt x="427325" y="98507"/>
                      </a:lnTo>
                      <a:lnTo>
                        <a:pt x="446149" y="93586"/>
                      </a:lnTo>
                      <a:lnTo>
                        <a:pt x="457983" y="61468"/>
                      </a:lnTo>
                      <a:lnTo>
                        <a:pt x="466871" y="53434"/>
                      </a:lnTo>
                      <a:close/>
                      <a:moveTo>
                        <a:pt x="0" y="0"/>
                      </a:moveTo>
                      <a:lnTo>
                        <a:pt x="14861" y="933"/>
                      </a:lnTo>
                      <a:lnTo>
                        <a:pt x="50593" y="5405"/>
                      </a:lnTo>
                      <a:lnTo>
                        <a:pt x="71005" y="28029"/>
                      </a:lnTo>
                      <a:lnTo>
                        <a:pt x="88857" y="43703"/>
                      </a:lnTo>
                      <a:lnTo>
                        <a:pt x="101586" y="53317"/>
                      </a:lnTo>
                      <a:lnTo>
                        <a:pt x="123455" y="78146"/>
                      </a:lnTo>
                      <a:lnTo>
                        <a:pt x="146920" y="78508"/>
                      </a:lnTo>
                      <a:lnTo>
                        <a:pt x="166315" y="94325"/>
                      </a:lnTo>
                      <a:lnTo>
                        <a:pt x="179671" y="113655"/>
                      </a:lnTo>
                      <a:lnTo>
                        <a:pt x="197249" y="124199"/>
                      </a:lnTo>
                      <a:lnTo>
                        <a:pt x="187999" y="143046"/>
                      </a:lnTo>
                      <a:lnTo>
                        <a:pt x="201229" y="151063"/>
                      </a:lnTo>
                      <a:lnTo>
                        <a:pt x="209521" y="151655"/>
                      </a:lnTo>
                      <a:lnTo>
                        <a:pt x="213433" y="167759"/>
                      </a:lnTo>
                      <a:lnTo>
                        <a:pt x="221475" y="180646"/>
                      </a:lnTo>
                      <a:lnTo>
                        <a:pt x="238423" y="182687"/>
                      </a:lnTo>
                      <a:lnTo>
                        <a:pt x="249651" y="197308"/>
                      </a:lnTo>
                      <a:lnTo>
                        <a:pt x="243855" y="226056"/>
                      </a:lnTo>
                      <a:lnTo>
                        <a:pt x="242936" y="261851"/>
                      </a:lnTo>
                      <a:lnTo>
                        <a:pt x="217377" y="262336"/>
                      </a:lnTo>
                      <a:lnTo>
                        <a:pt x="197938" y="242983"/>
                      </a:lnTo>
                      <a:lnTo>
                        <a:pt x="168301" y="224084"/>
                      </a:lnTo>
                      <a:lnTo>
                        <a:pt x="158419" y="210072"/>
                      </a:lnTo>
                      <a:lnTo>
                        <a:pt x="140944" y="191255"/>
                      </a:lnTo>
                      <a:lnTo>
                        <a:pt x="129481" y="173945"/>
                      </a:lnTo>
                      <a:lnTo>
                        <a:pt x="111926" y="141624"/>
                      </a:lnTo>
                      <a:lnTo>
                        <a:pt x="91654" y="122385"/>
                      </a:lnTo>
                      <a:lnTo>
                        <a:pt x="84874" y="102539"/>
                      </a:lnTo>
                      <a:lnTo>
                        <a:pt x="76364" y="84517"/>
                      </a:lnTo>
                      <a:lnTo>
                        <a:pt x="55549" y="69975"/>
                      </a:lnTo>
                      <a:lnTo>
                        <a:pt x="43485" y="50210"/>
                      </a:lnTo>
                      <a:lnTo>
                        <a:pt x="26106" y="37266"/>
                      </a:lnTo>
                      <a:lnTo>
                        <a:pt x="2027" y="11782"/>
                      </a:lnTo>
                      <a:close/>
                    </a:path>
                  </a:pathLst>
                </a:custGeom>
                <a:solidFill>
                  <a:schemeClr val="accent1">
                    <a:lumMod val="20000"/>
                    <a:lumOff val="80000"/>
                  </a:schemeClr>
                </a:solidFill>
                <a:ln cap="rnd" w="3175">
                  <a:solidFill>
                    <a:srgbClr val="009fdf">
                      <a:lumMod val="60000"/>
                      <a:lumOff val="40000"/>
                    </a:srgbClr>
                  </a:solidFill>
                </a:ln>
              </p:spPr>
              <p:style>
                <a:lnRef idx="2">
                  <a:schemeClr val="accent1">
                    <a:shade val="50000"/>
                  </a:schemeClr>
                </a:lnRef>
                <a:fillRef idx="1">
                  <a:schemeClr val="accent1"/>
                </a:fillRef>
                <a:effectRef idx="0">
                  <a:schemeClr val="accent1"/>
                </a:effectRef>
                <a:fontRef idx="minor"/>
              </p:style>
              <p:txBody>
                <a:bodyPr numCol="1" spcCol="0" horzOverflow="overflow" lIns="72000" rIns="72000" tIns="72000" bIns="72000" anchor="ctr">
                  <a:noAutofit/>
                </a:bodyPr>
                <a:p>
                  <a:pPr algn="ctr" defTabSz="457200">
                    <a:lnSpc>
                      <a:spcPct val="100000"/>
                    </a:lnSpc>
                    <a:tabLst>
                      <a:tab algn="l" pos="0"/>
                    </a:tabLst>
                  </a:pPr>
                  <a:endParaRPr b="0" lang="de-DE" sz="1600" spc="-1" strike="noStrike">
                    <a:solidFill>
                      <a:srgbClr val="000000"/>
                    </a:solidFill>
                    <a:latin typeface="Arial"/>
                    <a:ea typeface="Arial"/>
                  </a:endParaRPr>
                </a:p>
              </p:txBody>
            </p:sp>
            <p:sp>
              <p:nvSpPr>
                <p:cNvPr id="444" name="Freeform 83"/>
                <p:cNvSpPr/>
                <p:nvPr/>
              </p:nvSpPr>
              <p:spPr>
                <a:xfrm>
                  <a:off x="8938800" y="3323160"/>
                  <a:ext cx="672840" cy="669240"/>
                </a:xfrm>
                <a:custGeom>
                  <a:avLst/>
                  <a:gdLst/>
                  <a:ahLst/>
                  <a:rect l="l" t="t" r="r" b="b"/>
                  <a:pathLst>
                    <a:path w="674613" h="670808">
                      <a:moveTo>
                        <a:pt x="222997" y="0"/>
                      </a:moveTo>
                      <a:lnTo>
                        <a:pt x="247807" y="30621"/>
                      </a:lnTo>
                      <a:lnTo>
                        <a:pt x="245471" y="51779"/>
                      </a:lnTo>
                      <a:lnTo>
                        <a:pt x="254654" y="64991"/>
                      </a:lnTo>
                      <a:lnTo>
                        <a:pt x="253898" y="78126"/>
                      </a:lnTo>
                      <a:lnTo>
                        <a:pt x="237331" y="74674"/>
                      </a:lnTo>
                      <a:lnTo>
                        <a:pt x="243805" y="102899"/>
                      </a:lnTo>
                      <a:lnTo>
                        <a:pt x="266483" y="119021"/>
                      </a:lnTo>
                      <a:lnTo>
                        <a:pt x="298565" y="136748"/>
                      </a:lnTo>
                      <a:lnTo>
                        <a:pt x="283919" y="148206"/>
                      </a:lnTo>
                      <a:lnTo>
                        <a:pt x="274956" y="171735"/>
                      </a:lnTo>
                      <a:lnTo>
                        <a:pt x="297318" y="181215"/>
                      </a:lnTo>
                      <a:lnTo>
                        <a:pt x="319080" y="193476"/>
                      </a:lnTo>
                      <a:lnTo>
                        <a:pt x="349185" y="207453"/>
                      </a:lnTo>
                      <a:lnTo>
                        <a:pt x="380827" y="210676"/>
                      </a:lnTo>
                      <a:lnTo>
                        <a:pt x="394140" y="223304"/>
                      </a:lnTo>
                      <a:lnTo>
                        <a:pt x="411974" y="225664"/>
                      </a:lnTo>
                      <a:lnTo>
                        <a:pt x="439744" y="231435"/>
                      </a:lnTo>
                      <a:lnTo>
                        <a:pt x="458966" y="231021"/>
                      </a:lnTo>
                      <a:lnTo>
                        <a:pt x="461611" y="221216"/>
                      </a:lnTo>
                      <a:lnTo>
                        <a:pt x="458571" y="205430"/>
                      </a:lnTo>
                      <a:lnTo>
                        <a:pt x="460356" y="194697"/>
                      </a:lnTo>
                      <a:lnTo>
                        <a:pt x="474434" y="189447"/>
                      </a:lnTo>
                      <a:lnTo>
                        <a:pt x="476371" y="209075"/>
                      </a:lnTo>
                      <a:lnTo>
                        <a:pt x="476865" y="214054"/>
                      </a:lnTo>
                      <a:lnTo>
                        <a:pt x="497844" y="223472"/>
                      </a:lnTo>
                      <a:lnTo>
                        <a:pt x="512357" y="219596"/>
                      </a:lnTo>
                      <a:lnTo>
                        <a:pt x="531845" y="221260"/>
                      </a:lnTo>
                      <a:lnTo>
                        <a:pt x="550680" y="220524"/>
                      </a:lnTo>
                      <a:lnTo>
                        <a:pt x="552301" y="205261"/>
                      </a:lnTo>
                      <a:lnTo>
                        <a:pt x="542905" y="197311"/>
                      </a:lnTo>
                      <a:lnTo>
                        <a:pt x="561520" y="194190"/>
                      </a:lnTo>
                      <a:lnTo>
                        <a:pt x="582530" y="175592"/>
                      </a:lnTo>
                      <a:lnTo>
                        <a:pt x="609136" y="159603"/>
                      </a:lnTo>
                      <a:lnTo>
                        <a:pt x="628499" y="165780"/>
                      </a:lnTo>
                      <a:lnTo>
                        <a:pt x="644953" y="155190"/>
                      </a:lnTo>
                      <a:lnTo>
                        <a:pt x="655778" y="170819"/>
                      </a:lnTo>
                      <a:lnTo>
                        <a:pt x="647981" y="181342"/>
                      </a:lnTo>
                      <a:lnTo>
                        <a:pt x="672870" y="185080"/>
                      </a:lnTo>
                      <a:lnTo>
                        <a:pt x="674612" y="194548"/>
                      </a:lnTo>
                      <a:lnTo>
                        <a:pt x="666520" y="199123"/>
                      </a:lnTo>
                      <a:lnTo>
                        <a:pt x="668413" y="214431"/>
                      </a:lnTo>
                      <a:lnTo>
                        <a:pt x="651917" y="209938"/>
                      </a:lnTo>
                      <a:lnTo>
                        <a:pt x="622035" y="227086"/>
                      </a:lnTo>
                      <a:lnTo>
                        <a:pt x="622736" y="241238"/>
                      </a:lnTo>
                      <a:lnTo>
                        <a:pt x="609997" y="261904"/>
                      </a:lnTo>
                      <a:lnTo>
                        <a:pt x="608829" y="273868"/>
                      </a:lnTo>
                      <a:lnTo>
                        <a:pt x="598536" y="294047"/>
                      </a:lnTo>
                      <a:lnTo>
                        <a:pt x="580495" y="288480"/>
                      </a:lnTo>
                      <a:lnTo>
                        <a:pt x="579599" y="313722"/>
                      </a:lnTo>
                      <a:lnTo>
                        <a:pt x="574381" y="322001"/>
                      </a:lnTo>
                      <a:lnTo>
                        <a:pt x="576824" y="332308"/>
                      </a:lnTo>
                      <a:lnTo>
                        <a:pt x="565435" y="338056"/>
                      </a:lnTo>
                      <a:lnTo>
                        <a:pt x="553278" y="299497"/>
                      </a:lnTo>
                      <a:lnTo>
                        <a:pt x="546904" y="299574"/>
                      </a:lnTo>
                      <a:lnTo>
                        <a:pt x="543131" y="315143"/>
                      </a:lnTo>
                      <a:lnTo>
                        <a:pt x="530493" y="302521"/>
                      </a:lnTo>
                      <a:lnTo>
                        <a:pt x="537621" y="288625"/>
                      </a:lnTo>
                      <a:lnTo>
                        <a:pt x="547947" y="287212"/>
                      </a:lnTo>
                      <a:lnTo>
                        <a:pt x="558590" y="266470"/>
                      </a:lnTo>
                      <a:lnTo>
                        <a:pt x="545281" y="262275"/>
                      </a:lnTo>
                      <a:lnTo>
                        <a:pt x="523874" y="262639"/>
                      </a:lnTo>
                      <a:lnTo>
                        <a:pt x="501911" y="259267"/>
                      </a:lnTo>
                      <a:lnTo>
                        <a:pt x="499874" y="242132"/>
                      </a:lnTo>
                      <a:lnTo>
                        <a:pt x="488855" y="240914"/>
                      </a:lnTo>
                      <a:lnTo>
                        <a:pt x="470573" y="230231"/>
                      </a:lnTo>
                      <a:lnTo>
                        <a:pt x="462418" y="246993"/>
                      </a:lnTo>
                      <a:lnTo>
                        <a:pt x="479079" y="260031"/>
                      </a:lnTo>
                      <a:lnTo>
                        <a:pt x="464648" y="269186"/>
                      </a:lnTo>
                      <a:lnTo>
                        <a:pt x="459524" y="278124"/>
                      </a:lnTo>
                      <a:lnTo>
                        <a:pt x="473733" y="284684"/>
                      </a:lnTo>
                      <a:lnTo>
                        <a:pt x="469804" y="299408"/>
                      </a:lnTo>
                      <a:lnTo>
                        <a:pt x="477804" y="317723"/>
                      </a:lnTo>
                      <a:lnTo>
                        <a:pt x="481396" y="337706"/>
                      </a:lnTo>
                      <a:lnTo>
                        <a:pt x="478091" y="346543"/>
                      </a:lnTo>
                      <a:lnTo>
                        <a:pt x="462389" y="346238"/>
                      </a:lnTo>
                      <a:lnTo>
                        <a:pt x="433933" y="351257"/>
                      </a:lnTo>
                      <a:lnTo>
                        <a:pt x="435259" y="369404"/>
                      </a:lnTo>
                      <a:lnTo>
                        <a:pt x="422937" y="383638"/>
                      </a:lnTo>
                      <a:lnTo>
                        <a:pt x="389719" y="399788"/>
                      </a:lnTo>
                      <a:lnTo>
                        <a:pt x="363883" y="427920"/>
                      </a:lnTo>
                      <a:lnTo>
                        <a:pt x="346530" y="442952"/>
                      </a:lnTo>
                      <a:lnTo>
                        <a:pt x="323530" y="458515"/>
                      </a:lnTo>
                      <a:lnTo>
                        <a:pt x="323494" y="469431"/>
                      </a:lnTo>
                      <a:lnTo>
                        <a:pt x="311987" y="475273"/>
                      </a:lnTo>
                      <a:lnTo>
                        <a:pt x="291196" y="483757"/>
                      </a:lnTo>
                      <a:lnTo>
                        <a:pt x="280414" y="485006"/>
                      </a:lnTo>
                      <a:lnTo>
                        <a:pt x="273493" y="503034"/>
                      </a:lnTo>
                      <a:lnTo>
                        <a:pt x="278299" y="533682"/>
                      </a:lnTo>
                      <a:lnTo>
                        <a:pt x="279523" y="553170"/>
                      </a:lnTo>
                      <a:lnTo>
                        <a:pt x="269742" y="575440"/>
                      </a:lnTo>
                      <a:lnTo>
                        <a:pt x="269637" y="615142"/>
                      </a:lnTo>
                      <a:lnTo>
                        <a:pt x="257692" y="616272"/>
                      </a:lnTo>
                      <a:lnTo>
                        <a:pt x="247185" y="634048"/>
                      </a:lnTo>
                      <a:lnTo>
                        <a:pt x="254211" y="641722"/>
                      </a:lnTo>
                      <a:lnTo>
                        <a:pt x="233165" y="648318"/>
                      </a:lnTo>
                      <a:lnTo>
                        <a:pt x="225391" y="664130"/>
                      </a:lnTo>
                      <a:lnTo>
                        <a:pt x="216129" y="670807"/>
                      </a:lnTo>
                      <a:lnTo>
                        <a:pt x="194271" y="649104"/>
                      </a:lnTo>
                      <a:lnTo>
                        <a:pt x="183586" y="616487"/>
                      </a:lnTo>
                      <a:lnTo>
                        <a:pt x="174732" y="592937"/>
                      </a:lnTo>
                      <a:lnTo>
                        <a:pt x="166644" y="581876"/>
                      </a:lnTo>
                      <a:lnTo>
                        <a:pt x="154381" y="559372"/>
                      </a:lnTo>
                      <a:lnTo>
                        <a:pt x="148654" y="529993"/>
                      </a:lnTo>
                      <a:lnTo>
                        <a:pt x="144664" y="515282"/>
                      </a:lnTo>
                      <a:lnTo>
                        <a:pt x="123667" y="482841"/>
                      </a:lnTo>
                      <a:lnTo>
                        <a:pt x="114104" y="436823"/>
                      </a:lnTo>
                      <a:lnTo>
                        <a:pt x="107202" y="406263"/>
                      </a:lnTo>
                      <a:lnTo>
                        <a:pt x="107284" y="377198"/>
                      </a:lnTo>
                      <a:lnTo>
                        <a:pt x="102808" y="354628"/>
                      </a:lnTo>
                      <a:lnTo>
                        <a:pt x="69216" y="369064"/>
                      </a:lnTo>
                      <a:lnTo>
                        <a:pt x="52947" y="366175"/>
                      </a:lnTo>
                      <a:lnTo>
                        <a:pt x="22794" y="336892"/>
                      </a:lnTo>
                      <a:lnTo>
                        <a:pt x="33892" y="328128"/>
                      </a:lnTo>
                      <a:lnTo>
                        <a:pt x="27075" y="318598"/>
                      </a:lnTo>
                      <a:lnTo>
                        <a:pt x="0" y="297924"/>
                      </a:lnTo>
                      <a:lnTo>
                        <a:pt x="15372" y="281614"/>
                      </a:lnTo>
                      <a:lnTo>
                        <a:pt x="66169" y="281678"/>
                      </a:lnTo>
                      <a:lnTo>
                        <a:pt x="61586" y="260611"/>
                      </a:lnTo>
                      <a:lnTo>
                        <a:pt x="48617" y="248124"/>
                      </a:lnTo>
                      <a:lnTo>
                        <a:pt x="45987" y="229109"/>
                      </a:lnTo>
                      <a:lnTo>
                        <a:pt x="30879" y="217977"/>
                      </a:lnTo>
                      <a:lnTo>
                        <a:pt x="56318" y="191885"/>
                      </a:lnTo>
                      <a:lnTo>
                        <a:pt x="83121" y="193783"/>
                      </a:lnTo>
                      <a:lnTo>
                        <a:pt x="107267" y="167541"/>
                      </a:lnTo>
                      <a:lnTo>
                        <a:pt x="121738" y="141983"/>
                      </a:lnTo>
                      <a:lnTo>
                        <a:pt x="144145" y="116553"/>
                      </a:lnTo>
                      <a:lnTo>
                        <a:pt x="143788" y="98388"/>
                      </a:lnTo>
                      <a:lnTo>
                        <a:pt x="163471" y="83584"/>
                      </a:lnTo>
                      <a:lnTo>
                        <a:pt x="144842" y="70901"/>
                      </a:lnTo>
                      <a:lnTo>
                        <a:pt x="136826" y="53452"/>
                      </a:lnTo>
                      <a:lnTo>
                        <a:pt x="128647" y="30731"/>
                      </a:lnTo>
                      <a:lnTo>
                        <a:pt x="139963" y="19498"/>
                      </a:lnTo>
                      <a:lnTo>
                        <a:pt x="174976" y="25858"/>
                      </a:lnTo>
                      <a:lnTo>
                        <a:pt x="200705" y="21985"/>
                      </a:lnTo>
                      <a:close/>
                    </a:path>
                  </a:pathLst>
                </a:custGeom>
                <a:solidFill>
                  <a:schemeClr val="accent1"/>
                </a:solidFill>
                <a:ln cap="rnd" w="3175">
                  <a:solidFill>
                    <a:srgbClr val="009fdf">
                      <a:lumMod val="60000"/>
                      <a:lumOff val="40000"/>
                    </a:srgbClr>
                  </a:solidFill>
                </a:ln>
              </p:spPr>
              <p:style>
                <a:lnRef idx="2">
                  <a:schemeClr val="accent1">
                    <a:shade val="50000"/>
                  </a:schemeClr>
                </a:lnRef>
                <a:fillRef idx="1">
                  <a:schemeClr val="accent1"/>
                </a:fillRef>
                <a:effectRef idx="0">
                  <a:schemeClr val="accent1"/>
                </a:effectRef>
                <a:fontRef idx="minor"/>
              </p:style>
              <p:txBody>
                <a:bodyPr numCol="1" spcCol="0" horzOverflow="overflow" lIns="72000" rIns="72000" tIns="72000" bIns="72000" anchor="ctr">
                  <a:noAutofit/>
                </a:bodyPr>
                <a:p>
                  <a:pPr algn="ctr" defTabSz="457200">
                    <a:lnSpc>
                      <a:spcPct val="100000"/>
                    </a:lnSpc>
                    <a:tabLst>
                      <a:tab algn="l" pos="0"/>
                    </a:tabLst>
                  </a:pPr>
                  <a:endParaRPr b="0" lang="de-DE" sz="1600" spc="-1" strike="noStrike">
                    <a:solidFill>
                      <a:srgbClr val="000000"/>
                    </a:solidFill>
                    <a:latin typeface="Arial"/>
                    <a:ea typeface="Arial"/>
                  </a:endParaRPr>
                </a:p>
              </p:txBody>
            </p:sp>
            <p:sp>
              <p:nvSpPr>
                <p:cNvPr id="445" name="Freeform 84"/>
                <p:cNvSpPr/>
                <p:nvPr/>
              </p:nvSpPr>
              <p:spPr>
                <a:xfrm>
                  <a:off x="7138440" y="2758320"/>
                  <a:ext cx="90360" cy="108360"/>
                </a:xfrm>
                <a:custGeom>
                  <a:avLst/>
                  <a:gdLst/>
                  <a:ahLst/>
                  <a:rect l="l" t="t" r="r" b="b"/>
                  <a:pathLst>
                    <a:path w="91041" h="108813">
                      <a:moveTo>
                        <a:pt x="87234" y="40293"/>
                      </a:moveTo>
                      <a:lnTo>
                        <a:pt x="91040" y="62771"/>
                      </a:lnTo>
                      <a:lnTo>
                        <a:pt x="73592" y="90582"/>
                      </a:lnTo>
                      <a:lnTo>
                        <a:pt x="32672" y="108812"/>
                      </a:lnTo>
                      <a:lnTo>
                        <a:pt x="0" y="104161"/>
                      </a:lnTo>
                      <a:lnTo>
                        <a:pt x="18715" y="71791"/>
                      </a:lnTo>
                      <a:lnTo>
                        <a:pt x="6660" y="39857"/>
                      </a:lnTo>
                      <a:lnTo>
                        <a:pt x="38065" y="14968"/>
                      </a:lnTo>
                      <a:lnTo>
                        <a:pt x="55512" y="0"/>
                      </a:lnTo>
                      <a:lnTo>
                        <a:pt x="60270" y="17162"/>
                      </a:lnTo>
                      <a:lnTo>
                        <a:pt x="55512" y="34204"/>
                      </a:lnTo>
                      <a:lnTo>
                        <a:pt x="69787" y="33768"/>
                      </a:lnTo>
                      <a:close/>
                    </a:path>
                  </a:pathLst>
                </a:custGeom>
                <a:solidFill>
                  <a:schemeClr val="accent1"/>
                </a:solidFill>
                <a:ln cap="rnd" w="3175">
                  <a:solidFill>
                    <a:srgbClr val="009fdf">
                      <a:lumMod val="60000"/>
                      <a:lumOff val="40000"/>
                    </a:srgbClr>
                  </a:solidFill>
                </a:ln>
              </p:spPr>
              <p:style>
                <a:lnRef idx="2">
                  <a:schemeClr val="accent1">
                    <a:shade val="50000"/>
                  </a:schemeClr>
                </a:lnRef>
                <a:fillRef idx="1">
                  <a:schemeClr val="accent1"/>
                </a:fillRef>
                <a:effectRef idx="0">
                  <a:schemeClr val="accent1"/>
                </a:effectRef>
                <a:fontRef idx="minor"/>
              </p:style>
              <p:txBody>
                <a:bodyPr numCol="1" spcCol="0" horzOverflow="overflow" lIns="72000" rIns="72000" tIns="54000" bIns="54000" anchor="ctr">
                  <a:noAutofit/>
                </a:bodyPr>
                <a:p>
                  <a:pPr algn="ctr" defTabSz="457200">
                    <a:lnSpc>
                      <a:spcPct val="100000"/>
                    </a:lnSpc>
                    <a:tabLst>
                      <a:tab algn="l" pos="0"/>
                    </a:tabLst>
                  </a:pPr>
                  <a:endParaRPr b="0" lang="de-DE" sz="1600" spc="-1" strike="noStrike">
                    <a:solidFill>
                      <a:srgbClr val="000000"/>
                    </a:solidFill>
                    <a:latin typeface="Arial"/>
                    <a:ea typeface="Arial"/>
                  </a:endParaRPr>
                </a:p>
              </p:txBody>
            </p:sp>
            <p:sp>
              <p:nvSpPr>
                <p:cNvPr id="446" name="Freeform 85"/>
                <p:cNvSpPr/>
                <p:nvPr/>
              </p:nvSpPr>
              <p:spPr>
                <a:xfrm>
                  <a:off x="8384400" y="3210840"/>
                  <a:ext cx="442080" cy="375480"/>
                </a:xfrm>
                <a:custGeom>
                  <a:avLst/>
                  <a:gdLst/>
                  <a:ahLst/>
                  <a:rect l="l" t="t" r="r" b="b"/>
                  <a:pathLst>
                    <a:path w="443360" h="376548">
                      <a:moveTo>
                        <a:pt x="226496" y="67542"/>
                      </a:moveTo>
                      <a:lnTo>
                        <a:pt x="246779" y="62392"/>
                      </a:lnTo>
                      <a:lnTo>
                        <a:pt x="263197" y="47133"/>
                      </a:lnTo>
                      <a:lnTo>
                        <a:pt x="278635" y="47908"/>
                      </a:lnTo>
                      <a:lnTo>
                        <a:pt x="288768" y="42922"/>
                      </a:lnTo>
                      <a:lnTo>
                        <a:pt x="305181" y="45390"/>
                      </a:lnTo>
                      <a:lnTo>
                        <a:pt x="330704" y="58932"/>
                      </a:lnTo>
                      <a:lnTo>
                        <a:pt x="349138" y="61845"/>
                      </a:lnTo>
                      <a:lnTo>
                        <a:pt x="375519" y="85350"/>
                      </a:lnTo>
                      <a:lnTo>
                        <a:pt x="392726" y="86296"/>
                      </a:lnTo>
                      <a:lnTo>
                        <a:pt x="394751" y="108475"/>
                      </a:lnTo>
                      <a:lnTo>
                        <a:pt x="385342" y="141055"/>
                      </a:lnTo>
                      <a:lnTo>
                        <a:pt x="379000" y="159945"/>
                      </a:lnTo>
                      <a:lnTo>
                        <a:pt x="389047" y="163766"/>
                      </a:lnTo>
                      <a:lnTo>
                        <a:pt x="379176" y="177902"/>
                      </a:lnTo>
                      <a:lnTo>
                        <a:pt x="386738" y="198416"/>
                      </a:lnTo>
                      <a:lnTo>
                        <a:pt x="388545" y="214651"/>
                      </a:lnTo>
                      <a:lnTo>
                        <a:pt x="406027" y="218950"/>
                      </a:lnTo>
                      <a:lnTo>
                        <a:pt x="407918" y="235323"/>
                      </a:lnTo>
                      <a:lnTo>
                        <a:pt x="386982" y="258271"/>
                      </a:lnTo>
                      <a:lnTo>
                        <a:pt x="398409" y="271525"/>
                      </a:lnTo>
                      <a:lnTo>
                        <a:pt x="407701" y="286693"/>
                      </a:lnTo>
                      <a:lnTo>
                        <a:pt x="429768" y="297701"/>
                      </a:lnTo>
                      <a:lnTo>
                        <a:pt x="430405" y="319667"/>
                      </a:lnTo>
                      <a:lnTo>
                        <a:pt x="441449" y="323692"/>
                      </a:lnTo>
                      <a:lnTo>
                        <a:pt x="443359" y="335124"/>
                      </a:lnTo>
                      <a:lnTo>
                        <a:pt x="410063" y="347913"/>
                      </a:lnTo>
                      <a:lnTo>
                        <a:pt x="401365" y="376547"/>
                      </a:lnTo>
                      <a:lnTo>
                        <a:pt x="357941" y="369122"/>
                      </a:lnTo>
                      <a:lnTo>
                        <a:pt x="332773" y="363463"/>
                      </a:lnTo>
                      <a:lnTo>
                        <a:pt x="306723" y="360260"/>
                      </a:lnTo>
                      <a:lnTo>
                        <a:pt x="296879" y="329925"/>
                      </a:lnTo>
                      <a:lnTo>
                        <a:pt x="285831" y="325524"/>
                      </a:lnTo>
                      <a:lnTo>
                        <a:pt x="268094" y="329961"/>
                      </a:lnTo>
                      <a:lnTo>
                        <a:pt x="244812" y="341959"/>
                      </a:lnTo>
                      <a:lnTo>
                        <a:pt x="216605" y="333739"/>
                      </a:lnTo>
                      <a:lnTo>
                        <a:pt x="193303" y="314640"/>
                      </a:lnTo>
                      <a:lnTo>
                        <a:pt x="171079" y="307540"/>
                      </a:lnTo>
                      <a:lnTo>
                        <a:pt x="155664" y="283804"/>
                      </a:lnTo>
                      <a:lnTo>
                        <a:pt x="138630" y="250223"/>
                      </a:lnTo>
                      <a:lnTo>
                        <a:pt x="126208" y="254319"/>
                      </a:lnTo>
                      <a:lnTo>
                        <a:pt x="111538" y="245939"/>
                      </a:lnTo>
                      <a:lnTo>
                        <a:pt x="102920" y="255809"/>
                      </a:lnTo>
                      <a:lnTo>
                        <a:pt x="90146" y="242510"/>
                      </a:lnTo>
                      <a:lnTo>
                        <a:pt x="89918" y="228990"/>
                      </a:lnTo>
                      <a:lnTo>
                        <a:pt x="82546" y="228997"/>
                      </a:lnTo>
                      <a:lnTo>
                        <a:pt x="86329" y="210538"/>
                      </a:lnTo>
                      <a:lnTo>
                        <a:pt x="74452" y="191074"/>
                      </a:lnTo>
                      <a:lnTo>
                        <a:pt x="46169" y="176973"/>
                      </a:lnTo>
                      <a:lnTo>
                        <a:pt x="30180" y="152394"/>
                      </a:lnTo>
                      <a:lnTo>
                        <a:pt x="35530" y="132089"/>
                      </a:lnTo>
                      <a:lnTo>
                        <a:pt x="47148" y="123072"/>
                      </a:lnTo>
                      <a:lnTo>
                        <a:pt x="45407" y="107757"/>
                      </a:lnTo>
                      <a:lnTo>
                        <a:pt x="30271" y="99861"/>
                      </a:lnTo>
                      <a:lnTo>
                        <a:pt x="15315" y="68299"/>
                      </a:lnTo>
                      <a:lnTo>
                        <a:pt x="2690" y="46933"/>
                      </a:lnTo>
                      <a:lnTo>
                        <a:pt x="7206" y="38636"/>
                      </a:lnTo>
                      <a:lnTo>
                        <a:pt x="0" y="7725"/>
                      </a:lnTo>
                      <a:lnTo>
                        <a:pt x="15807" y="0"/>
                      </a:lnTo>
                      <a:lnTo>
                        <a:pt x="19470" y="10225"/>
                      </a:lnTo>
                      <a:lnTo>
                        <a:pt x="31127" y="22694"/>
                      </a:lnTo>
                      <a:lnTo>
                        <a:pt x="46960" y="26276"/>
                      </a:lnTo>
                      <a:lnTo>
                        <a:pt x="55318" y="25484"/>
                      </a:lnTo>
                      <a:lnTo>
                        <a:pt x="82541" y="5551"/>
                      </a:lnTo>
                      <a:lnTo>
                        <a:pt x="91197" y="3548"/>
                      </a:lnTo>
                      <a:lnTo>
                        <a:pt x="98016" y="11497"/>
                      </a:lnTo>
                      <a:lnTo>
                        <a:pt x="90058" y="24853"/>
                      </a:lnTo>
                      <a:lnTo>
                        <a:pt x="104453" y="38929"/>
                      </a:lnTo>
                      <a:lnTo>
                        <a:pt x="110197" y="37591"/>
                      </a:lnTo>
                      <a:lnTo>
                        <a:pt x="117500" y="57317"/>
                      </a:lnTo>
                      <a:lnTo>
                        <a:pt x="139386" y="62868"/>
                      </a:lnTo>
                      <a:lnTo>
                        <a:pt x="155419" y="76201"/>
                      </a:lnTo>
                      <a:lnTo>
                        <a:pt x="188235" y="80770"/>
                      </a:lnTo>
                      <a:lnTo>
                        <a:pt x="224285" y="73755"/>
                      </a:lnTo>
                      <a:close/>
                    </a:path>
                  </a:pathLst>
                </a:custGeom>
                <a:solidFill>
                  <a:schemeClr val="accent1"/>
                </a:solidFill>
                <a:ln cap="rnd" w="3175">
                  <a:solidFill>
                    <a:srgbClr val="009fdf">
                      <a:lumMod val="60000"/>
                      <a:lumOff val="40000"/>
                    </a:srgbClr>
                  </a:solidFill>
                </a:ln>
              </p:spPr>
              <p:style>
                <a:lnRef idx="2">
                  <a:schemeClr val="accent1">
                    <a:shade val="50000"/>
                  </a:schemeClr>
                </a:lnRef>
                <a:fillRef idx="1">
                  <a:schemeClr val="accent1"/>
                </a:fillRef>
                <a:effectRef idx="0">
                  <a:schemeClr val="accent1"/>
                </a:effectRef>
                <a:fontRef idx="minor"/>
              </p:style>
              <p:txBody>
                <a:bodyPr numCol="1" spcCol="0" horzOverflow="overflow" lIns="72000" rIns="72000" tIns="72000" bIns="72000" anchor="ctr">
                  <a:noAutofit/>
                </a:bodyPr>
                <a:p>
                  <a:pPr algn="ctr" defTabSz="457200">
                    <a:lnSpc>
                      <a:spcPct val="100000"/>
                    </a:lnSpc>
                    <a:tabLst>
                      <a:tab algn="l" pos="0"/>
                    </a:tabLst>
                  </a:pPr>
                  <a:endParaRPr b="0" lang="de-DE" sz="1600" spc="-1" strike="noStrike">
                    <a:solidFill>
                      <a:srgbClr val="000000"/>
                    </a:solidFill>
                    <a:latin typeface="Arial"/>
                    <a:ea typeface="Arial"/>
                  </a:endParaRPr>
                </a:p>
              </p:txBody>
            </p:sp>
            <p:sp>
              <p:nvSpPr>
                <p:cNvPr id="447" name="Freeform 86"/>
                <p:cNvSpPr/>
                <p:nvPr/>
              </p:nvSpPr>
              <p:spPr>
                <a:xfrm>
                  <a:off x="8262000" y="3273120"/>
                  <a:ext cx="225000" cy="213120"/>
                </a:xfrm>
                <a:custGeom>
                  <a:avLst/>
                  <a:gdLst/>
                  <a:ahLst/>
                  <a:rect l="l" t="t" r="r" b="b"/>
                  <a:pathLst>
                    <a:path w="225648" h="214079">
                      <a:moveTo>
                        <a:pt x="152998" y="37278"/>
                      </a:moveTo>
                      <a:lnTo>
                        <a:pt x="168134" y="45174"/>
                      </a:lnTo>
                      <a:lnTo>
                        <a:pt x="169875" y="60489"/>
                      </a:lnTo>
                      <a:lnTo>
                        <a:pt x="158257" y="69506"/>
                      </a:lnTo>
                      <a:lnTo>
                        <a:pt x="152907" y="89811"/>
                      </a:lnTo>
                      <a:lnTo>
                        <a:pt x="168896" y="114390"/>
                      </a:lnTo>
                      <a:lnTo>
                        <a:pt x="197179" y="128491"/>
                      </a:lnTo>
                      <a:lnTo>
                        <a:pt x="209056" y="147955"/>
                      </a:lnTo>
                      <a:lnTo>
                        <a:pt x="205273" y="166414"/>
                      </a:lnTo>
                      <a:lnTo>
                        <a:pt x="212645" y="166407"/>
                      </a:lnTo>
                      <a:lnTo>
                        <a:pt x="212873" y="179927"/>
                      </a:lnTo>
                      <a:lnTo>
                        <a:pt x="225647" y="193226"/>
                      </a:lnTo>
                      <a:lnTo>
                        <a:pt x="211949" y="191987"/>
                      </a:lnTo>
                      <a:lnTo>
                        <a:pt x="196439" y="189883"/>
                      </a:lnTo>
                      <a:lnTo>
                        <a:pt x="179499" y="214078"/>
                      </a:lnTo>
                      <a:lnTo>
                        <a:pt x="136583" y="212070"/>
                      </a:lnTo>
                      <a:lnTo>
                        <a:pt x="71501" y="161195"/>
                      </a:lnTo>
                      <a:lnTo>
                        <a:pt x="37109" y="143333"/>
                      </a:lnTo>
                      <a:lnTo>
                        <a:pt x="9305" y="136395"/>
                      </a:lnTo>
                      <a:lnTo>
                        <a:pt x="0" y="105064"/>
                      </a:lnTo>
                      <a:lnTo>
                        <a:pt x="51100" y="78075"/>
                      </a:lnTo>
                      <a:lnTo>
                        <a:pt x="59821" y="46464"/>
                      </a:lnTo>
                      <a:lnTo>
                        <a:pt x="57645" y="27222"/>
                      </a:lnTo>
                      <a:lnTo>
                        <a:pt x="70280" y="20691"/>
                      </a:lnTo>
                      <a:lnTo>
                        <a:pt x="82110" y="4135"/>
                      </a:lnTo>
                      <a:lnTo>
                        <a:pt x="92025" y="0"/>
                      </a:lnTo>
                      <a:lnTo>
                        <a:pt x="118873" y="3434"/>
                      </a:lnTo>
                      <a:lnTo>
                        <a:pt x="126980" y="10203"/>
                      </a:lnTo>
                      <a:lnTo>
                        <a:pt x="138042" y="5716"/>
                      </a:lnTo>
                      <a:close/>
                    </a:path>
                  </a:pathLst>
                </a:custGeom>
                <a:solidFill>
                  <a:schemeClr val="accent1"/>
                </a:solidFill>
                <a:ln cap="rnd" w="3175">
                  <a:solidFill>
                    <a:srgbClr val="009fdf">
                      <a:lumMod val="60000"/>
                      <a:lumOff val="40000"/>
                    </a:srgbClr>
                  </a:solidFill>
                </a:ln>
              </p:spPr>
              <p:style>
                <a:lnRef idx="2">
                  <a:schemeClr val="accent1">
                    <a:shade val="50000"/>
                  </a:schemeClr>
                </a:lnRef>
                <a:fillRef idx="1">
                  <a:schemeClr val="accent1"/>
                </a:fillRef>
                <a:effectRef idx="0">
                  <a:schemeClr val="accent1"/>
                </a:effectRef>
                <a:fontRef idx="minor"/>
              </p:style>
              <p:txBody>
                <a:bodyPr numCol="1" spcCol="0" horzOverflow="overflow" lIns="72000" rIns="72000" tIns="72000" bIns="72000" anchor="ctr">
                  <a:noAutofit/>
                </a:bodyPr>
                <a:p>
                  <a:pPr algn="ctr" defTabSz="457200">
                    <a:lnSpc>
                      <a:spcPct val="100000"/>
                    </a:lnSpc>
                    <a:tabLst>
                      <a:tab algn="l" pos="0"/>
                    </a:tabLst>
                  </a:pPr>
                  <a:endParaRPr b="0" lang="de-DE" sz="1600" spc="-1" strike="noStrike">
                    <a:solidFill>
                      <a:srgbClr val="000000"/>
                    </a:solidFill>
                    <a:latin typeface="Arial"/>
                    <a:ea typeface="Arial"/>
                  </a:endParaRPr>
                </a:p>
              </p:txBody>
            </p:sp>
            <p:sp>
              <p:nvSpPr>
                <p:cNvPr id="448" name="Freeform 87"/>
                <p:cNvSpPr/>
                <p:nvPr/>
              </p:nvSpPr>
              <p:spPr>
                <a:xfrm>
                  <a:off x="6807960" y="2359440"/>
                  <a:ext cx="246600" cy="113040"/>
                </a:xfrm>
                <a:custGeom>
                  <a:avLst/>
                  <a:gdLst/>
                  <a:ahLst/>
                  <a:rect l="l" t="t" r="r" b="b"/>
                  <a:pathLst>
                    <a:path w="247366" h="113679">
                      <a:moveTo>
                        <a:pt x="226614" y="2732"/>
                      </a:moveTo>
                      <a:lnTo>
                        <a:pt x="221283" y="27500"/>
                      </a:lnTo>
                      <a:lnTo>
                        <a:pt x="247365" y="53289"/>
                      </a:lnTo>
                      <a:lnTo>
                        <a:pt x="217355" y="81752"/>
                      </a:lnTo>
                      <a:lnTo>
                        <a:pt x="150770" y="107008"/>
                      </a:lnTo>
                      <a:lnTo>
                        <a:pt x="130877" y="113678"/>
                      </a:lnTo>
                      <a:lnTo>
                        <a:pt x="100489" y="108294"/>
                      </a:lnTo>
                      <a:lnTo>
                        <a:pt x="36083" y="96673"/>
                      </a:lnTo>
                      <a:lnTo>
                        <a:pt x="58808" y="80341"/>
                      </a:lnTo>
                      <a:lnTo>
                        <a:pt x="8567" y="62122"/>
                      </a:lnTo>
                      <a:lnTo>
                        <a:pt x="49438" y="54856"/>
                      </a:lnTo>
                      <a:lnTo>
                        <a:pt x="48445" y="43801"/>
                      </a:lnTo>
                      <a:lnTo>
                        <a:pt x="0" y="35002"/>
                      </a:lnTo>
                      <a:lnTo>
                        <a:pt x="15596" y="10164"/>
                      </a:lnTo>
                      <a:lnTo>
                        <a:pt x="50580" y="4480"/>
                      </a:lnTo>
                      <a:lnTo>
                        <a:pt x="86558" y="30414"/>
                      </a:lnTo>
                      <a:lnTo>
                        <a:pt x="121631" y="9624"/>
                      </a:lnTo>
                      <a:lnTo>
                        <a:pt x="150674" y="20446"/>
                      </a:lnTo>
                      <a:lnTo>
                        <a:pt x="188317" y="0"/>
                      </a:lnTo>
                      <a:close/>
                    </a:path>
                  </a:pathLst>
                </a:custGeom>
                <a:solidFill>
                  <a:schemeClr val="accent1">
                    <a:lumMod val="20000"/>
                    <a:lumOff val="80000"/>
                  </a:schemeClr>
                </a:solidFill>
                <a:ln cap="rnd" w="3175">
                  <a:solidFill>
                    <a:srgbClr val="009fdf">
                      <a:lumMod val="60000"/>
                      <a:lumOff val="40000"/>
                    </a:srgbClr>
                  </a:solidFill>
                </a:ln>
              </p:spPr>
              <p:style>
                <a:lnRef idx="2">
                  <a:schemeClr val="accent1">
                    <a:shade val="50000"/>
                  </a:schemeClr>
                </a:lnRef>
                <a:fillRef idx="1">
                  <a:schemeClr val="accent1"/>
                </a:fillRef>
                <a:effectRef idx="0">
                  <a:schemeClr val="accent1"/>
                </a:effectRef>
                <a:fontRef idx="minor"/>
              </p:style>
              <p:txBody>
                <a:bodyPr numCol="1" spcCol="0" horzOverflow="overflow" lIns="72000" rIns="72000" tIns="56520" bIns="56520" anchor="ctr">
                  <a:noAutofit/>
                </a:bodyPr>
                <a:p>
                  <a:pPr algn="ctr" defTabSz="457200">
                    <a:lnSpc>
                      <a:spcPct val="100000"/>
                    </a:lnSpc>
                    <a:tabLst>
                      <a:tab algn="l" pos="0"/>
                    </a:tabLst>
                  </a:pPr>
                  <a:endParaRPr b="0" lang="de-DE" sz="1600" spc="-1" strike="noStrike">
                    <a:solidFill>
                      <a:srgbClr val="000000"/>
                    </a:solidFill>
                    <a:latin typeface="Arial"/>
                    <a:ea typeface="Arial"/>
                  </a:endParaRPr>
                </a:p>
              </p:txBody>
            </p:sp>
            <p:sp>
              <p:nvSpPr>
                <p:cNvPr id="449" name="Freeform 88"/>
                <p:cNvSpPr/>
                <p:nvPr/>
              </p:nvSpPr>
              <p:spPr>
                <a:xfrm>
                  <a:off x="8157600" y="3380760"/>
                  <a:ext cx="36000" cy="95760"/>
                </a:xfrm>
                <a:custGeom>
                  <a:avLst/>
                  <a:gdLst/>
                  <a:ahLst/>
                  <a:rect l="l" t="t" r="r" b="b"/>
                  <a:pathLst>
                    <a:path w="36263" h="96277">
                      <a:moveTo>
                        <a:pt x="35909" y="0"/>
                      </a:moveTo>
                      <a:lnTo>
                        <a:pt x="36262" y="10553"/>
                      </a:lnTo>
                      <a:lnTo>
                        <a:pt x="33132" y="14467"/>
                      </a:lnTo>
                      <a:lnTo>
                        <a:pt x="33574" y="14642"/>
                      </a:lnTo>
                      <a:lnTo>
                        <a:pt x="29552" y="22740"/>
                      </a:lnTo>
                      <a:lnTo>
                        <a:pt x="29542" y="38401"/>
                      </a:lnTo>
                      <a:lnTo>
                        <a:pt x="26133" y="45893"/>
                      </a:lnTo>
                      <a:lnTo>
                        <a:pt x="26672" y="55804"/>
                      </a:lnTo>
                      <a:lnTo>
                        <a:pt x="15170" y="96276"/>
                      </a:lnTo>
                      <a:lnTo>
                        <a:pt x="0" y="52767"/>
                      </a:lnTo>
                      <a:lnTo>
                        <a:pt x="6716" y="44369"/>
                      </a:lnTo>
                      <a:lnTo>
                        <a:pt x="5140" y="42921"/>
                      </a:lnTo>
                      <a:lnTo>
                        <a:pt x="11245" y="30971"/>
                      </a:lnTo>
                      <a:lnTo>
                        <a:pt x="15927" y="11602"/>
                      </a:lnTo>
                      <a:lnTo>
                        <a:pt x="19229" y="5080"/>
                      </a:lnTo>
                      <a:lnTo>
                        <a:pt x="19866" y="4812"/>
                      </a:lnTo>
                      <a:lnTo>
                        <a:pt x="27590" y="4861"/>
                      </a:lnTo>
                      <a:lnTo>
                        <a:pt x="29716" y="339"/>
                      </a:lnTo>
                      <a:close/>
                    </a:path>
                  </a:pathLst>
                </a:custGeom>
                <a:solidFill>
                  <a:schemeClr val="accent1"/>
                </a:solidFill>
                <a:ln cap="rnd" w="3175">
                  <a:solidFill>
                    <a:srgbClr val="009fdf">
                      <a:lumMod val="60000"/>
                      <a:lumOff val="40000"/>
                    </a:srgbClr>
                  </a:solidFill>
                </a:ln>
              </p:spPr>
              <p:style>
                <a:lnRef idx="2">
                  <a:schemeClr val="accent1">
                    <a:shade val="50000"/>
                  </a:schemeClr>
                </a:lnRef>
                <a:fillRef idx="1">
                  <a:schemeClr val="accent1"/>
                </a:fillRef>
                <a:effectRef idx="0">
                  <a:schemeClr val="accent1"/>
                </a:effectRef>
                <a:fontRef idx="minor"/>
              </p:style>
              <p:txBody>
                <a:bodyPr numCol="1" spcCol="0" horzOverflow="overflow" lIns="72000" rIns="72000" tIns="47880" bIns="47880" anchor="ctr">
                  <a:noAutofit/>
                </a:bodyPr>
                <a:p>
                  <a:pPr algn="ctr" defTabSz="457200">
                    <a:lnSpc>
                      <a:spcPct val="100000"/>
                    </a:lnSpc>
                    <a:tabLst>
                      <a:tab algn="l" pos="0"/>
                    </a:tabLst>
                  </a:pPr>
                  <a:endParaRPr b="0" lang="de-DE" sz="1600" spc="-1" strike="noStrike">
                    <a:solidFill>
                      <a:srgbClr val="000000"/>
                    </a:solidFill>
                    <a:latin typeface="Arial"/>
                    <a:ea typeface="Arial"/>
                  </a:endParaRPr>
                </a:p>
              </p:txBody>
            </p:sp>
            <p:sp>
              <p:nvSpPr>
                <p:cNvPr id="450" name="Freeform 89"/>
                <p:cNvSpPr/>
                <p:nvPr/>
              </p:nvSpPr>
              <p:spPr>
                <a:xfrm>
                  <a:off x="7523640" y="3003120"/>
                  <a:ext cx="270000" cy="290160"/>
                </a:xfrm>
                <a:custGeom>
                  <a:avLst/>
                  <a:gdLst>
                    <a:gd name="textAreaLeft" fmla="*/ 0 w 270000"/>
                    <a:gd name="textAreaRight" fmla="*/ 270360 w 270000"/>
                    <a:gd name="textAreaTop" fmla="*/ 0 h 290160"/>
                    <a:gd name="textAreaBottom" fmla="*/ 290520 h 290160"/>
                  </a:gdLst>
                  <a:ahLst/>
                  <a:rect l="textAreaLeft" t="textAreaTop" r="textAreaRight" b="textAreaBottom"/>
                  <a:pathLst>
                    <a:path w="270767" h="290991">
                      <a:moveTo>
                        <a:pt x="202445" y="248072"/>
                      </a:moveTo>
                      <a:lnTo>
                        <a:pt x="194133" y="269109"/>
                      </a:lnTo>
                      <a:lnTo>
                        <a:pt x="197587" y="277352"/>
                      </a:lnTo>
                      <a:lnTo>
                        <a:pt x="192742" y="290991"/>
                      </a:lnTo>
                      <a:lnTo>
                        <a:pt x="175089" y="281007"/>
                      </a:lnTo>
                      <a:lnTo>
                        <a:pt x="163352" y="278141"/>
                      </a:lnTo>
                      <a:lnTo>
                        <a:pt x="131134" y="264605"/>
                      </a:lnTo>
                      <a:lnTo>
                        <a:pt x="134365" y="250880"/>
                      </a:lnTo>
                      <a:lnTo>
                        <a:pt x="161376" y="253328"/>
                      </a:lnTo>
                      <a:lnTo>
                        <a:pt x="184923" y="250411"/>
                      </a:lnTo>
                      <a:close/>
                      <a:moveTo>
                        <a:pt x="56785" y="167178"/>
                      </a:moveTo>
                      <a:lnTo>
                        <a:pt x="70634" y="186650"/>
                      </a:lnTo>
                      <a:lnTo>
                        <a:pt x="67392" y="222600"/>
                      </a:lnTo>
                      <a:lnTo>
                        <a:pt x="56896" y="220895"/>
                      </a:lnTo>
                      <a:lnTo>
                        <a:pt x="47481" y="229910"/>
                      </a:lnTo>
                      <a:lnTo>
                        <a:pt x="38741" y="222749"/>
                      </a:lnTo>
                      <a:lnTo>
                        <a:pt x="37817" y="189975"/>
                      </a:lnTo>
                      <a:lnTo>
                        <a:pt x="32548" y="174323"/>
                      </a:lnTo>
                      <a:lnTo>
                        <a:pt x="45243" y="175695"/>
                      </a:lnTo>
                      <a:close/>
                      <a:moveTo>
                        <a:pt x="124719" y="0"/>
                      </a:moveTo>
                      <a:lnTo>
                        <a:pt x="129876" y="10127"/>
                      </a:lnTo>
                      <a:lnTo>
                        <a:pt x="162884" y="17622"/>
                      </a:lnTo>
                      <a:lnTo>
                        <a:pt x="160382" y="31859"/>
                      </a:lnTo>
                      <a:lnTo>
                        <a:pt x="165911" y="44108"/>
                      </a:lnTo>
                      <a:lnTo>
                        <a:pt x="147537" y="39923"/>
                      </a:lnTo>
                      <a:lnTo>
                        <a:pt x="128770" y="50107"/>
                      </a:lnTo>
                      <a:lnTo>
                        <a:pt x="130046" y="64290"/>
                      </a:lnTo>
                      <a:lnTo>
                        <a:pt x="127220" y="72397"/>
                      </a:lnTo>
                      <a:lnTo>
                        <a:pt x="134787" y="86828"/>
                      </a:lnTo>
                      <a:lnTo>
                        <a:pt x="156431" y="101033"/>
                      </a:lnTo>
                      <a:lnTo>
                        <a:pt x="168039" y="124199"/>
                      </a:lnTo>
                      <a:lnTo>
                        <a:pt x="193725" y="146607"/>
                      </a:lnTo>
                      <a:lnTo>
                        <a:pt x="211813" y="146436"/>
                      </a:lnTo>
                      <a:lnTo>
                        <a:pt x="217438" y="152553"/>
                      </a:lnTo>
                      <a:lnTo>
                        <a:pt x="210962" y="158055"/>
                      </a:lnTo>
                      <a:lnTo>
                        <a:pt x="231636" y="168014"/>
                      </a:lnTo>
                      <a:lnTo>
                        <a:pt x="248583" y="176322"/>
                      </a:lnTo>
                      <a:lnTo>
                        <a:pt x="268377" y="190594"/>
                      </a:lnTo>
                      <a:lnTo>
                        <a:pt x="270767" y="195690"/>
                      </a:lnTo>
                      <a:lnTo>
                        <a:pt x="266454" y="205435"/>
                      </a:lnTo>
                      <a:lnTo>
                        <a:pt x="253643" y="192722"/>
                      </a:lnTo>
                      <a:lnTo>
                        <a:pt x="233589" y="188229"/>
                      </a:lnTo>
                      <a:lnTo>
                        <a:pt x="223875" y="205853"/>
                      </a:lnTo>
                      <a:lnTo>
                        <a:pt x="240557" y="215909"/>
                      </a:lnTo>
                      <a:lnTo>
                        <a:pt x="237819" y="230011"/>
                      </a:lnTo>
                      <a:lnTo>
                        <a:pt x="228176" y="231609"/>
                      </a:lnTo>
                      <a:lnTo>
                        <a:pt x="215847" y="254641"/>
                      </a:lnTo>
                      <a:lnTo>
                        <a:pt x="206224" y="256702"/>
                      </a:lnTo>
                      <a:lnTo>
                        <a:pt x="206314" y="248516"/>
                      </a:lnTo>
                      <a:lnTo>
                        <a:pt x="211023" y="234105"/>
                      </a:lnTo>
                      <a:lnTo>
                        <a:pt x="216040" y="228347"/>
                      </a:lnTo>
                      <a:lnTo>
                        <a:pt x="207026" y="212674"/>
                      </a:lnTo>
                      <a:lnTo>
                        <a:pt x="199981" y="198973"/>
                      </a:lnTo>
                      <a:lnTo>
                        <a:pt x="190399" y="195578"/>
                      </a:lnTo>
                      <a:lnTo>
                        <a:pt x="183584" y="183790"/>
                      </a:lnTo>
                      <a:lnTo>
                        <a:pt x="168751" y="178811"/>
                      </a:lnTo>
                      <a:lnTo>
                        <a:pt x="158764" y="167775"/>
                      </a:lnTo>
                      <a:lnTo>
                        <a:pt x="141685" y="165992"/>
                      </a:lnTo>
                      <a:lnTo>
                        <a:pt x="123648" y="153541"/>
                      </a:lnTo>
                      <a:lnTo>
                        <a:pt x="102532" y="135498"/>
                      </a:lnTo>
                      <a:lnTo>
                        <a:pt x="86837" y="119438"/>
                      </a:lnTo>
                      <a:lnTo>
                        <a:pt x="79637" y="91669"/>
                      </a:lnTo>
                      <a:lnTo>
                        <a:pt x="68153" y="88385"/>
                      </a:lnTo>
                      <a:lnTo>
                        <a:pt x="49374" y="79043"/>
                      </a:lnTo>
                      <a:lnTo>
                        <a:pt x="38747" y="82871"/>
                      </a:lnTo>
                      <a:lnTo>
                        <a:pt x="25410" y="95980"/>
                      </a:lnTo>
                      <a:lnTo>
                        <a:pt x="15818" y="98045"/>
                      </a:lnTo>
                      <a:lnTo>
                        <a:pt x="18458" y="85795"/>
                      </a:lnTo>
                      <a:lnTo>
                        <a:pt x="5947" y="82205"/>
                      </a:lnTo>
                      <a:lnTo>
                        <a:pt x="0" y="60207"/>
                      </a:lnTo>
                      <a:lnTo>
                        <a:pt x="8003" y="51501"/>
                      </a:lnTo>
                      <a:lnTo>
                        <a:pt x="1210" y="40731"/>
                      </a:lnTo>
                      <a:lnTo>
                        <a:pt x="2162" y="32598"/>
                      </a:lnTo>
                      <a:lnTo>
                        <a:pt x="12093" y="38765"/>
                      </a:lnTo>
                      <a:lnTo>
                        <a:pt x="23223" y="37398"/>
                      </a:lnTo>
                      <a:lnTo>
                        <a:pt x="36164" y="27621"/>
                      </a:lnTo>
                      <a:lnTo>
                        <a:pt x="40164" y="32194"/>
                      </a:lnTo>
                      <a:lnTo>
                        <a:pt x="51160" y="31278"/>
                      </a:lnTo>
                      <a:lnTo>
                        <a:pt x="56159" y="19624"/>
                      </a:lnTo>
                      <a:lnTo>
                        <a:pt x="73239" y="23250"/>
                      </a:lnTo>
                      <a:lnTo>
                        <a:pt x="83408" y="18367"/>
                      </a:lnTo>
                      <a:lnTo>
                        <a:pt x="85239" y="6463"/>
                      </a:lnTo>
                      <a:lnTo>
                        <a:pt x="99224" y="10598"/>
                      </a:lnTo>
                      <a:lnTo>
                        <a:pt x="101908" y="5065"/>
                      </a:lnTo>
                      <a:close/>
                    </a:path>
                  </a:pathLst>
                </a:custGeom>
                <a:solidFill>
                  <a:schemeClr val="accent1"/>
                </a:solidFill>
                <a:ln cap="rnd" w="3175">
                  <a:solidFill>
                    <a:srgbClr val="009fdf">
                      <a:lumMod val="60000"/>
                      <a:lumOff val="40000"/>
                    </a:srgbClr>
                  </a:solidFill>
                </a:ln>
              </p:spPr>
              <p:style>
                <a:lnRef idx="2">
                  <a:schemeClr val="accent1">
                    <a:shade val="50000"/>
                  </a:schemeClr>
                </a:lnRef>
                <a:fillRef idx="1">
                  <a:schemeClr val="accent1"/>
                </a:fillRef>
                <a:effectRef idx="0">
                  <a:schemeClr val="accent1"/>
                </a:effectRef>
                <a:fontRef idx="minor"/>
              </p:style>
              <p:txBody>
                <a:bodyPr numCol="1" spcCol="0" horzOverflow="overflow" lIns="72000" rIns="72000" tIns="72000" bIns="72000" anchor="ctr">
                  <a:noAutofit/>
                </a:bodyPr>
                <a:p>
                  <a:pPr algn="ctr" defTabSz="457200">
                    <a:lnSpc>
                      <a:spcPct val="100000"/>
                    </a:lnSpc>
                    <a:tabLst>
                      <a:tab algn="l" pos="0"/>
                    </a:tabLst>
                  </a:pPr>
                  <a:endParaRPr b="0" lang="de-DE" sz="1600" spc="-1" strike="noStrike">
                    <a:solidFill>
                      <a:srgbClr val="000000"/>
                    </a:solidFill>
                    <a:latin typeface="Arial"/>
                    <a:ea typeface="Arial"/>
                  </a:endParaRPr>
                </a:p>
              </p:txBody>
            </p:sp>
            <p:sp>
              <p:nvSpPr>
                <p:cNvPr id="451" name="Freeform 90"/>
                <p:cNvSpPr/>
                <p:nvPr/>
              </p:nvSpPr>
              <p:spPr>
                <a:xfrm>
                  <a:off x="8172720" y="3377880"/>
                  <a:ext cx="97920" cy="105840"/>
                </a:xfrm>
                <a:custGeom>
                  <a:avLst/>
                  <a:gdLst/>
                  <a:ahLst/>
                  <a:rect l="l" t="t" r="r" b="b"/>
                  <a:pathLst>
                    <a:path w="98630" h="106540">
                      <a:moveTo>
                        <a:pt x="14382" y="25356"/>
                      </a:moveTo>
                      <a:lnTo>
                        <a:pt x="18404" y="17258"/>
                      </a:lnTo>
                      <a:lnTo>
                        <a:pt x="44121" y="27436"/>
                      </a:lnTo>
                      <a:lnTo>
                        <a:pt x="89324" y="0"/>
                      </a:lnTo>
                      <a:lnTo>
                        <a:pt x="98629" y="31331"/>
                      </a:lnTo>
                      <a:lnTo>
                        <a:pt x="94230" y="35193"/>
                      </a:lnTo>
                      <a:lnTo>
                        <a:pt x="48002" y="48016"/>
                      </a:lnTo>
                      <a:lnTo>
                        <a:pt x="71008" y="73443"/>
                      </a:lnTo>
                      <a:lnTo>
                        <a:pt x="63374" y="77745"/>
                      </a:lnTo>
                      <a:lnTo>
                        <a:pt x="59575" y="86216"/>
                      </a:lnTo>
                      <a:lnTo>
                        <a:pt x="41962" y="89714"/>
                      </a:lnTo>
                      <a:lnTo>
                        <a:pt x="36438" y="98793"/>
                      </a:lnTo>
                      <a:lnTo>
                        <a:pt x="26460" y="106539"/>
                      </a:lnTo>
                      <a:lnTo>
                        <a:pt x="771" y="102537"/>
                      </a:lnTo>
                      <a:lnTo>
                        <a:pt x="0" y="98892"/>
                      </a:lnTo>
                      <a:lnTo>
                        <a:pt x="11502" y="58420"/>
                      </a:lnTo>
                      <a:lnTo>
                        <a:pt x="10963" y="48509"/>
                      </a:lnTo>
                      <a:lnTo>
                        <a:pt x="14372" y="41017"/>
                      </a:lnTo>
                      <a:close/>
                    </a:path>
                  </a:pathLst>
                </a:custGeom>
                <a:solidFill>
                  <a:schemeClr val="accent1"/>
                </a:solidFill>
                <a:ln cap="rnd" w="3175">
                  <a:solidFill>
                    <a:srgbClr val="009fdf">
                      <a:lumMod val="60000"/>
                      <a:lumOff val="40000"/>
                    </a:srgbClr>
                  </a:solidFill>
                </a:ln>
              </p:spPr>
              <p:style>
                <a:lnRef idx="2">
                  <a:schemeClr val="accent1">
                    <a:shade val="50000"/>
                  </a:schemeClr>
                </a:lnRef>
                <a:fillRef idx="1">
                  <a:schemeClr val="accent1"/>
                </a:fillRef>
                <a:effectRef idx="0">
                  <a:schemeClr val="accent1"/>
                </a:effectRef>
                <a:fontRef idx="minor"/>
              </p:style>
              <p:txBody>
                <a:bodyPr numCol="1" spcCol="0" horzOverflow="overflow" lIns="72000" rIns="72000" tIns="52920" bIns="52920" anchor="ctr">
                  <a:noAutofit/>
                </a:bodyPr>
                <a:p>
                  <a:pPr algn="ctr" defTabSz="457200">
                    <a:lnSpc>
                      <a:spcPct val="100000"/>
                    </a:lnSpc>
                    <a:tabLst>
                      <a:tab algn="l" pos="0"/>
                    </a:tabLst>
                  </a:pPr>
                  <a:endParaRPr b="0" lang="de-DE" sz="1600" spc="-1" strike="noStrike">
                    <a:solidFill>
                      <a:srgbClr val="000000"/>
                    </a:solidFill>
                    <a:latin typeface="Arial"/>
                    <a:ea typeface="Arial"/>
                  </a:endParaRPr>
                </a:p>
              </p:txBody>
            </p:sp>
            <p:sp>
              <p:nvSpPr>
                <p:cNvPr id="452" name="Freeform 91"/>
                <p:cNvSpPr/>
                <p:nvPr/>
              </p:nvSpPr>
              <p:spPr>
                <a:xfrm>
                  <a:off x="10349280" y="3048120"/>
                  <a:ext cx="371160" cy="389520"/>
                </a:xfrm>
                <a:custGeom>
                  <a:avLst/>
                  <a:gdLst>
                    <a:gd name="textAreaLeft" fmla="*/ 0 w 371160"/>
                    <a:gd name="textAreaRight" fmla="*/ 371520 w 371160"/>
                    <a:gd name="textAreaTop" fmla="*/ 0 h 389520"/>
                    <a:gd name="textAreaBottom" fmla="*/ 389880 h 389520"/>
                  </a:gdLst>
                  <a:ahLst/>
                  <a:rect l="textAreaLeft" t="textAreaTop" r="textAreaRight" b="textAreaBottom"/>
                  <a:pathLst>
                    <a:path w="372432" h="390709">
                      <a:moveTo>
                        <a:pt x="103771" y="304924"/>
                      </a:moveTo>
                      <a:lnTo>
                        <a:pt x="120721" y="310532"/>
                      </a:lnTo>
                      <a:lnTo>
                        <a:pt x="123675" y="319430"/>
                      </a:lnTo>
                      <a:lnTo>
                        <a:pt x="110680" y="335080"/>
                      </a:lnTo>
                      <a:lnTo>
                        <a:pt x="101206" y="326792"/>
                      </a:lnTo>
                      <a:lnTo>
                        <a:pt x="89371" y="332798"/>
                      </a:lnTo>
                      <a:lnTo>
                        <a:pt x="83245" y="347873"/>
                      </a:lnTo>
                      <a:lnTo>
                        <a:pt x="68201" y="340541"/>
                      </a:lnTo>
                      <a:lnTo>
                        <a:pt x="68387" y="328300"/>
                      </a:lnTo>
                      <a:lnTo>
                        <a:pt x="81156" y="312842"/>
                      </a:lnTo>
                      <a:lnTo>
                        <a:pt x="94281" y="315844"/>
                      </a:lnTo>
                      <a:close/>
                      <a:moveTo>
                        <a:pt x="276081" y="117295"/>
                      </a:moveTo>
                      <a:lnTo>
                        <a:pt x="288667" y="155275"/>
                      </a:lnTo>
                      <a:lnTo>
                        <a:pt x="287983" y="177264"/>
                      </a:lnTo>
                      <a:lnTo>
                        <a:pt x="266629" y="204362"/>
                      </a:lnTo>
                      <a:lnTo>
                        <a:pt x="267019" y="231902"/>
                      </a:lnTo>
                      <a:lnTo>
                        <a:pt x="258325" y="253046"/>
                      </a:lnTo>
                      <a:lnTo>
                        <a:pt x="262349" y="266255"/>
                      </a:lnTo>
                      <a:lnTo>
                        <a:pt x="250328" y="284747"/>
                      </a:lnTo>
                      <a:lnTo>
                        <a:pt x="220833" y="297039"/>
                      </a:lnTo>
                      <a:lnTo>
                        <a:pt x="180256" y="298638"/>
                      </a:lnTo>
                      <a:lnTo>
                        <a:pt x="147372" y="328270"/>
                      </a:lnTo>
                      <a:lnTo>
                        <a:pt x="131860" y="318322"/>
                      </a:lnTo>
                      <a:lnTo>
                        <a:pt x="130901" y="298892"/>
                      </a:lnTo>
                      <a:lnTo>
                        <a:pt x="90758" y="304637"/>
                      </a:lnTo>
                      <a:lnTo>
                        <a:pt x="63438" y="316873"/>
                      </a:lnTo>
                      <a:lnTo>
                        <a:pt x="36417" y="317371"/>
                      </a:lnTo>
                      <a:lnTo>
                        <a:pt x="59821" y="336401"/>
                      </a:lnTo>
                      <a:lnTo>
                        <a:pt x="44418" y="379993"/>
                      </a:lnTo>
                      <a:lnTo>
                        <a:pt x="29497" y="390709"/>
                      </a:lnTo>
                      <a:lnTo>
                        <a:pt x="18327" y="380812"/>
                      </a:lnTo>
                      <a:lnTo>
                        <a:pt x="23988" y="357764"/>
                      </a:lnTo>
                      <a:lnTo>
                        <a:pt x="9377" y="350297"/>
                      </a:lnTo>
                      <a:lnTo>
                        <a:pt x="0" y="332631"/>
                      </a:lnTo>
                      <a:lnTo>
                        <a:pt x="21824" y="324666"/>
                      </a:lnTo>
                      <a:lnTo>
                        <a:pt x="33931" y="308362"/>
                      </a:lnTo>
                      <a:lnTo>
                        <a:pt x="57147" y="294897"/>
                      </a:lnTo>
                      <a:lnTo>
                        <a:pt x="74077" y="277011"/>
                      </a:lnTo>
                      <a:lnTo>
                        <a:pt x="120026" y="269181"/>
                      </a:lnTo>
                      <a:lnTo>
                        <a:pt x="144707" y="274552"/>
                      </a:lnTo>
                      <a:lnTo>
                        <a:pt x="168858" y="227569"/>
                      </a:lnTo>
                      <a:lnTo>
                        <a:pt x="184249" y="240255"/>
                      </a:lnTo>
                      <a:lnTo>
                        <a:pt x="218112" y="213635"/>
                      </a:lnTo>
                      <a:lnTo>
                        <a:pt x="231241" y="203237"/>
                      </a:lnTo>
                      <a:lnTo>
                        <a:pt x="245746" y="170285"/>
                      </a:lnTo>
                      <a:lnTo>
                        <a:pt x="241789" y="139676"/>
                      </a:lnTo>
                      <a:lnTo>
                        <a:pt x="251540" y="122348"/>
                      </a:lnTo>
                      <a:close/>
                      <a:moveTo>
                        <a:pt x="289900" y="0"/>
                      </a:moveTo>
                      <a:lnTo>
                        <a:pt x="317027" y="29715"/>
                      </a:lnTo>
                      <a:lnTo>
                        <a:pt x="334738" y="39246"/>
                      </a:lnTo>
                      <a:lnTo>
                        <a:pt x="350972" y="45273"/>
                      </a:lnTo>
                      <a:lnTo>
                        <a:pt x="367300" y="33279"/>
                      </a:lnTo>
                      <a:lnTo>
                        <a:pt x="372432" y="64938"/>
                      </a:lnTo>
                      <a:lnTo>
                        <a:pt x="338189" y="72605"/>
                      </a:lnTo>
                      <a:lnTo>
                        <a:pt x="317973" y="100254"/>
                      </a:lnTo>
                      <a:lnTo>
                        <a:pt x="281679" y="81251"/>
                      </a:lnTo>
                      <a:lnTo>
                        <a:pt x="269117" y="111612"/>
                      </a:lnTo>
                      <a:lnTo>
                        <a:pt x="243445" y="112027"/>
                      </a:lnTo>
                      <a:lnTo>
                        <a:pt x="240270" y="84457"/>
                      </a:lnTo>
                      <a:lnTo>
                        <a:pt x="251685" y="62941"/>
                      </a:lnTo>
                      <a:lnTo>
                        <a:pt x="276348" y="61381"/>
                      </a:lnTo>
                      <a:lnTo>
                        <a:pt x="283074" y="22274"/>
                      </a:lnTo>
                      <a:close/>
                    </a:path>
                  </a:pathLst>
                </a:custGeom>
                <a:solidFill>
                  <a:schemeClr val="accent1"/>
                </a:solidFill>
                <a:ln cap="rnd" w="3175">
                  <a:solidFill>
                    <a:srgbClr val="009fdf">
                      <a:lumMod val="60000"/>
                      <a:lumOff val="40000"/>
                    </a:srgbClr>
                  </a:solidFill>
                </a:ln>
              </p:spPr>
              <p:style>
                <a:lnRef idx="2">
                  <a:schemeClr val="accent1">
                    <a:shade val="50000"/>
                  </a:schemeClr>
                </a:lnRef>
                <a:fillRef idx="1">
                  <a:schemeClr val="accent1"/>
                </a:fillRef>
                <a:effectRef idx="0">
                  <a:schemeClr val="accent1"/>
                </a:effectRef>
                <a:fontRef idx="minor"/>
              </p:style>
              <p:txBody>
                <a:bodyPr numCol="1" spcCol="0" horzOverflow="overflow" lIns="72000" rIns="72000" tIns="72000" bIns="72000" anchor="ctr">
                  <a:noAutofit/>
                </a:bodyPr>
                <a:p>
                  <a:pPr algn="ctr" defTabSz="457200">
                    <a:lnSpc>
                      <a:spcPct val="100000"/>
                    </a:lnSpc>
                    <a:tabLst>
                      <a:tab algn="l" pos="0"/>
                    </a:tabLst>
                  </a:pPr>
                  <a:endParaRPr b="0" lang="de-DE" sz="1600" spc="-1" strike="noStrike">
                    <a:solidFill>
                      <a:srgbClr val="000000"/>
                    </a:solidFill>
                    <a:latin typeface="Arial"/>
                    <a:ea typeface="Arial"/>
                  </a:endParaRPr>
                </a:p>
              </p:txBody>
            </p:sp>
            <p:sp>
              <p:nvSpPr>
                <p:cNvPr id="453" name="Freeform 92"/>
                <p:cNvSpPr/>
                <p:nvPr/>
              </p:nvSpPr>
              <p:spPr>
                <a:xfrm>
                  <a:off x="8438760" y="2750040"/>
                  <a:ext cx="941760" cy="434160"/>
                </a:xfrm>
                <a:custGeom>
                  <a:avLst/>
                  <a:gdLst/>
                  <a:ahLst/>
                  <a:rect l="l" t="t" r="r" b="b"/>
                  <a:pathLst>
                    <a:path w="943933" h="435498">
                      <a:moveTo>
                        <a:pt x="565431" y="391267"/>
                      </a:moveTo>
                      <a:lnTo>
                        <a:pt x="552196" y="396398"/>
                      </a:lnTo>
                      <a:lnTo>
                        <a:pt x="521751" y="415668"/>
                      </a:lnTo>
                      <a:lnTo>
                        <a:pt x="511652" y="435323"/>
                      </a:lnTo>
                      <a:lnTo>
                        <a:pt x="503051" y="435497"/>
                      </a:lnTo>
                      <a:lnTo>
                        <a:pt x="496726" y="422501"/>
                      </a:lnTo>
                      <a:lnTo>
                        <a:pt x="467369" y="421609"/>
                      </a:lnTo>
                      <a:lnTo>
                        <a:pt x="462674" y="398995"/>
                      </a:lnTo>
                      <a:lnTo>
                        <a:pt x="451427" y="398800"/>
                      </a:lnTo>
                      <a:lnTo>
                        <a:pt x="453149" y="370874"/>
                      </a:lnTo>
                      <a:lnTo>
                        <a:pt x="425515" y="350369"/>
                      </a:lnTo>
                      <a:lnTo>
                        <a:pt x="385928" y="352566"/>
                      </a:lnTo>
                      <a:lnTo>
                        <a:pt x="358863" y="356662"/>
                      </a:lnTo>
                      <a:lnTo>
                        <a:pt x="336820" y="331212"/>
                      </a:lnTo>
                      <a:lnTo>
                        <a:pt x="317930" y="320464"/>
                      </a:lnTo>
                      <a:lnTo>
                        <a:pt x="282153" y="300007"/>
                      </a:lnTo>
                      <a:lnTo>
                        <a:pt x="277839" y="297517"/>
                      </a:lnTo>
                      <a:lnTo>
                        <a:pt x="218420" y="314428"/>
                      </a:lnTo>
                      <a:lnTo>
                        <a:pt x="219326" y="417751"/>
                      </a:lnTo>
                      <a:lnTo>
                        <a:pt x="207486" y="419094"/>
                      </a:lnTo>
                      <a:lnTo>
                        <a:pt x="191331" y="397433"/>
                      </a:lnTo>
                      <a:lnTo>
                        <a:pt x="175728" y="389656"/>
                      </a:lnTo>
                      <a:lnTo>
                        <a:pt x="149526" y="395435"/>
                      </a:lnTo>
                      <a:lnTo>
                        <a:pt x="139328" y="404651"/>
                      </a:lnTo>
                      <a:lnTo>
                        <a:pt x="138032" y="397900"/>
                      </a:lnTo>
                      <a:lnTo>
                        <a:pt x="143706" y="386325"/>
                      </a:lnTo>
                      <a:lnTo>
                        <a:pt x="139304" y="376614"/>
                      </a:lnTo>
                      <a:lnTo>
                        <a:pt x="112551" y="367086"/>
                      </a:lnTo>
                      <a:lnTo>
                        <a:pt x="102138" y="341822"/>
                      </a:lnTo>
                      <a:lnTo>
                        <a:pt x="89392" y="334664"/>
                      </a:lnTo>
                      <a:lnTo>
                        <a:pt x="88619" y="325420"/>
                      </a:lnTo>
                      <a:lnTo>
                        <a:pt x="111075" y="328117"/>
                      </a:lnTo>
                      <a:lnTo>
                        <a:pt x="111962" y="307282"/>
                      </a:lnTo>
                      <a:lnTo>
                        <a:pt x="131593" y="302633"/>
                      </a:lnTo>
                      <a:lnTo>
                        <a:pt x="151756" y="306909"/>
                      </a:lnTo>
                      <a:lnTo>
                        <a:pt x="155911" y="278858"/>
                      </a:lnTo>
                      <a:lnTo>
                        <a:pt x="151799" y="260930"/>
                      </a:lnTo>
                      <a:lnTo>
                        <a:pt x="128699" y="262337"/>
                      </a:lnTo>
                      <a:lnTo>
                        <a:pt x="109077" y="255232"/>
                      </a:lnTo>
                      <a:lnTo>
                        <a:pt x="82351" y="268019"/>
                      </a:lnTo>
                      <a:lnTo>
                        <a:pt x="60816" y="274095"/>
                      </a:lnTo>
                      <a:lnTo>
                        <a:pt x="49093" y="269410"/>
                      </a:lnTo>
                      <a:lnTo>
                        <a:pt x="51435" y="254447"/>
                      </a:lnTo>
                      <a:lnTo>
                        <a:pt x="36721" y="234895"/>
                      </a:lnTo>
                      <a:lnTo>
                        <a:pt x="19593" y="235715"/>
                      </a:lnTo>
                      <a:lnTo>
                        <a:pt x="0" y="215724"/>
                      </a:lnTo>
                      <a:lnTo>
                        <a:pt x="13324" y="193207"/>
                      </a:lnTo>
                      <a:lnTo>
                        <a:pt x="6583" y="187114"/>
                      </a:lnTo>
                      <a:lnTo>
                        <a:pt x="25000" y="154044"/>
                      </a:lnTo>
                      <a:lnTo>
                        <a:pt x="48737" y="171553"/>
                      </a:lnTo>
                      <a:lnTo>
                        <a:pt x="51612" y="149482"/>
                      </a:lnTo>
                      <a:lnTo>
                        <a:pt x="99261" y="116257"/>
                      </a:lnTo>
                      <a:lnTo>
                        <a:pt x="135317" y="115461"/>
                      </a:lnTo>
                      <a:lnTo>
                        <a:pt x="186195" y="136670"/>
                      </a:lnTo>
                      <a:lnTo>
                        <a:pt x="213526" y="148979"/>
                      </a:lnTo>
                      <a:lnTo>
                        <a:pt x="238018" y="136142"/>
                      </a:lnTo>
                      <a:lnTo>
                        <a:pt x="274611" y="135529"/>
                      </a:lnTo>
                      <a:lnTo>
                        <a:pt x="304134" y="151293"/>
                      </a:lnTo>
                      <a:lnTo>
                        <a:pt x="310840" y="142278"/>
                      </a:lnTo>
                      <a:lnTo>
                        <a:pt x="343262" y="143590"/>
                      </a:lnTo>
                      <a:lnTo>
                        <a:pt x="349046" y="129143"/>
                      </a:lnTo>
                      <a:lnTo>
                        <a:pt x="311641" y="108013"/>
                      </a:lnTo>
                      <a:lnTo>
                        <a:pt x="333795" y="92938"/>
                      </a:lnTo>
                      <a:lnTo>
                        <a:pt x="329472" y="84467"/>
                      </a:lnTo>
                      <a:lnTo>
                        <a:pt x="351631" y="76355"/>
                      </a:lnTo>
                      <a:lnTo>
                        <a:pt x="334967" y="54855"/>
                      </a:lnTo>
                      <a:lnTo>
                        <a:pt x="345551" y="44072"/>
                      </a:lnTo>
                      <a:lnTo>
                        <a:pt x="431926" y="33027"/>
                      </a:lnTo>
                      <a:lnTo>
                        <a:pt x="443198" y="25155"/>
                      </a:lnTo>
                      <a:lnTo>
                        <a:pt x="500956" y="13345"/>
                      </a:lnTo>
                      <a:lnTo>
                        <a:pt x="521709" y="0"/>
                      </a:lnTo>
                      <a:lnTo>
                        <a:pt x="563190" y="6942"/>
                      </a:lnTo>
                      <a:lnTo>
                        <a:pt x="570459" y="40046"/>
                      </a:lnTo>
                      <a:lnTo>
                        <a:pt x="594557" y="32314"/>
                      </a:lnTo>
                      <a:lnTo>
                        <a:pt x="624204" y="43142"/>
                      </a:lnTo>
                      <a:lnTo>
                        <a:pt x="622292" y="60371"/>
                      </a:lnTo>
                      <a:lnTo>
                        <a:pt x="644432" y="58576"/>
                      </a:lnTo>
                      <a:lnTo>
                        <a:pt x="702283" y="28687"/>
                      </a:lnTo>
                      <a:lnTo>
                        <a:pt x="693836" y="38659"/>
                      </a:lnTo>
                      <a:lnTo>
                        <a:pt x="723284" y="63056"/>
                      </a:lnTo>
                      <a:lnTo>
                        <a:pt x="774865" y="141591"/>
                      </a:lnTo>
                      <a:lnTo>
                        <a:pt x="787165" y="125601"/>
                      </a:lnTo>
                      <a:lnTo>
                        <a:pt x="818963" y="143191"/>
                      </a:lnTo>
                      <a:lnTo>
                        <a:pt x="852133" y="135360"/>
                      </a:lnTo>
                      <a:lnTo>
                        <a:pt x="864877" y="140845"/>
                      </a:lnTo>
                      <a:lnTo>
                        <a:pt x="875986" y="158381"/>
                      </a:lnTo>
                      <a:lnTo>
                        <a:pt x="892125" y="164245"/>
                      </a:lnTo>
                      <a:lnTo>
                        <a:pt x="901952" y="177020"/>
                      </a:lnTo>
                      <a:lnTo>
                        <a:pt x="931684" y="172999"/>
                      </a:lnTo>
                      <a:lnTo>
                        <a:pt x="943932" y="191328"/>
                      </a:lnTo>
                      <a:lnTo>
                        <a:pt x="926362" y="211134"/>
                      </a:lnTo>
                      <a:lnTo>
                        <a:pt x="907191" y="213901"/>
                      </a:lnTo>
                      <a:lnTo>
                        <a:pt x="906088" y="243422"/>
                      </a:lnTo>
                      <a:lnTo>
                        <a:pt x="893250" y="256623"/>
                      </a:lnTo>
                      <a:lnTo>
                        <a:pt x="847459" y="247019"/>
                      </a:lnTo>
                      <a:lnTo>
                        <a:pt x="830803" y="298870"/>
                      </a:lnTo>
                      <a:lnTo>
                        <a:pt x="818988" y="305249"/>
                      </a:lnTo>
                      <a:lnTo>
                        <a:pt x="773262" y="316662"/>
                      </a:lnTo>
                      <a:lnTo>
                        <a:pt x="794039" y="365759"/>
                      </a:lnTo>
                      <a:lnTo>
                        <a:pt x="778203" y="373044"/>
                      </a:lnTo>
                      <a:lnTo>
                        <a:pt x="780046" y="388937"/>
                      </a:lnTo>
                      <a:lnTo>
                        <a:pt x="765819" y="384855"/>
                      </a:lnTo>
                      <a:lnTo>
                        <a:pt x="754243" y="374832"/>
                      </a:lnTo>
                      <a:lnTo>
                        <a:pt x="719994" y="371909"/>
                      </a:lnTo>
                      <a:lnTo>
                        <a:pt x="681722" y="371144"/>
                      </a:lnTo>
                      <a:lnTo>
                        <a:pt x="673334" y="374223"/>
                      </a:lnTo>
                      <a:lnTo>
                        <a:pt x="640462" y="362451"/>
                      </a:lnTo>
                      <a:lnTo>
                        <a:pt x="627361" y="368255"/>
                      </a:lnTo>
                      <a:lnTo>
                        <a:pt x="623771" y="384738"/>
                      </a:lnTo>
                      <a:lnTo>
                        <a:pt x="585797" y="375131"/>
                      </a:lnTo>
                      <a:lnTo>
                        <a:pt x="570600" y="379070"/>
                      </a:lnTo>
                      <a:close/>
                    </a:path>
                  </a:pathLst>
                </a:custGeom>
                <a:solidFill>
                  <a:schemeClr val="accent1"/>
                </a:solidFill>
                <a:ln cap="rnd" w="3175">
                  <a:solidFill>
                    <a:srgbClr val="009fdf">
                      <a:lumMod val="60000"/>
                      <a:lumOff val="40000"/>
                    </a:srgbClr>
                  </a:solidFill>
                </a:ln>
              </p:spPr>
              <p:style>
                <a:lnRef idx="2">
                  <a:schemeClr val="accent1">
                    <a:shade val="50000"/>
                  </a:schemeClr>
                </a:lnRef>
                <a:fillRef idx="1">
                  <a:schemeClr val="accent1"/>
                </a:fillRef>
                <a:effectRef idx="0">
                  <a:schemeClr val="accent1"/>
                </a:effectRef>
                <a:fontRef idx="minor"/>
              </p:style>
              <p:txBody>
                <a:bodyPr numCol="1" spcCol="0" horzOverflow="overflow" lIns="72000" rIns="72000" tIns="72000" bIns="72000" anchor="ctr">
                  <a:noAutofit/>
                </a:bodyPr>
                <a:p>
                  <a:pPr algn="ctr" defTabSz="457200">
                    <a:lnSpc>
                      <a:spcPct val="100000"/>
                    </a:lnSpc>
                    <a:tabLst>
                      <a:tab algn="l" pos="0"/>
                    </a:tabLst>
                  </a:pPr>
                  <a:endParaRPr b="0" lang="de-DE" sz="1600" spc="-1" strike="noStrike">
                    <a:solidFill>
                      <a:srgbClr val="000000"/>
                    </a:solidFill>
                    <a:latin typeface="Arial"/>
                    <a:ea typeface="Arial"/>
                  </a:endParaRPr>
                </a:p>
              </p:txBody>
            </p:sp>
            <p:sp>
              <p:nvSpPr>
                <p:cNvPr id="454" name="Freeform 93"/>
                <p:cNvSpPr/>
                <p:nvPr/>
              </p:nvSpPr>
              <p:spPr>
                <a:xfrm>
                  <a:off x="8148960" y="4049280"/>
                  <a:ext cx="182880" cy="234360"/>
                </a:xfrm>
                <a:custGeom>
                  <a:avLst/>
                  <a:gdLst/>
                  <a:ahLst/>
                  <a:rect l="l" t="t" r="r" b="b"/>
                  <a:pathLst>
                    <a:path w="183774" h="235249">
                      <a:moveTo>
                        <a:pt x="163873" y="147031"/>
                      </a:moveTo>
                      <a:lnTo>
                        <a:pt x="177542" y="166076"/>
                      </a:lnTo>
                      <a:lnTo>
                        <a:pt x="161375" y="175296"/>
                      </a:lnTo>
                      <a:lnTo>
                        <a:pt x="155676" y="184932"/>
                      </a:lnTo>
                      <a:lnTo>
                        <a:pt x="147024" y="186625"/>
                      </a:lnTo>
                      <a:lnTo>
                        <a:pt x="143750" y="202903"/>
                      </a:lnTo>
                      <a:lnTo>
                        <a:pt x="136337" y="212227"/>
                      </a:lnTo>
                      <a:lnTo>
                        <a:pt x="131832" y="227610"/>
                      </a:lnTo>
                      <a:lnTo>
                        <a:pt x="122538" y="235248"/>
                      </a:lnTo>
                      <a:lnTo>
                        <a:pt x="89407" y="212133"/>
                      </a:lnTo>
                      <a:lnTo>
                        <a:pt x="87832" y="198728"/>
                      </a:lnTo>
                      <a:lnTo>
                        <a:pt x="4133" y="151683"/>
                      </a:lnTo>
                      <a:lnTo>
                        <a:pt x="234" y="149148"/>
                      </a:lnTo>
                      <a:lnTo>
                        <a:pt x="0" y="124684"/>
                      </a:lnTo>
                      <a:lnTo>
                        <a:pt x="6611" y="115331"/>
                      </a:lnTo>
                      <a:lnTo>
                        <a:pt x="17970" y="100050"/>
                      </a:lnTo>
                      <a:lnTo>
                        <a:pt x="26370" y="83222"/>
                      </a:lnTo>
                      <a:lnTo>
                        <a:pt x="16215" y="56709"/>
                      </a:lnTo>
                      <a:lnTo>
                        <a:pt x="13516" y="45112"/>
                      </a:lnTo>
                      <a:lnTo>
                        <a:pt x="2572" y="29062"/>
                      </a:lnTo>
                      <a:lnTo>
                        <a:pt x="16772" y="15249"/>
                      </a:lnTo>
                      <a:lnTo>
                        <a:pt x="32418" y="0"/>
                      </a:lnTo>
                      <a:lnTo>
                        <a:pt x="44408" y="3884"/>
                      </a:lnTo>
                      <a:lnTo>
                        <a:pt x="44408" y="16872"/>
                      </a:lnTo>
                      <a:lnTo>
                        <a:pt x="52294" y="24484"/>
                      </a:lnTo>
                      <a:lnTo>
                        <a:pt x="68360" y="24484"/>
                      </a:lnTo>
                      <a:lnTo>
                        <a:pt x="97578" y="44118"/>
                      </a:lnTo>
                      <a:lnTo>
                        <a:pt x="104874" y="44351"/>
                      </a:lnTo>
                      <a:lnTo>
                        <a:pt x="110279" y="43715"/>
                      </a:lnTo>
                      <a:lnTo>
                        <a:pt x="115389" y="46380"/>
                      </a:lnTo>
                      <a:lnTo>
                        <a:pt x="130782" y="48198"/>
                      </a:lnTo>
                      <a:lnTo>
                        <a:pt x="137604" y="38567"/>
                      </a:lnTo>
                      <a:lnTo>
                        <a:pt x="158691" y="28897"/>
                      </a:lnTo>
                      <a:lnTo>
                        <a:pt x="168001" y="36710"/>
                      </a:lnTo>
                      <a:lnTo>
                        <a:pt x="183773" y="36714"/>
                      </a:lnTo>
                      <a:lnTo>
                        <a:pt x="163598" y="62928"/>
                      </a:lnTo>
                      <a:close/>
                    </a:path>
                  </a:pathLst>
                </a:custGeom>
                <a:solidFill>
                  <a:schemeClr val="accent1">
                    <a:lumMod val="20000"/>
                    <a:lumOff val="80000"/>
                  </a:schemeClr>
                </a:solidFill>
                <a:ln cap="rnd" w="3175">
                  <a:solidFill>
                    <a:srgbClr val="009fdf">
                      <a:lumMod val="60000"/>
                      <a:lumOff val="40000"/>
                    </a:srgbClr>
                  </a:solidFill>
                </a:ln>
              </p:spPr>
              <p:style>
                <a:lnRef idx="2">
                  <a:schemeClr val="accent1">
                    <a:shade val="50000"/>
                  </a:schemeClr>
                </a:lnRef>
                <a:fillRef idx="1">
                  <a:schemeClr val="accent1"/>
                </a:fillRef>
                <a:effectRef idx="0">
                  <a:schemeClr val="accent1"/>
                </a:effectRef>
                <a:fontRef idx="minor"/>
              </p:style>
              <p:txBody>
                <a:bodyPr numCol="1" spcCol="0" horzOverflow="overflow" lIns="72000" rIns="72000" tIns="72000" bIns="72000" anchor="ctr">
                  <a:noAutofit/>
                </a:bodyPr>
                <a:p>
                  <a:pPr algn="ctr" defTabSz="457200">
                    <a:lnSpc>
                      <a:spcPct val="100000"/>
                    </a:lnSpc>
                    <a:tabLst>
                      <a:tab algn="l" pos="0"/>
                    </a:tabLst>
                  </a:pPr>
                  <a:endParaRPr b="0" lang="de-DE" sz="1600" spc="-1" strike="noStrike">
                    <a:solidFill>
                      <a:srgbClr val="000000"/>
                    </a:solidFill>
                    <a:latin typeface="Arial"/>
                    <a:ea typeface="Arial"/>
                  </a:endParaRPr>
                </a:p>
              </p:txBody>
            </p:sp>
            <p:sp>
              <p:nvSpPr>
                <p:cNvPr id="455" name="Freeform 94"/>
                <p:cNvSpPr/>
                <p:nvPr/>
              </p:nvSpPr>
              <p:spPr>
                <a:xfrm>
                  <a:off x="8968320" y="3111840"/>
                  <a:ext cx="248400" cy="110160"/>
                </a:xfrm>
                <a:custGeom>
                  <a:avLst/>
                  <a:gdLst/>
                  <a:ahLst/>
                  <a:rect l="l" t="t" r="r" b="b"/>
                  <a:pathLst>
                    <a:path w="249181" h="110678">
                      <a:moveTo>
                        <a:pt x="34565" y="28816"/>
                      </a:moveTo>
                      <a:lnTo>
                        <a:pt x="39734" y="16619"/>
                      </a:lnTo>
                      <a:lnTo>
                        <a:pt x="54931" y="12680"/>
                      </a:lnTo>
                      <a:lnTo>
                        <a:pt x="92905" y="22287"/>
                      </a:lnTo>
                      <a:lnTo>
                        <a:pt x="96495" y="5804"/>
                      </a:lnTo>
                      <a:lnTo>
                        <a:pt x="109596" y="0"/>
                      </a:lnTo>
                      <a:lnTo>
                        <a:pt x="142468" y="11772"/>
                      </a:lnTo>
                      <a:lnTo>
                        <a:pt x="150856" y="8693"/>
                      </a:lnTo>
                      <a:lnTo>
                        <a:pt x="189128" y="9458"/>
                      </a:lnTo>
                      <a:lnTo>
                        <a:pt x="223377" y="12381"/>
                      </a:lnTo>
                      <a:lnTo>
                        <a:pt x="234953" y="22404"/>
                      </a:lnTo>
                      <a:lnTo>
                        <a:pt x="249180" y="26486"/>
                      </a:lnTo>
                      <a:lnTo>
                        <a:pt x="245935" y="32764"/>
                      </a:lnTo>
                      <a:lnTo>
                        <a:pt x="209562" y="47756"/>
                      </a:lnTo>
                      <a:lnTo>
                        <a:pt x="201334" y="58694"/>
                      </a:lnTo>
                      <a:lnTo>
                        <a:pt x="171726" y="61961"/>
                      </a:lnTo>
                      <a:lnTo>
                        <a:pt x="162998" y="79456"/>
                      </a:lnTo>
                      <a:lnTo>
                        <a:pt x="138564" y="75790"/>
                      </a:lnTo>
                      <a:lnTo>
                        <a:pt x="122615" y="81137"/>
                      </a:lnTo>
                      <a:lnTo>
                        <a:pt x="100580" y="94011"/>
                      </a:lnTo>
                      <a:lnTo>
                        <a:pt x="103760" y="100366"/>
                      </a:lnTo>
                      <a:lnTo>
                        <a:pt x="97189" y="106569"/>
                      </a:lnTo>
                      <a:lnTo>
                        <a:pt x="53547" y="110677"/>
                      </a:lnTo>
                      <a:lnTo>
                        <a:pt x="25028" y="101881"/>
                      </a:lnTo>
                      <a:lnTo>
                        <a:pt x="0" y="103982"/>
                      </a:lnTo>
                      <a:lnTo>
                        <a:pt x="2186" y="88316"/>
                      </a:lnTo>
                      <a:lnTo>
                        <a:pt x="27310" y="92874"/>
                      </a:lnTo>
                      <a:lnTo>
                        <a:pt x="35762" y="84468"/>
                      </a:lnTo>
                      <a:lnTo>
                        <a:pt x="53320" y="87154"/>
                      </a:lnTo>
                      <a:lnTo>
                        <a:pt x="82879" y="67464"/>
                      </a:lnTo>
                      <a:lnTo>
                        <a:pt x="55519" y="52979"/>
                      </a:lnTo>
                      <a:lnTo>
                        <a:pt x="39078" y="59841"/>
                      </a:lnTo>
                      <a:lnTo>
                        <a:pt x="22047" y="49474"/>
                      </a:lnTo>
                      <a:lnTo>
                        <a:pt x="41418" y="31550"/>
                      </a:lnTo>
                      <a:close/>
                    </a:path>
                  </a:pathLst>
                </a:custGeom>
                <a:solidFill>
                  <a:schemeClr val="accent1">
                    <a:lumMod val="20000"/>
                    <a:lumOff val="80000"/>
                  </a:schemeClr>
                </a:solidFill>
                <a:ln cap="rnd" w="3175">
                  <a:solidFill>
                    <a:srgbClr val="009fdf">
                      <a:lumMod val="60000"/>
                      <a:lumOff val="40000"/>
                    </a:srgbClr>
                  </a:solidFill>
                </a:ln>
              </p:spPr>
              <p:style>
                <a:lnRef idx="2">
                  <a:schemeClr val="accent1">
                    <a:shade val="50000"/>
                  </a:schemeClr>
                </a:lnRef>
                <a:fillRef idx="1">
                  <a:schemeClr val="accent1"/>
                </a:fillRef>
                <a:effectRef idx="0">
                  <a:schemeClr val="accent1"/>
                </a:effectRef>
                <a:fontRef idx="minor"/>
              </p:style>
              <p:txBody>
                <a:bodyPr numCol="1" spcCol="0" horzOverflow="overflow" lIns="72000" rIns="72000" tIns="55080" bIns="55080" anchor="ctr">
                  <a:noAutofit/>
                </a:bodyPr>
                <a:p>
                  <a:pPr algn="ctr" defTabSz="457200">
                    <a:lnSpc>
                      <a:spcPct val="100000"/>
                    </a:lnSpc>
                    <a:tabLst>
                      <a:tab algn="l" pos="0"/>
                    </a:tabLst>
                  </a:pPr>
                  <a:endParaRPr b="0" lang="de-DE" sz="1600" spc="-1" strike="noStrike">
                    <a:solidFill>
                      <a:srgbClr val="000000"/>
                    </a:solidFill>
                    <a:latin typeface="Arial"/>
                    <a:ea typeface="Arial"/>
                  </a:endParaRPr>
                </a:p>
              </p:txBody>
            </p:sp>
            <p:sp>
              <p:nvSpPr>
                <p:cNvPr id="456" name="Freeform 95"/>
                <p:cNvSpPr/>
                <p:nvPr/>
              </p:nvSpPr>
              <p:spPr>
                <a:xfrm>
                  <a:off x="9726120" y="3838320"/>
                  <a:ext cx="120960" cy="95040"/>
                </a:xfrm>
                <a:custGeom>
                  <a:avLst/>
                  <a:gdLst/>
                  <a:ahLst/>
                  <a:rect l="l" t="t" r="r" b="b"/>
                  <a:pathLst>
                    <a:path w="121564" h="95746">
                      <a:moveTo>
                        <a:pt x="26525" y="92338"/>
                      </a:moveTo>
                      <a:lnTo>
                        <a:pt x="17141" y="80169"/>
                      </a:lnTo>
                      <a:lnTo>
                        <a:pt x="5466" y="56006"/>
                      </a:lnTo>
                      <a:lnTo>
                        <a:pt x="0" y="27679"/>
                      </a:lnTo>
                      <a:lnTo>
                        <a:pt x="14779" y="8124"/>
                      </a:lnTo>
                      <a:lnTo>
                        <a:pt x="44626" y="3625"/>
                      </a:lnTo>
                      <a:lnTo>
                        <a:pt x="66262" y="7006"/>
                      </a:lnTo>
                      <a:lnTo>
                        <a:pt x="85309" y="16235"/>
                      </a:lnTo>
                      <a:lnTo>
                        <a:pt x="95753" y="0"/>
                      </a:lnTo>
                      <a:lnTo>
                        <a:pt x="116212" y="8672"/>
                      </a:lnTo>
                      <a:lnTo>
                        <a:pt x="121563" y="24360"/>
                      </a:lnTo>
                      <a:lnTo>
                        <a:pt x="118720" y="52478"/>
                      </a:lnTo>
                      <a:lnTo>
                        <a:pt x="79921" y="70492"/>
                      </a:lnTo>
                      <a:lnTo>
                        <a:pt x="90059" y="84651"/>
                      </a:lnTo>
                      <a:lnTo>
                        <a:pt x="65827" y="86344"/>
                      </a:lnTo>
                      <a:lnTo>
                        <a:pt x="45847" y="95745"/>
                      </a:lnTo>
                      <a:close/>
                    </a:path>
                  </a:pathLst>
                </a:custGeom>
                <a:solidFill>
                  <a:schemeClr val="accent1"/>
                </a:solidFill>
                <a:ln cap="rnd" w="3175">
                  <a:solidFill>
                    <a:srgbClr val="009fdf">
                      <a:lumMod val="60000"/>
                      <a:lumOff val="40000"/>
                    </a:srgbClr>
                  </a:solidFill>
                </a:ln>
              </p:spPr>
              <p:style>
                <a:lnRef idx="2">
                  <a:schemeClr val="accent1">
                    <a:shade val="50000"/>
                  </a:schemeClr>
                </a:lnRef>
                <a:fillRef idx="1">
                  <a:schemeClr val="accent1"/>
                </a:fillRef>
                <a:effectRef idx="0">
                  <a:schemeClr val="accent1"/>
                </a:effectRef>
                <a:fontRef idx="minor"/>
              </p:style>
              <p:txBody>
                <a:bodyPr numCol="1" spcCol="0" horzOverflow="overflow" lIns="72000" rIns="72000" tIns="47520" bIns="47520" anchor="ctr">
                  <a:noAutofit/>
                </a:bodyPr>
                <a:p>
                  <a:pPr algn="ctr" defTabSz="457200">
                    <a:lnSpc>
                      <a:spcPct val="100000"/>
                    </a:lnSpc>
                    <a:tabLst>
                      <a:tab algn="l" pos="0"/>
                    </a:tabLst>
                  </a:pPr>
                  <a:endParaRPr b="0" lang="de-DE" sz="1600" spc="-1" strike="noStrike">
                    <a:solidFill>
                      <a:srgbClr val="000000"/>
                    </a:solidFill>
                    <a:latin typeface="Arial"/>
                    <a:ea typeface="Arial"/>
                  </a:endParaRPr>
                </a:p>
              </p:txBody>
            </p:sp>
            <p:sp>
              <p:nvSpPr>
                <p:cNvPr id="457" name="Freeform 96"/>
                <p:cNvSpPr/>
                <p:nvPr/>
              </p:nvSpPr>
              <p:spPr>
                <a:xfrm>
                  <a:off x="10273680" y="3240360"/>
                  <a:ext cx="76680" cy="111240"/>
                </a:xfrm>
                <a:custGeom>
                  <a:avLst/>
                  <a:gdLst/>
                  <a:ahLst/>
                  <a:rect l="l" t="t" r="r" b="b"/>
                  <a:pathLst>
                    <a:path w="77348" h="111676">
                      <a:moveTo>
                        <a:pt x="51527" y="0"/>
                      </a:moveTo>
                      <a:lnTo>
                        <a:pt x="71453" y="31582"/>
                      </a:lnTo>
                      <a:lnTo>
                        <a:pt x="77166" y="48805"/>
                      </a:lnTo>
                      <a:lnTo>
                        <a:pt x="77347" y="79200"/>
                      </a:lnTo>
                      <a:lnTo>
                        <a:pt x="68646" y="93608"/>
                      </a:lnTo>
                      <a:lnTo>
                        <a:pt x="47745" y="98630"/>
                      </a:lnTo>
                      <a:lnTo>
                        <a:pt x="29295" y="109446"/>
                      </a:lnTo>
                      <a:lnTo>
                        <a:pt x="8502" y="111675"/>
                      </a:lnTo>
                      <a:lnTo>
                        <a:pt x="5921" y="97475"/>
                      </a:lnTo>
                      <a:lnTo>
                        <a:pt x="10198" y="77823"/>
                      </a:lnTo>
                      <a:lnTo>
                        <a:pt x="0" y="50360"/>
                      </a:lnTo>
                      <a:lnTo>
                        <a:pt x="17144" y="45896"/>
                      </a:lnTo>
                      <a:lnTo>
                        <a:pt x="1323" y="23119"/>
                      </a:lnTo>
                      <a:lnTo>
                        <a:pt x="2768" y="20696"/>
                      </a:lnTo>
                      <a:lnTo>
                        <a:pt x="13072" y="21647"/>
                      </a:lnTo>
                      <a:lnTo>
                        <a:pt x="22064" y="9565"/>
                      </a:lnTo>
                      <a:lnTo>
                        <a:pt x="38378" y="8266"/>
                      </a:lnTo>
                      <a:lnTo>
                        <a:pt x="48204" y="6499"/>
                      </a:lnTo>
                      <a:close/>
                    </a:path>
                  </a:pathLst>
                </a:custGeom>
                <a:solidFill>
                  <a:schemeClr val="accent1"/>
                </a:solidFill>
                <a:ln cap="rnd" w="3175">
                  <a:solidFill>
                    <a:srgbClr val="009fdf">
                      <a:lumMod val="60000"/>
                      <a:lumOff val="40000"/>
                    </a:srgbClr>
                  </a:solidFill>
                </a:ln>
              </p:spPr>
              <p:style>
                <a:lnRef idx="2">
                  <a:schemeClr val="accent1">
                    <a:shade val="50000"/>
                  </a:schemeClr>
                </a:lnRef>
                <a:fillRef idx="1">
                  <a:schemeClr val="accent1"/>
                </a:fillRef>
                <a:effectRef idx="0">
                  <a:schemeClr val="accent1"/>
                </a:effectRef>
                <a:fontRef idx="minor"/>
              </p:style>
              <p:txBody>
                <a:bodyPr numCol="1" spcCol="0" horzOverflow="overflow" lIns="72000" rIns="72000" tIns="55440" bIns="55440" anchor="ctr">
                  <a:noAutofit/>
                </a:bodyPr>
                <a:p>
                  <a:pPr algn="ctr" defTabSz="457200">
                    <a:lnSpc>
                      <a:spcPct val="100000"/>
                    </a:lnSpc>
                    <a:tabLst>
                      <a:tab algn="l" pos="0"/>
                    </a:tabLst>
                  </a:pPr>
                  <a:endParaRPr b="0" lang="de-DE" sz="1600" spc="-1" strike="noStrike">
                    <a:solidFill>
                      <a:srgbClr val="000000"/>
                    </a:solidFill>
                    <a:latin typeface="Arial"/>
                    <a:ea typeface="Arial"/>
                  </a:endParaRPr>
                </a:p>
              </p:txBody>
            </p:sp>
            <p:sp>
              <p:nvSpPr>
                <p:cNvPr id="458" name="Freeform 97"/>
                <p:cNvSpPr/>
                <p:nvPr/>
              </p:nvSpPr>
              <p:spPr>
                <a:xfrm>
                  <a:off x="7830720" y="3112560"/>
                  <a:ext cx="38880" cy="39240"/>
                </a:xfrm>
                <a:custGeom>
                  <a:avLst/>
                  <a:gdLst/>
                  <a:ahLst/>
                  <a:rect l="l" t="t" r="r" b="b"/>
                  <a:pathLst>
                    <a:path w="39342" h="39699">
                      <a:moveTo>
                        <a:pt x="15960" y="34026"/>
                      </a:moveTo>
                      <a:lnTo>
                        <a:pt x="14925" y="39698"/>
                      </a:lnTo>
                      <a:lnTo>
                        <a:pt x="11992" y="39468"/>
                      </a:lnTo>
                      <a:lnTo>
                        <a:pt x="10439" y="29420"/>
                      </a:lnTo>
                      <a:lnTo>
                        <a:pt x="4917" y="26576"/>
                      </a:lnTo>
                      <a:lnTo>
                        <a:pt x="0" y="19106"/>
                      </a:lnTo>
                      <a:lnTo>
                        <a:pt x="4314" y="12854"/>
                      </a:lnTo>
                      <a:lnTo>
                        <a:pt x="9835" y="10845"/>
                      </a:lnTo>
                      <a:lnTo>
                        <a:pt x="13027" y="1552"/>
                      </a:lnTo>
                      <a:lnTo>
                        <a:pt x="17168" y="0"/>
                      </a:lnTo>
                      <a:lnTo>
                        <a:pt x="20447" y="3955"/>
                      </a:lnTo>
                      <a:lnTo>
                        <a:pt x="24761" y="5699"/>
                      </a:lnTo>
                      <a:lnTo>
                        <a:pt x="27780" y="10149"/>
                      </a:lnTo>
                      <a:lnTo>
                        <a:pt x="31576" y="11463"/>
                      </a:lnTo>
                      <a:lnTo>
                        <a:pt x="36062" y="16638"/>
                      </a:lnTo>
                      <a:lnTo>
                        <a:pt x="39341" y="16484"/>
                      </a:lnTo>
                      <a:lnTo>
                        <a:pt x="36753" y="23267"/>
                      </a:lnTo>
                      <a:lnTo>
                        <a:pt x="33992" y="26576"/>
                      </a:lnTo>
                      <a:lnTo>
                        <a:pt x="34761" y="28660"/>
                      </a:lnTo>
                      <a:lnTo>
                        <a:pt x="29592" y="29727"/>
                      </a:lnTo>
                      <a:close/>
                    </a:path>
                  </a:pathLst>
                </a:custGeom>
                <a:solidFill>
                  <a:schemeClr val="accent1"/>
                </a:solidFill>
                <a:ln cap="rnd" w="3175">
                  <a:solidFill>
                    <a:srgbClr val="009fdf">
                      <a:lumMod val="60000"/>
                      <a:lumOff val="40000"/>
                    </a:srgbClr>
                  </a:solidFill>
                </a:ln>
              </p:spPr>
              <p:style>
                <a:lnRef idx="2">
                  <a:schemeClr val="accent1">
                    <a:shade val="50000"/>
                  </a:schemeClr>
                </a:lnRef>
                <a:fillRef idx="1">
                  <a:schemeClr val="accent1"/>
                </a:fillRef>
                <a:effectRef idx="0">
                  <a:schemeClr val="accent1"/>
                </a:effectRef>
                <a:fontRef idx="minor"/>
              </p:style>
              <p:txBody>
                <a:bodyPr numCol="1" spcCol="0" horzOverflow="overflow" lIns="72000" rIns="72000" tIns="19440" bIns="19440" anchor="ctr">
                  <a:noAutofit/>
                </a:bodyPr>
                <a:p>
                  <a:pPr algn="ctr" defTabSz="457200">
                    <a:lnSpc>
                      <a:spcPct val="100000"/>
                    </a:lnSpc>
                    <a:tabLst>
                      <a:tab algn="l" pos="0"/>
                    </a:tabLst>
                  </a:pPr>
                  <a:endParaRPr b="0" lang="de-DE" sz="1600" spc="-1" strike="noStrike">
                    <a:solidFill>
                      <a:srgbClr val="000000"/>
                    </a:solidFill>
                    <a:latin typeface="Arial"/>
                    <a:ea typeface="Arial"/>
                  </a:endParaRPr>
                </a:p>
              </p:txBody>
            </p:sp>
            <p:sp>
              <p:nvSpPr>
                <p:cNvPr id="459" name="Freeform 98"/>
                <p:cNvSpPr/>
                <p:nvPr/>
              </p:nvSpPr>
              <p:spPr>
                <a:xfrm>
                  <a:off x="8440920" y="3462480"/>
                  <a:ext cx="42120" cy="38160"/>
                </a:xfrm>
                <a:custGeom>
                  <a:avLst/>
                  <a:gdLst/>
                  <a:ahLst/>
                  <a:rect l="l" t="t" r="r" b="b"/>
                  <a:pathLst>
                    <a:path w="42643" h="38569">
                      <a:moveTo>
                        <a:pt x="32450" y="2104"/>
                      </a:moveTo>
                      <a:lnTo>
                        <a:pt x="37266" y="13238"/>
                      </a:lnTo>
                      <a:lnTo>
                        <a:pt x="35206" y="18983"/>
                      </a:lnTo>
                      <a:lnTo>
                        <a:pt x="42642" y="37918"/>
                      </a:lnTo>
                      <a:lnTo>
                        <a:pt x="26317" y="38568"/>
                      </a:lnTo>
                      <a:lnTo>
                        <a:pt x="20569" y="26619"/>
                      </a:lnTo>
                      <a:lnTo>
                        <a:pt x="0" y="24195"/>
                      </a:lnTo>
                      <a:lnTo>
                        <a:pt x="16940" y="0"/>
                      </a:lnTo>
                      <a:close/>
                    </a:path>
                  </a:pathLst>
                </a:custGeom>
                <a:solidFill>
                  <a:schemeClr val="accent1"/>
                </a:solidFill>
                <a:ln cap="rnd" w="3175">
                  <a:solidFill>
                    <a:srgbClr val="009fdf">
                      <a:lumMod val="60000"/>
                      <a:lumOff val="40000"/>
                    </a:srgbClr>
                  </a:solidFill>
                </a:ln>
              </p:spPr>
              <p:style>
                <a:lnRef idx="2">
                  <a:schemeClr val="accent1">
                    <a:shade val="50000"/>
                  </a:schemeClr>
                </a:lnRef>
                <a:fillRef idx="1">
                  <a:schemeClr val="accent1"/>
                </a:fillRef>
                <a:effectRef idx="0">
                  <a:schemeClr val="accent1"/>
                </a:effectRef>
                <a:fontRef idx="minor"/>
              </p:style>
              <p:txBody>
                <a:bodyPr numCol="1" spcCol="0" horzOverflow="overflow" lIns="72000" rIns="72000" tIns="19080" bIns="19080" anchor="ctr">
                  <a:noAutofit/>
                </a:bodyPr>
                <a:p>
                  <a:pPr algn="ctr" defTabSz="457200">
                    <a:lnSpc>
                      <a:spcPct val="100000"/>
                    </a:lnSpc>
                    <a:tabLst>
                      <a:tab algn="l" pos="0"/>
                    </a:tabLst>
                  </a:pPr>
                  <a:endParaRPr b="0" lang="de-DE" sz="1600" spc="-1" strike="noStrike">
                    <a:solidFill>
                      <a:srgbClr val="000000"/>
                    </a:solidFill>
                    <a:latin typeface="Arial"/>
                    <a:ea typeface="Arial"/>
                  </a:endParaRPr>
                </a:p>
              </p:txBody>
            </p:sp>
            <p:sp>
              <p:nvSpPr>
                <p:cNvPr id="460" name="Freeform 99"/>
                <p:cNvSpPr/>
                <p:nvPr/>
              </p:nvSpPr>
              <p:spPr>
                <a:xfrm>
                  <a:off x="9674640" y="3650040"/>
                  <a:ext cx="171360" cy="204120"/>
                </a:xfrm>
                <a:custGeom>
                  <a:avLst/>
                  <a:gdLst/>
                  <a:ahLst/>
                  <a:rect l="l" t="t" r="r" b="b"/>
                  <a:pathLst>
                    <a:path w="171933" h="204828">
                      <a:moveTo>
                        <a:pt x="117785" y="195598"/>
                      </a:moveTo>
                      <a:lnTo>
                        <a:pt x="125300" y="184977"/>
                      </a:lnTo>
                      <a:lnTo>
                        <a:pt x="126332" y="164995"/>
                      </a:lnTo>
                      <a:lnTo>
                        <a:pt x="107642" y="144364"/>
                      </a:lnTo>
                      <a:lnTo>
                        <a:pt x="106202" y="120929"/>
                      </a:lnTo>
                      <a:lnTo>
                        <a:pt x="88648" y="101587"/>
                      </a:lnTo>
                      <a:lnTo>
                        <a:pt x="71191" y="99949"/>
                      </a:lnTo>
                      <a:lnTo>
                        <a:pt x="66540" y="108245"/>
                      </a:lnTo>
                      <a:lnTo>
                        <a:pt x="53020" y="108934"/>
                      </a:lnTo>
                      <a:lnTo>
                        <a:pt x="46110" y="104731"/>
                      </a:lnTo>
                      <a:lnTo>
                        <a:pt x="21780" y="118940"/>
                      </a:lnTo>
                      <a:lnTo>
                        <a:pt x="21234" y="97580"/>
                      </a:lnTo>
                      <a:lnTo>
                        <a:pt x="26914" y="72382"/>
                      </a:lnTo>
                      <a:lnTo>
                        <a:pt x="11317" y="71286"/>
                      </a:lnTo>
                      <a:lnTo>
                        <a:pt x="9992" y="56868"/>
                      </a:lnTo>
                      <a:lnTo>
                        <a:pt x="0" y="49449"/>
                      </a:lnTo>
                      <a:lnTo>
                        <a:pt x="4919" y="40584"/>
                      </a:lnTo>
                      <a:lnTo>
                        <a:pt x="24560" y="24893"/>
                      </a:lnTo>
                      <a:lnTo>
                        <a:pt x="26637" y="30565"/>
                      </a:lnTo>
                      <a:lnTo>
                        <a:pt x="38943" y="31223"/>
                      </a:lnTo>
                      <a:lnTo>
                        <a:pt x="35455" y="3555"/>
                      </a:lnTo>
                      <a:lnTo>
                        <a:pt x="47421" y="0"/>
                      </a:lnTo>
                      <a:lnTo>
                        <a:pt x="60912" y="19127"/>
                      </a:lnTo>
                      <a:lnTo>
                        <a:pt x="71276" y="41055"/>
                      </a:lnTo>
                      <a:lnTo>
                        <a:pt x="99693" y="41244"/>
                      </a:lnTo>
                      <a:lnTo>
                        <a:pt x="108640" y="62213"/>
                      </a:lnTo>
                      <a:lnTo>
                        <a:pt x="93886" y="68497"/>
                      </a:lnTo>
                      <a:lnTo>
                        <a:pt x="87264" y="77111"/>
                      </a:lnTo>
                      <a:lnTo>
                        <a:pt x="114919" y="91418"/>
                      </a:lnTo>
                      <a:lnTo>
                        <a:pt x="134105" y="119586"/>
                      </a:lnTo>
                      <a:lnTo>
                        <a:pt x="148652" y="140513"/>
                      </a:lnTo>
                      <a:lnTo>
                        <a:pt x="166119" y="156996"/>
                      </a:lnTo>
                      <a:lnTo>
                        <a:pt x="171932" y="173693"/>
                      </a:lnTo>
                      <a:lnTo>
                        <a:pt x="167735" y="197264"/>
                      </a:lnTo>
                      <a:lnTo>
                        <a:pt x="147276" y="188592"/>
                      </a:lnTo>
                      <a:lnTo>
                        <a:pt x="136832" y="204827"/>
                      </a:lnTo>
                      <a:close/>
                    </a:path>
                  </a:pathLst>
                </a:custGeom>
                <a:solidFill>
                  <a:schemeClr val="accent1">
                    <a:lumMod val="20000"/>
                    <a:lumOff val="80000"/>
                  </a:schemeClr>
                </a:solidFill>
                <a:ln cap="rnd" w="3175">
                  <a:solidFill>
                    <a:srgbClr val="009fdf">
                      <a:lumMod val="60000"/>
                      <a:lumOff val="40000"/>
                    </a:srgbClr>
                  </a:solidFill>
                </a:ln>
              </p:spPr>
              <p:style>
                <a:lnRef idx="2">
                  <a:schemeClr val="accent1">
                    <a:shade val="50000"/>
                  </a:schemeClr>
                </a:lnRef>
                <a:fillRef idx="1">
                  <a:schemeClr val="accent1"/>
                </a:fillRef>
                <a:effectRef idx="0">
                  <a:schemeClr val="accent1"/>
                </a:effectRef>
                <a:fontRef idx="minor"/>
              </p:style>
              <p:txBody>
                <a:bodyPr numCol="1" spcCol="0" horzOverflow="overflow" lIns="72000" rIns="72000" tIns="72000" bIns="72000" anchor="ctr">
                  <a:noAutofit/>
                </a:bodyPr>
                <a:p>
                  <a:pPr algn="ctr" defTabSz="457200">
                    <a:lnSpc>
                      <a:spcPct val="100000"/>
                    </a:lnSpc>
                    <a:tabLst>
                      <a:tab algn="l" pos="0"/>
                    </a:tabLst>
                  </a:pPr>
                  <a:endParaRPr b="0" lang="de-DE" sz="1600" spc="-1" strike="noStrike">
                    <a:solidFill>
                      <a:srgbClr val="000000"/>
                    </a:solidFill>
                    <a:latin typeface="Arial"/>
                    <a:ea typeface="Arial"/>
                  </a:endParaRPr>
                </a:p>
              </p:txBody>
            </p:sp>
            <p:sp>
              <p:nvSpPr>
                <p:cNvPr id="461" name="Freeform 100"/>
                <p:cNvSpPr/>
                <p:nvPr/>
              </p:nvSpPr>
              <p:spPr>
                <a:xfrm>
                  <a:off x="8177400" y="3345120"/>
                  <a:ext cx="33840" cy="39960"/>
                </a:xfrm>
                <a:custGeom>
                  <a:avLst/>
                  <a:gdLst/>
                  <a:ahLst/>
                  <a:rect l="l" t="t" r="r" b="b"/>
                  <a:pathLst>
                    <a:path w="34295" h="40343">
                      <a:moveTo>
                        <a:pt x="16043" y="35481"/>
                      </a:moveTo>
                      <a:lnTo>
                        <a:pt x="9850" y="35820"/>
                      </a:lnTo>
                      <a:lnTo>
                        <a:pt x="7724" y="40342"/>
                      </a:lnTo>
                      <a:lnTo>
                        <a:pt x="0" y="40293"/>
                      </a:lnTo>
                      <a:lnTo>
                        <a:pt x="8221" y="19229"/>
                      </a:lnTo>
                      <a:lnTo>
                        <a:pt x="19702" y="909"/>
                      </a:lnTo>
                      <a:lnTo>
                        <a:pt x="20136" y="0"/>
                      </a:lnTo>
                      <a:lnTo>
                        <a:pt x="30518" y="1329"/>
                      </a:lnTo>
                      <a:lnTo>
                        <a:pt x="34294" y="11535"/>
                      </a:lnTo>
                      <a:lnTo>
                        <a:pt x="21707" y="21317"/>
                      </a:lnTo>
                      <a:close/>
                    </a:path>
                  </a:pathLst>
                </a:custGeom>
                <a:solidFill>
                  <a:schemeClr val="accent1"/>
                </a:solidFill>
                <a:ln cap="rnd" w="3175">
                  <a:solidFill>
                    <a:srgbClr val="009fdf">
                      <a:lumMod val="60000"/>
                      <a:lumOff val="40000"/>
                    </a:srgbClr>
                  </a:solidFill>
                </a:ln>
              </p:spPr>
              <p:style>
                <a:lnRef idx="2">
                  <a:schemeClr val="accent1">
                    <a:shade val="50000"/>
                  </a:schemeClr>
                </a:lnRef>
                <a:fillRef idx="1">
                  <a:schemeClr val="accent1"/>
                </a:fillRef>
                <a:effectRef idx="0">
                  <a:schemeClr val="accent1"/>
                </a:effectRef>
                <a:fontRef idx="minor"/>
              </p:style>
              <p:txBody>
                <a:bodyPr numCol="1" spcCol="0" horzOverflow="overflow" lIns="72000" rIns="72000" tIns="19800" bIns="19800" anchor="ctr">
                  <a:noAutofit/>
                </a:bodyPr>
                <a:p>
                  <a:pPr algn="ctr" defTabSz="457200">
                    <a:lnSpc>
                      <a:spcPct val="100000"/>
                    </a:lnSpc>
                    <a:tabLst>
                      <a:tab algn="l" pos="0"/>
                    </a:tabLst>
                  </a:pPr>
                  <a:endParaRPr b="0" lang="de-DE" sz="1600" spc="-1" strike="noStrike">
                    <a:solidFill>
                      <a:srgbClr val="000000"/>
                    </a:solidFill>
                    <a:latin typeface="Arial"/>
                    <a:ea typeface="Arial"/>
                  </a:endParaRPr>
                </a:p>
              </p:txBody>
            </p:sp>
            <p:sp>
              <p:nvSpPr>
                <p:cNvPr id="462" name="Freeform 101"/>
                <p:cNvSpPr/>
                <p:nvPr/>
              </p:nvSpPr>
              <p:spPr>
                <a:xfrm>
                  <a:off x="7104600" y="3979080"/>
                  <a:ext cx="89640" cy="96480"/>
                </a:xfrm>
                <a:custGeom>
                  <a:avLst/>
                  <a:gdLst/>
                  <a:ahLst/>
                  <a:rect l="l" t="t" r="r" b="b"/>
                  <a:pathLst>
                    <a:path w="90001" h="97016">
                      <a:moveTo>
                        <a:pt x="86020" y="96811"/>
                      </a:moveTo>
                      <a:lnTo>
                        <a:pt x="79974" y="97015"/>
                      </a:lnTo>
                      <a:lnTo>
                        <a:pt x="56183" y="85990"/>
                      </a:lnTo>
                      <a:lnTo>
                        <a:pt x="35209" y="68374"/>
                      </a:lnTo>
                      <a:lnTo>
                        <a:pt x="15543" y="55701"/>
                      </a:lnTo>
                      <a:lnTo>
                        <a:pt x="0" y="40748"/>
                      </a:lnTo>
                      <a:lnTo>
                        <a:pt x="5516" y="33328"/>
                      </a:lnTo>
                      <a:lnTo>
                        <a:pt x="6742" y="26580"/>
                      </a:lnTo>
                      <a:lnTo>
                        <a:pt x="17155" y="13979"/>
                      </a:lnTo>
                      <a:lnTo>
                        <a:pt x="27900" y="3135"/>
                      </a:lnTo>
                      <a:lnTo>
                        <a:pt x="32828" y="2617"/>
                      </a:lnTo>
                      <a:lnTo>
                        <a:pt x="38858" y="0"/>
                      </a:lnTo>
                      <a:lnTo>
                        <a:pt x="48508" y="14233"/>
                      </a:lnTo>
                      <a:lnTo>
                        <a:pt x="46983" y="23558"/>
                      </a:lnTo>
                      <a:lnTo>
                        <a:pt x="51474" y="28500"/>
                      </a:lnTo>
                      <a:lnTo>
                        <a:pt x="58000" y="28614"/>
                      </a:lnTo>
                      <a:lnTo>
                        <a:pt x="62708" y="19268"/>
                      </a:lnTo>
                      <a:lnTo>
                        <a:pt x="69236" y="19864"/>
                      </a:lnTo>
                      <a:lnTo>
                        <a:pt x="68171" y="26614"/>
                      </a:lnTo>
                      <a:lnTo>
                        <a:pt x="70479" y="37828"/>
                      </a:lnTo>
                      <a:lnTo>
                        <a:pt x="65460" y="48127"/>
                      </a:lnTo>
                      <a:lnTo>
                        <a:pt x="72189" y="54489"/>
                      </a:lnTo>
                      <a:lnTo>
                        <a:pt x="79522" y="56038"/>
                      </a:lnTo>
                      <a:lnTo>
                        <a:pt x="89298" y="65739"/>
                      </a:lnTo>
                      <a:lnTo>
                        <a:pt x="90000" y="74861"/>
                      </a:lnTo>
                      <a:lnTo>
                        <a:pt x="87793" y="77758"/>
                      </a:lnTo>
                      <a:close/>
                    </a:path>
                  </a:pathLst>
                </a:custGeom>
                <a:solidFill>
                  <a:schemeClr val="accent1">
                    <a:lumMod val="20000"/>
                    <a:lumOff val="80000"/>
                  </a:schemeClr>
                </a:solidFill>
                <a:ln cap="rnd" w="3175">
                  <a:solidFill>
                    <a:srgbClr val="009fdf">
                      <a:lumMod val="60000"/>
                      <a:lumOff val="40000"/>
                    </a:srgbClr>
                  </a:solidFill>
                </a:ln>
              </p:spPr>
              <p:style>
                <a:lnRef idx="2">
                  <a:schemeClr val="accent1">
                    <a:shade val="50000"/>
                  </a:schemeClr>
                </a:lnRef>
                <a:fillRef idx="1">
                  <a:schemeClr val="accent1"/>
                </a:fillRef>
                <a:effectRef idx="0">
                  <a:schemeClr val="accent1"/>
                </a:effectRef>
                <a:fontRef idx="minor"/>
              </p:style>
              <p:txBody>
                <a:bodyPr numCol="1" spcCol="0" horzOverflow="overflow" lIns="72000" rIns="72000" tIns="48240" bIns="48240" anchor="ctr">
                  <a:noAutofit/>
                </a:bodyPr>
                <a:p>
                  <a:pPr algn="ctr" defTabSz="457200">
                    <a:lnSpc>
                      <a:spcPct val="100000"/>
                    </a:lnSpc>
                    <a:tabLst>
                      <a:tab algn="l" pos="0"/>
                    </a:tabLst>
                  </a:pPr>
                  <a:endParaRPr b="0" lang="de-DE" sz="1600" spc="-1" strike="noStrike">
                    <a:solidFill>
                      <a:srgbClr val="000000"/>
                    </a:solidFill>
                    <a:latin typeface="Arial"/>
                    <a:ea typeface="Arial"/>
                  </a:endParaRPr>
                </a:p>
              </p:txBody>
            </p:sp>
            <p:sp>
              <p:nvSpPr>
                <p:cNvPr id="463" name="Freeform 102"/>
                <p:cNvSpPr/>
                <p:nvPr/>
              </p:nvSpPr>
              <p:spPr>
                <a:xfrm>
                  <a:off x="7583040" y="3384360"/>
                  <a:ext cx="364680" cy="335160"/>
                </a:xfrm>
                <a:custGeom>
                  <a:avLst/>
                  <a:gdLst/>
                  <a:ahLst/>
                  <a:rect l="l" t="t" r="r" b="b"/>
                  <a:pathLst>
                    <a:path w="365756" h="336032">
                      <a:moveTo>
                        <a:pt x="127691" y="256802"/>
                      </a:moveTo>
                      <a:lnTo>
                        <a:pt x="111362" y="265830"/>
                      </a:lnTo>
                      <a:lnTo>
                        <a:pt x="98379" y="252484"/>
                      </a:lnTo>
                      <a:lnTo>
                        <a:pt x="61864" y="241982"/>
                      </a:lnTo>
                      <a:lnTo>
                        <a:pt x="51735" y="226692"/>
                      </a:lnTo>
                      <a:lnTo>
                        <a:pt x="33515" y="215317"/>
                      </a:lnTo>
                      <a:lnTo>
                        <a:pt x="22724" y="219805"/>
                      </a:lnTo>
                      <a:lnTo>
                        <a:pt x="14516" y="206131"/>
                      </a:lnTo>
                      <a:lnTo>
                        <a:pt x="13649" y="195597"/>
                      </a:lnTo>
                      <a:lnTo>
                        <a:pt x="0" y="177625"/>
                      </a:lnTo>
                      <a:lnTo>
                        <a:pt x="9161" y="167290"/>
                      </a:lnTo>
                      <a:lnTo>
                        <a:pt x="7148" y="151696"/>
                      </a:lnTo>
                      <a:lnTo>
                        <a:pt x="10081" y="138077"/>
                      </a:lnTo>
                      <a:lnTo>
                        <a:pt x="8413" y="126700"/>
                      </a:lnTo>
                      <a:lnTo>
                        <a:pt x="12479" y="106266"/>
                      </a:lnTo>
                      <a:lnTo>
                        <a:pt x="11224" y="94584"/>
                      </a:lnTo>
                      <a:lnTo>
                        <a:pt x="3757" y="72293"/>
                      </a:lnTo>
                      <a:lnTo>
                        <a:pt x="15018" y="66422"/>
                      </a:lnTo>
                      <a:lnTo>
                        <a:pt x="17016" y="55695"/>
                      </a:lnTo>
                      <a:lnTo>
                        <a:pt x="14561" y="45150"/>
                      </a:lnTo>
                      <a:lnTo>
                        <a:pt x="30412" y="35316"/>
                      </a:lnTo>
                      <a:lnTo>
                        <a:pt x="37519" y="27119"/>
                      </a:lnTo>
                      <a:lnTo>
                        <a:pt x="48771" y="19760"/>
                      </a:lnTo>
                      <a:lnTo>
                        <a:pt x="50075" y="0"/>
                      </a:lnTo>
                      <a:lnTo>
                        <a:pt x="77187" y="8868"/>
                      </a:lnTo>
                      <a:lnTo>
                        <a:pt x="86880" y="6653"/>
                      </a:lnTo>
                      <a:lnTo>
                        <a:pt x="106164" y="10947"/>
                      </a:lnTo>
                      <a:lnTo>
                        <a:pt x="136793" y="22423"/>
                      </a:lnTo>
                      <a:lnTo>
                        <a:pt x="147603" y="45146"/>
                      </a:lnTo>
                      <a:lnTo>
                        <a:pt x="168324" y="50090"/>
                      </a:lnTo>
                      <a:lnTo>
                        <a:pt x="200859" y="60732"/>
                      </a:lnTo>
                      <a:lnTo>
                        <a:pt x="225449" y="73335"/>
                      </a:lnTo>
                      <a:lnTo>
                        <a:pt x="236705" y="66764"/>
                      </a:lnTo>
                      <a:lnTo>
                        <a:pt x="247768" y="55087"/>
                      </a:lnTo>
                      <a:lnTo>
                        <a:pt x="242390" y="35562"/>
                      </a:lnTo>
                      <a:lnTo>
                        <a:pt x="249629" y="23112"/>
                      </a:lnTo>
                      <a:lnTo>
                        <a:pt x="266262" y="11080"/>
                      </a:lnTo>
                      <a:lnTo>
                        <a:pt x="282153" y="7571"/>
                      </a:lnTo>
                      <a:lnTo>
                        <a:pt x="313379" y="12834"/>
                      </a:lnTo>
                      <a:lnTo>
                        <a:pt x="321251" y="24310"/>
                      </a:lnTo>
                      <a:lnTo>
                        <a:pt x="329845" y="24418"/>
                      </a:lnTo>
                      <a:lnTo>
                        <a:pt x="337194" y="28787"/>
                      </a:lnTo>
                      <a:lnTo>
                        <a:pt x="360130" y="31789"/>
                      </a:lnTo>
                      <a:lnTo>
                        <a:pt x="365755" y="40226"/>
                      </a:lnTo>
                      <a:lnTo>
                        <a:pt x="357400" y="52454"/>
                      </a:lnTo>
                      <a:lnTo>
                        <a:pt x="360972" y="63320"/>
                      </a:lnTo>
                      <a:lnTo>
                        <a:pt x="355027" y="78955"/>
                      </a:lnTo>
                      <a:lnTo>
                        <a:pt x="361950" y="99264"/>
                      </a:lnTo>
                      <a:lnTo>
                        <a:pt x="361950" y="187788"/>
                      </a:lnTo>
                      <a:lnTo>
                        <a:pt x="361950" y="277740"/>
                      </a:lnTo>
                      <a:lnTo>
                        <a:pt x="361950" y="325892"/>
                      </a:lnTo>
                      <a:lnTo>
                        <a:pt x="335405" y="325965"/>
                      </a:lnTo>
                      <a:lnTo>
                        <a:pt x="335120" y="336031"/>
                      </a:lnTo>
                      <a:lnTo>
                        <a:pt x="243058" y="289953"/>
                      </a:lnTo>
                      <a:lnTo>
                        <a:pt x="150994" y="243493"/>
                      </a:lnTo>
                      <a:close/>
                    </a:path>
                  </a:pathLst>
                </a:custGeom>
                <a:solidFill>
                  <a:schemeClr val="accent1">
                    <a:lumMod val="20000"/>
                    <a:lumOff val="80000"/>
                  </a:schemeClr>
                </a:solidFill>
                <a:ln cap="rnd" w="3175">
                  <a:solidFill>
                    <a:srgbClr val="009fdf">
                      <a:lumMod val="60000"/>
                      <a:lumOff val="40000"/>
                    </a:srgbClr>
                  </a:solidFill>
                </a:ln>
              </p:spPr>
              <p:style>
                <a:lnRef idx="2">
                  <a:schemeClr val="accent1">
                    <a:shade val="50000"/>
                  </a:schemeClr>
                </a:lnRef>
                <a:fillRef idx="1">
                  <a:schemeClr val="accent1"/>
                </a:fillRef>
                <a:effectRef idx="0">
                  <a:schemeClr val="accent1"/>
                </a:effectRef>
                <a:fontRef idx="minor"/>
              </p:style>
              <p:txBody>
                <a:bodyPr numCol="1" spcCol="0" horzOverflow="overflow" lIns="72000" rIns="72000" tIns="72000" bIns="72000" anchor="ctr">
                  <a:noAutofit/>
                </a:bodyPr>
                <a:p>
                  <a:pPr algn="ctr" defTabSz="457200">
                    <a:lnSpc>
                      <a:spcPct val="100000"/>
                    </a:lnSpc>
                    <a:tabLst>
                      <a:tab algn="l" pos="0"/>
                    </a:tabLst>
                  </a:pPr>
                  <a:endParaRPr b="0" lang="de-DE" sz="1600" spc="-1" strike="noStrike">
                    <a:solidFill>
                      <a:srgbClr val="000000"/>
                    </a:solidFill>
                    <a:latin typeface="Arial"/>
                    <a:ea typeface="Arial"/>
                  </a:endParaRPr>
                </a:p>
              </p:txBody>
            </p:sp>
            <p:sp>
              <p:nvSpPr>
                <p:cNvPr id="464" name="Freeform 103"/>
                <p:cNvSpPr/>
                <p:nvPr/>
              </p:nvSpPr>
              <p:spPr>
                <a:xfrm>
                  <a:off x="9204120" y="3949200"/>
                  <a:ext cx="47880" cy="88920"/>
                </a:xfrm>
                <a:custGeom>
                  <a:avLst/>
                  <a:gdLst/>
                  <a:ahLst/>
                  <a:rect l="l" t="t" r="r" b="b"/>
                  <a:pathLst>
                    <a:path w="48308" h="89556">
                      <a:moveTo>
                        <a:pt x="48307" y="53508"/>
                      </a:moveTo>
                      <a:lnTo>
                        <a:pt x="44830" y="77659"/>
                      </a:lnTo>
                      <a:lnTo>
                        <a:pt x="35152" y="84255"/>
                      </a:lnTo>
                      <a:lnTo>
                        <a:pt x="15078" y="89555"/>
                      </a:lnTo>
                      <a:lnTo>
                        <a:pt x="4093" y="71129"/>
                      </a:lnTo>
                      <a:lnTo>
                        <a:pt x="0" y="37768"/>
                      </a:lnTo>
                      <a:lnTo>
                        <a:pt x="10448" y="0"/>
                      </a:lnTo>
                      <a:lnTo>
                        <a:pt x="26399" y="12941"/>
                      </a:lnTo>
                      <a:lnTo>
                        <a:pt x="37144" y="29323"/>
                      </a:lnTo>
                      <a:close/>
                    </a:path>
                  </a:pathLst>
                </a:custGeom>
                <a:solidFill>
                  <a:schemeClr val="accent1">
                    <a:lumMod val="20000"/>
                    <a:lumOff val="80000"/>
                  </a:schemeClr>
                </a:solidFill>
                <a:ln cap="rnd" w="3175">
                  <a:solidFill>
                    <a:srgbClr val="009fdf">
                      <a:lumMod val="60000"/>
                      <a:lumOff val="40000"/>
                    </a:srgbClr>
                  </a:solidFill>
                </a:ln>
              </p:spPr>
              <p:style>
                <a:lnRef idx="2">
                  <a:schemeClr val="accent1">
                    <a:shade val="50000"/>
                  </a:schemeClr>
                </a:lnRef>
                <a:fillRef idx="1">
                  <a:schemeClr val="accent1"/>
                </a:fillRef>
                <a:effectRef idx="0">
                  <a:schemeClr val="accent1"/>
                </a:effectRef>
                <a:fontRef idx="minor"/>
              </p:style>
              <p:txBody>
                <a:bodyPr numCol="1" spcCol="0" horzOverflow="overflow" lIns="72000" rIns="72000" tIns="44280" bIns="44280" anchor="ctr">
                  <a:noAutofit/>
                </a:bodyPr>
                <a:p>
                  <a:pPr algn="ctr" defTabSz="457200">
                    <a:lnSpc>
                      <a:spcPct val="100000"/>
                    </a:lnSpc>
                    <a:tabLst>
                      <a:tab algn="l" pos="0"/>
                    </a:tabLst>
                  </a:pPr>
                  <a:endParaRPr b="0" lang="de-DE" sz="1600" spc="-1" strike="noStrike">
                    <a:solidFill>
                      <a:srgbClr val="000000"/>
                    </a:solidFill>
                    <a:latin typeface="Arial"/>
                    <a:ea typeface="Arial"/>
                  </a:endParaRPr>
                </a:p>
              </p:txBody>
            </p:sp>
            <p:sp>
              <p:nvSpPr>
                <p:cNvPr id="465" name="Freeform 104"/>
                <p:cNvSpPr/>
                <p:nvPr/>
              </p:nvSpPr>
              <p:spPr>
                <a:xfrm>
                  <a:off x="7990200" y="4854600"/>
                  <a:ext cx="53280" cy="50040"/>
                </a:xfrm>
                <a:custGeom>
                  <a:avLst/>
                  <a:gdLst/>
                  <a:ahLst/>
                  <a:rect l="l" t="t" r="r" b="b"/>
                  <a:pathLst>
                    <a:path w="53689" h="50367">
                      <a:moveTo>
                        <a:pt x="45680" y="7728"/>
                      </a:moveTo>
                      <a:lnTo>
                        <a:pt x="53688" y="15311"/>
                      </a:lnTo>
                      <a:lnTo>
                        <a:pt x="46607" y="27563"/>
                      </a:lnTo>
                      <a:lnTo>
                        <a:pt x="42683" y="35803"/>
                      </a:lnTo>
                      <a:lnTo>
                        <a:pt x="29818" y="39752"/>
                      </a:lnTo>
                      <a:lnTo>
                        <a:pt x="25574" y="47845"/>
                      </a:lnTo>
                      <a:lnTo>
                        <a:pt x="17315" y="50366"/>
                      </a:lnTo>
                      <a:lnTo>
                        <a:pt x="0" y="30899"/>
                      </a:lnTo>
                      <a:lnTo>
                        <a:pt x="12309" y="14943"/>
                      </a:lnTo>
                      <a:lnTo>
                        <a:pt x="24815" y="5114"/>
                      </a:lnTo>
                      <a:lnTo>
                        <a:pt x="35603" y="0"/>
                      </a:lnTo>
                      <a:close/>
                    </a:path>
                  </a:pathLst>
                </a:custGeom>
                <a:solidFill>
                  <a:schemeClr val="accent1"/>
                </a:solidFill>
                <a:ln cap="rnd" w="3175">
                  <a:solidFill>
                    <a:srgbClr val="009fdf">
                      <a:lumMod val="60000"/>
                      <a:lumOff val="40000"/>
                    </a:srgbClr>
                  </a:solidFill>
                </a:ln>
              </p:spPr>
              <p:style>
                <a:lnRef idx="2">
                  <a:schemeClr val="accent1">
                    <a:shade val="50000"/>
                  </a:schemeClr>
                </a:lnRef>
                <a:fillRef idx="1">
                  <a:schemeClr val="accent1"/>
                </a:fillRef>
                <a:effectRef idx="0">
                  <a:schemeClr val="accent1"/>
                </a:effectRef>
                <a:fontRef idx="minor"/>
              </p:style>
              <p:txBody>
                <a:bodyPr numCol="1" spcCol="0" horzOverflow="overflow" lIns="72000" rIns="72000" tIns="24840" bIns="24840" anchor="ctr">
                  <a:noAutofit/>
                </a:bodyPr>
                <a:p>
                  <a:pPr algn="ctr" defTabSz="457200">
                    <a:lnSpc>
                      <a:spcPct val="100000"/>
                    </a:lnSpc>
                    <a:tabLst>
                      <a:tab algn="l" pos="0"/>
                    </a:tabLst>
                  </a:pPr>
                  <a:endParaRPr b="0" lang="de-DE" sz="1600" spc="-1" strike="noStrike">
                    <a:solidFill>
                      <a:srgbClr val="000000"/>
                    </a:solidFill>
                    <a:latin typeface="Arial"/>
                    <a:ea typeface="Arial"/>
                  </a:endParaRPr>
                </a:p>
              </p:txBody>
            </p:sp>
            <p:sp>
              <p:nvSpPr>
                <p:cNvPr id="466" name="Freeform 105"/>
                <p:cNvSpPr/>
                <p:nvPr/>
              </p:nvSpPr>
              <p:spPr>
                <a:xfrm>
                  <a:off x="7853400" y="2718360"/>
                  <a:ext cx="127080" cy="78840"/>
                </a:xfrm>
                <a:custGeom>
                  <a:avLst/>
                  <a:gdLst/>
                  <a:ahLst/>
                  <a:rect l="l" t="t" r="r" b="b"/>
                  <a:pathLst>
                    <a:path w="127705" h="79318">
                      <a:moveTo>
                        <a:pt x="38670" y="65939"/>
                      </a:moveTo>
                      <a:lnTo>
                        <a:pt x="36822" y="57810"/>
                      </a:lnTo>
                      <a:lnTo>
                        <a:pt x="39286" y="49055"/>
                      </a:lnTo>
                      <a:lnTo>
                        <a:pt x="29082" y="43967"/>
                      </a:lnTo>
                      <a:lnTo>
                        <a:pt x="4908" y="38337"/>
                      </a:lnTo>
                      <a:lnTo>
                        <a:pt x="0" y="11139"/>
                      </a:lnTo>
                      <a:lnTo>
                        <a:pt x="26438" y="1135"/>
                      </a:lnTo>
                      <a:lnTo>
                        <a:pt x="65150" y="3230"/>
                      </a:lnTo>
                      <a:lnTo>
                        <a:pt x="87827" y="0"/>
                      </a:lnTo>
                      <a:lnTo>
                        <a:pt x="91064" y="6791"/>
                      </a:lnTo>
                      <a:lnTo>
                        <a:pt x="103347" y="8885"/>
                      </a:lnTo>
                      <a:lnTo>
                        <a:pt x="125535" y="24637"/>
                      </a:lnTo>
                      <a:lnTo>
                        <a:pt x="127704" y="39087"/>
                      </a:lnTo>
                      <a:lnTo>
                        <a:pt x="108780" y="49363"/>
                      </a:lnTo>
                      <a:lnTo>
                        <a:pt x="103423" y="67374"/>
                      </a:lnTo>
                      <a:lnTo>
                        <a:pt x="78363" y="79317"/>
                      </a:lnTo>
                      <a:lnTo>
                        <a:pt x="56052" y="79102"/>
                      </a:lnTo>
                      <a:lnTo>
                        <a:pt x="50509" y="69339"/>
                      </a:lnTo>
                      <a:close/>
                    </a:path>
                  </a:pathLst>
                </a:custGeom>
                <a:solidFill>
                  <a:schemeClr val="accent1"/>
                </a:solidFill>
                <a:ln cap="rnd" w="3175">
                  <a:solidFill>
                    <a:srgbClr val="009fdf">
                      <a:lumMod val="60000"/>
                      <a:lumOff val="40000"/>
                    </a:srgbClr>
                  </a:solidFill>
                </a:ln>
              </p:spPr>
              <p:style>
                <a:lnRef idx="2">
                  <a:schemeClr val="accent1">
                    <a:shade val="50000"/>
                  </a:schemeClr>
                </a:lnRef>
                <a:fillRef idx="1">
                  <a:schemeClr val="accent1"/>
                </a:fillRef>
                <a:effectRef idx="0">
                  <a:schemeClr val="accent1"/>
                </a:effectRef>
                <a:fontRef idx="minor"/>
              </p:style>
              <p:txBody>
                <a:bodyPr numCol="1" spcCol="0" horzOverflow="overflow" lIns="72000" rIns="72000" tIns="39240" bIns="39240" anchor="ctr">
                  <a:noAutofit/>
                </a:bodyPr>
                <a:p>
                  <a:pPr algn="ctr" defTabSz="457200">
                    <a:lnSpc>
                      <a:spcPct val="100000"/>
                    </a:lnSpc>
                    <a:tabLst>
                      <a:tab algn="l" pos="0"/>
                    </a:tabLst>
                  </a:pPr>
                  <a:endParaRPr b="0" lang="de-DE" sz="1600" spc="-1" strike="noStrike">
                    <a:solidFill>
                      <a:srgbClr val="000000"/>
                    </a:solidFill>
                    <a:latin typeface="Arial"/>
                    <a:ea typeface="Arial"/>
                  </a:endParaRPr>
                </a:p>
              </p:txBody>
            </p:sp>
            <p:sp>
              <p:nvSpPr>
                <p:cNvPr id="467" name="Freeform 106"/>
                <p:cNvSpPr/>
                <p:nvPr/>
              </p:nvSpPr>
              <p:spPr>
                <a:xfrm>
                  <a:off x="7498800" y="2913840"/>
                  <a:ext cx="12600" cy="20160"/>
                </a:xfrm>
                <a:custGeom>
                  <a:avLst/>
                  <a:gdLst/>
                  <a:ahLst/>
                  <a:rect l="l" t="t" r="r" b="b"/>
                  <a:pathLst>
                    <a:path w="13128" h="20602">
                      <a:moveTo>
                        <a:pt x="8518" y="0"/>
                      </a:moveTo>
                      <a:lnTo>
                        <a:pt x="13127" y="6806"/>
                      </a:lnTo>
                      <a:lnTo>
                        <a:pt x="11824" y="19968"/>
                      </a:lnTo>
                      <a:lnTo>
                        <a:pt x="5163" y="20601"/>
                      </a:lnTo>
                      <a:lnTo>
                        <a:pt x="0" y="18001"/>
                      </a:lnTo>
                      <a:lnTo>
                        <a:pt x="2501" y="1138"/>
                      </a:lnTo>
                      <a:close/>
                    </a:path>
                  </a:pathLst>
                </a:custGeom>
                <a:solidFill>
                  <a:schemeClr val="accent1"/>
                </a:solidFill>
                <a:ln cap="rnd" w="3175">
                  <a:solidFill>
                    <a:srgbClr val="009fdf">
                      <a:lumMod val="60000"/>
                      <a:lumOff val="40000"/>
                    </a:srgbClr>
                  </a:solidFill>
                </a:ln>
              </p:spPr>
              <p:style>
                <a:lnRef idx="2">
                  <a:schemeClr val="accent1">
                    <a:shade val="50000"/>
                  </a:schemeClr>
                </a:lnRef>
                <a:fillRef idx="1">
                  <a:schemeClr val="accent1"/>
                </a:fillRef>
                <a:effectRef idx="0">
                  <a:schemeClr val="accent1"/>
                </a:effectRef>
                <a:fontRef idx="minor"/>
              </p:style>
              <p:txBody>
                <a:bodyPr numCol="1" spcCol="0" horzOverflow="overflow" lIns="72000" rIns="72000" tIns="10080" bIns="10080" anchor="ctr">
                  <a:noAutofit/>
                </a:bodyPr>
                <a:p>
                  <a:pPr algn="ctr" defTabSz="457200">
                    <a:lnSpc>
                      <a:spcPct val="100000"/>
                    </a:lnSpc>
                    <a:tabLst>
                      <a:tab algn="l" pos="0"/>
                    </a:tabLst>
                  </a:pPr>
                  <a:endParaRPr b="0" lang="de-DE" sz="1600" spc="-1" strike="noStrike">
                    <a:solidFill>
                      <a:srgbClr val="000000"/>
                    </a:solidFill>
                    <a:latin typeface="Arial"/>
                    <a:ea typeface="Arial"/>
                  </a:endParaRPr>
                </a:p>
              </p:txBody>
            </p:sp>
            <p:sp>
              <p:nvSpPr>
                <p:cNvPr id="468" name="Freeform 107"/>
                <p:cNvSpPr/>
                <p:nvPr/>
              </p:nvSpPr>
              <p:spPr>
                <a:xfrm>
                  <a:off x="7853400" y="2665440"/>
                  <a:ext cx="163800" cy="77040"/>
                </a:xfrm>
                <a:custGeom>
                  <a:avLst/>
                  <a:gdLst/>
                  <a:ahLst/>
                  <a:rect l="l" t="t" r="r" b="b"/>
                  <a:pathLst>
                    <a:path w="164370" h="77479">
                      <a:moveTo>
                        <a:pt x="0" y="63980"/>
                      </a:moveTo>
                      <a:lnTo>
                        <a:pt x="799" y="39351"/>
                      </a:lnTo>
                      <a:lnTo>
                        <a:pt x="12143" y="18603"/>
                      </a:lnTo>
                      <a:lnTo>
                        <a:pt x="33898" y="7242"/>
                      </a:lnTo>
                      <a:lnTo>
                        <a:pt x="52228" y="32026"/>
                      </a:lnTo>
                      <a:lnTo>
                        <a:pt x="70747" y="31384"/>
                      </a:lnTo>
                      <a:lnTo>
                        <a:pt x="75181" y="5906"/>
                      </a:lnTo>
                      <a:lnTo>
                        <a:pt x="94842" y="0"/>
                      </a:lnTo>
                      <a:lnTo>
                        <a:pt x="104957" y="4100"/>
                      </a:lnTo>
                      <a:lnTo>
                        <a:pt x="124825" y="16461"/>
                      </a:lnTo>
                      <a:lnTo>
                        <a:pt x="143860" y="16523"/>
                      </a:lnTo>
                      <a:lnTo>
                        <a:pt x="154982" y="24159"/>
                      </a:lnTo>
                      <a:lnTo>
                        <a:pt x="156950" y="40158"/>
                      </a:lnTo>
                      <a:lnTo>
                        <a:pt x="164369" y="59482"/>
                      </a:lnTo>
                      <a:lnTo>
                        <a:pt x="139573" y="72029"/>
                      </a:lnTo>
                      <a:lnTo>
                        <a:pt x="125535" y="77478"/>
                      </a:lnTo>
                      <a:lnTo>
                        <a:pt x="103347" y="61726"/>
                      </a:lnTo>
                      <a:lnTo>
                        <a:pt x="91064" y="59632"/>
                      </a:lnTo>
                      <a:lnTo>
                        <a:pt x="87827" y="52841"/>
                      </a:lnTo>
                      <a:lnTo>
                        <a:pt x="65150" y="56071"/>
                      </a:lnTo>
                      <a:lnTo>
                        <a:pt x="26438" y="53976"/>
                      </a:lnTo>
                      <a:close/>
                    </a:path>
                  </a:pathLst>
                </a:custGeom>
                <a:solidFill>
                  <a:schemeClr val="accent1"/>
                </a:solidFill>
                <a:ln cap="rnd" w="3175">
                  <a:solidFill>
                    <a:srgbClr val="009fdf">
                      <a:lumMod val="60000"/>
                      <a:lumOff val="40000"/>
                    </a:srgbClr>
                  </a:solidFill>
                </a:ln>
              </p:spPr>
              <p:style>
                <a:lnRef idx="2">
                  <a:schemeClr val="accent1">
                    <a:shade val="50000"/>
                  </a:schemeClr>
                </a:lnRef>
                <a:fillRef idx="1">
                  <a:schemeClr val="accent1"/>
                </a:fillRef>
                <a:effectRef idx="0">
                  <a:schemeClr val="accent1"/>
                </a:effectRef>
                <a:fontRef idx="minor"/>
              </p:style>
              <p:txBody>
                <a:bodyPr numCol="1" spcCol="0" horzOverflow="overflow" lIns="72000" rIns="72000" tIns="38520" bIns="38520" anchor="ctr">
                  <a:noAutofit/>
                </a:bodyPr>
                <a:p>
                  <a:pPr algn="ctr" defTabSz="457200">
                    <a:lnSpc>
                      <a:spcPct val="100000"/>
                    </a:lnSpc>
                    <a:tabLst>
                      <a:tab algn="l" pos="0"/>
                    </a:tabLst>
                  </a:pPr>
                  <a:endParaRPr b="0" lang="de-DE" sz="1600" spc="-1" strike="noStrike">
                    <a:solidFill>
                      <a:srgbClr val="000000"/>
                    </a:solidFill>
                    <a:latin typeface="Arial"/>
                    <a:ea typeface="Arial"/>
                  </a:endParaRPr>
                </a:p>
              </p:txBody>
            </p:sp>
            <p:sp>
              <p:nvSpPr>
                <p:cNvPr id="469" name="Freeform 108"/>
                <p:cNvSpPr/>
                <p:nvPr/>
              </p:nvSpPr>
              <p:spPr>
                <a:xfrm>
                  <a:off x="6976080" y="3315960"/>
                  <a:ext cx="365760" cy="358920"/>
                </a:xfrm>
                <a:custGeom>
                  <a:avLst/>
                  <a:gdLst/>
                  <a:ahLst/>
                  <a:rect l="l" t="t" r="r" b="b"/>
                  <a:pathLst>
                    <a:path w="366921" h="360052">
                      <a:moveTo>
                        <a:pt x="272989" y="127"/>
                      </a:moveTo>
                      <a:lnTo>
                        <a:pt x="286905" y="11269"/>
                      </a:lnTo>
                      <a:lnTo>
                        <a:pt x="308855" y="9456"/>
                      </a:lnTo>
                      <a:lnTo>
                        <a:pt x="332763" y="15240"/>
                      </a:lnTo>
                      <a:lnTo>
                        <a:pt x="342790" y="15520"/>
                      </a:lnTo>
                      <a:lnTo>
                        <a:pt x="351491" y="32245"/>
                      </a:lnTo>
                      <a:lnTo>
                        <a:pt x="352865" y="48055"/>
                      </a:lnTo>
                      <a:lnTo>
                        <a:pt x="360838" y="75336"/>
                      </a:lnTo>
                      <a:lnTo>
                        <a:pt x="366920" y="80802"/>
                      </a:lnTo>
                      <a:lnTo>
                        <a:pt x="362688" y="90780"/>
                      </a:lnTo>
                      <a:lnTo>
                        <a:pt x="332479" y="95100"/>
                      </a:lnTo>
                      <a:lnTo>
                        <a:pt x="322037" y="104560"/>
                      </a:lnTo>
                      <a:lnTo>
                        <a:pt x="308683" y="106787"/>
                      </a:lnTo>
                      <a:lnTo>
                        <a:pt x="307692" y="125645"/>
                      </a:lnTo>
                      <a:lnTo>
                        <a:pt x="280704" y="135689"/>
                      </a:lnTo>
                      <a:lnTo>
                        <a:pt x="271875" y="148361"/>
                      </a:lnTo>
                      <a:lnTo>
                        <a:pt x="252982" y="155146"/>
                      </a:lnTo>
                      <a:lnTo>
                        <a:pt x="229932" y="158991"/>
                      </a:lnTo>
                      <a:lnTo>
                        <a:pt x="192656" y="177546"/>
                      </a:lnTo>
                      <a:lnTo>
                        <a:pt x="192853" y="207171"/>
                      </a:lnTo>
                      <a:lnTo>
                        <a:pt x="189339" y="207171"/>
                      </a:lnTo>
                      <a:lnTo>
                        <a:pt x="189338" y="207171"/>
                      </a:lnTo>
                      <a:lnTo>
                        <a:pt x="189868" y="220500"/>
                      </a:lnTo>
                      <a:lnTo>
                        <a:pt x="175599" y="221301"/>
                      </a:lnTo>
                      <a:lnTo>
                        <a:pt x="168160" y="226948"/>
                      </a:lnTo>
                      <a:lnTo>
                        <a:pt x="157678" y="226948"/>
                      </a:lnTo>
                      <a:lnTo>
                        <a:pt x="149326" y="223726"/>
                      </a:lnTo>
                      <a:lnTo>
                        <a:pt x="129907" y="226391"/>
                      </a:lnTo>
                      <a:lnTo>
                        <a:pt x="122389" y="245685"/>
                      </a:lnTo>
                      <a:lnTo>
                        <a:pt x="115176" y="247494"/>
                      </a:lnTo>
                      <a:lnTo>
                        <a:pt x="104322" y="278527"/>
                      </a:lnTo>
                      <a:lnTo>
                        <a:pt x="72234" y="304933"/>
                      </a:lnTo>
                      <a:lnTo>
                        <a:pt x="64615" y="338525"/>
                      </a:lnTo>
                      <a:lnTo>
                        <a:pt x="55159" y="349407"/>
                      </a:lnTo>
                      <a:lnTo>
                        <a:pt x="52386" y="358121"/>
                      </a:lnTo>
                      <a:lnTo>
                        <a:pt x="403" y="360051"/>
                      </a:lnTo>
                      <a:lnTo>
                        <a:pt x="0" y="360012"/>
                      </a:lnTo>
                      <a:lnTo>
                        <a:pt x="1089" y="348807"/>
                      </a:lnTo>
                      <a:lnTo>
                        <a:pt x="9956" y="342208"/>
                      </a:lnTo>
                      <a:lnTo>
                        <a:pt x="17509" y="329565"/>
                      </a:lnTo>
                      <a:lnTo>
                        <a:pt x="16020" y="321338"/>
                      </a:lnTo>
                      <a:lnTo>
                        <a:pt x="23956" y="304143"/>
                      </a:lnTo>
                      <a:lnTo>
                        <a:pt x="36804" y="288600"/>
                      </a:lnTo>
                      <a:lnTo>
                        <a:pt x="44575" y="284654"/>
                      </a:lnTo>
                      <a:lnTo>
                        <a:pt x="50685" y="270340"/>
                      </a:lnTo>
                      <a:lnTo>
                        <a:pt x="51233" y="257229"/>
                      </a:lnTo>
                      <a:lnTo>
                        <a:pt x="59565" y="241970"/>
                      </a:lnTo>
                      <a:lnTo>
                        <a:pt x="74941" y="232949"/>
                      </a:lnTo>
                      <a:lnTo>
                        <a:pt x="89572" y="207577"/>
                      </a:lnTo>
                      <a:lnTo>
                        <a:pt x="89996" y="207228"/>
                      </a:lnTo>
                      <a:lnTo>
                        <a:pt x="101601" y="197648"/>
                      </a:lnTo>
                      <a:lnTo>
                        <a:pt x="123066" y="194889"/>
                      </a:lnTo>
                      <a:lnTo>
                        <a:pt x="141254" y="177776"/>
                      </a:lnTo>
                      <a:lnTo>
                        <a:pt x="152827" y="171086"/>
                      </a:lnTo>
                      <a:lnTo>
                        <a:pt x="172096" y="150051"/>
                      </a:lnTo>
                      <a:lnTo>
                        <a:pt x="166327" y="118504"/>
                      </a:lnTo>
                      <a:lnTo>
                        <a:pt x="175097" y="96540"/>
                      </a:lnTo>
                      <a:lnTo>
                        <a:pt x="178193" y="83034"/>
                      </a:lnTo>
                      <a:lnTo>
                        <a:pt x="193040" y="65637"/>
                      </a:lnTo>
                      <a:lnTo>
                        <a:pt x="216198" y="53826"/>
                      </a:lnTo>
                      <a:lnTo>
                        <a:pt x="233318" y="43104"/>
                      </a:lnTo>
                      <a:lnTo>
                        <a:pt x="248741" y="16110"/>
                      </a:lnTo>
                      <a:lnTo>
                        <a:pt x="255998" y="0"/>
                      </a:lnTo>
                      <a:close/>
                    </a:path>
                  </a:pathLst>
                </a:custGeom>
                <a:solidFill>
                  <a:schemeClr val="accent1">
                    <a:lumMod val="20000"/>
                    <a:lumOff val="80000"/>
                  </a:schemeClr>
                </a:solidFill>
                <a:ln cap="rnd" w="3175">
                  <a:solidFill>
                    <a:srgbClr val="009fdf">
                      <a:lumMod val="60000"/>
                      <a:lumOff val="40000"/>
                    </a:srgbClr>
                  </a:solidFill>
                </a:ln>
              </p:spPr>
              <p:style>
                <a:lnRef idx="2">
                  <a:schemeClr val="accent1">
                    <a:shade val="50000"/>
                  </a:schemeClr>
                </a:lnRef>
                <a:fillRef idx="1">
                  <a:schemeClr val="accent1"/>
                </a:fillRef>
                <a:effectRef idx="0">
                  <a:schemeClr val="accent1"/>
                </a:effectRef>
                <a:fontRef idx="minor"/>
              </p:style>
              <p:txBody>
                <a:bodyPr numCol="1" spcCol="0" horzOverflow="overflow" lIns="72000" rIns="72000" tIns="72000" bIns="72000" anchor="ctr">
                  <a:noAutofit/>
                </a:bodyPr>
                <a:p>
                  <a:pPr algn="ctr" defTabSz="457200">
                    <a:lnSpc>
                      <a:spcPct val="100000"/>
                    </a:lnSpc>
                    <a:tabLst>
                      <a:tab algn="l" pos="0"/>
                    </a:tabLst>
                  </a:pPr>
                  <a:endParaRPr b="0" lang="de-DE" sz="1600" spc="-1" strike="noStrike">
                    <a:solidFill>
                      <a:srgbClr val="000000"/>
                    </a:solidFill>
                    <a:latin typeface="Arial"/>
                    <a:ea typeface="Arial"/>
                  </a:endParaRPr>
                </a:p>
              </p:txBody>
            </p:sp>
            <p:sp>
              <p:nvSpPr>
                <p:cNvPr id="470" name="Freeform 109"/>
                <p:cNvSpPr/>
                <p:nvPr/>
              </p:nvSpPr>
              <p:spPr>
                <a:xfrm>
                  <a:off x="7981560" y="2963520"/>
                  <a:ext cx="78120" cy="86400"/>
                </a:xfrm>
                <a:custGeom>
                  <a:avLst/>
                  <a:gdLst/>
                  <a:ahLst/>
                  <a:rect l="l" t="t" r="r" b="b"/>
                  <a:pathLst>
                    <a:path w="78605" h="86780">
                      <a:moveTo>
                        <a:pt x="0" y="7285"/>
                      </a:moveTo>
                      <a:lnTo>
                        <a:pt x="5505" y="2927"/>
                      </a:lnTo>
                      <a:lnTo>
                        <a:pt x="20848" y="0"/>
                      </a:lnTo>
                      <a:lnTo>
                        <a:pt x="37860" y="9209"/>
                      </a:lnTo>
                      <a:lnTo>
                        <a:pt x="47355" y="10312"/>
                      </a:lnTo>
                      <a:lnTo>
                        <a:pt x="57784" y="18236"/>
                      </a:lnTo>
                      <a:lnTo>
                        <a:pt x="56126" y="28181"/>
                      </a:lnTo>
                      <a:lnTo>
                        <a:pt x="64534" y="32969"/>
                      </a:lnTo>
                      <a:lnTo>
                        <a:pt x="67871" y="45167"/>
                      </a:lnTo>
                      <a:lnTo>
                        <a:pt x="75931" y="52558"/>
                      </a:lnTo>
                      <a:lnTo>
                        <a:pt x="74300" y="56881"/>
                      </a:lnTo>
                      <a:lnTo>
                        <a:pt x="78604" y="59819"/>
                      </a:lnTo>
                      <a:lnTo>
                        <a:pt x="72494" y="61959"/>
                      </a:lnTo>
                      <a:lnTo>
                        <a:pt x="58891" y="61112"/>
                      </a:lnTo>
                      <a:lnTo>
                        <a:pt x="56616" y="57103"/>
                      </a:lnTo>
                      <a:lnTo>
                        <a:pt x="51789" y="59415"/>
                      </a:lnTo>
                      <a:lnTo>
                        <a:pt x="53422" y="64596"/>
                      </a:lnTo>
                      <a:lnTo>
                        <a:pt x="47104" y="73796"/>
                      </a:lnTo>
                      <a:lnTo>
                        <a:pt x="43071" y="83662"/>
                      </a:lnTo>
                      <a:lnTo>
                        <a:pt x="37260" y="86779"/>
                      </a:lnTo>
                      <a:lnTo>
                        <a:pt x="33126" y="73664"/>
                      </a:lnTo>
                      <a:lnTo>
                        <a:pt x="35563" y="61335"/>
                      </a:lnTo>
                      <a:lnTo>
                        <a:pt x="34825" y="48603"/>
                      </a:lnTo>
                      <a:lnTo>
                        <a:pt x="21509" y="31259"/>
                      </a:lnTo>
                      <a:lnTo>
                        <a:pt x="14185" y="18892"/>
                      </a:lnTo>
                      <a:lnTo>
                        <a:pt x="7036" y="10161"/>
                      </a:lnTo>
                      <a:close/>
                    </a:path>
                  </a:pathLst>
                </a:custGeom>
                <a:solidFill>
                  <a:schemeClr val="accent1"/>
                </a:solidFill>
                <a:ln cap="rnd" w="3175">
                  <a:solidFill>
                    <a:srgbClr val="009fdf">
                      <a:lumMod val="60000"/>
                      <a:lumOff val="40000"/>
                    </a:srgbClr>
                  </a:solidFill>
                </a:ln>
              </p:spPr>
              <p:style>
                <a:lnRef idx="2">
                  <a:schemeClr val="accent1">
                    <a:shade val="50000"/>
                  </a:schemeClr>
                </a:lnRef>
                <a:fillRef idx="1">
                  <a:schemeClr val="accent1"/>
                </a:fillRef>
                <a:effectRef idx="0">
                  <a:schemeClr val="accent1"/>
                </a:effectRef>
                <a:fontRef idx="minor"/>
              </p:style>
              <p:txBody>
                <a:bodyPr numCol="1" spcCol="0" horzOverflow="overflow" lIns="72000" rIns="72000" tIns="43200" bIns="43200" anchor="ctr">
                  <a:noAutofit/>
                </a:bodyPr>
                <a:p>
                  <a:pPr algn="ctr" defTabSz="457200">
                    <a:lnSpc>
                      <a:spcPct val="100000"/>
                    </a:lnSpc>
                    <a:tabLst>
                      <a:tab algn="l" pos="0"/>
                    </a:tabLst>
                  </a:pPr>
                  <a:endParaRPr b="0" lang="de-DE" sz="1600" spc="-1" strike="noStrike">
                    <a:solidFill>
                      <a:srgbClr val="000000"/>
                    </a:solidFill>
                    <a:latin typeface="Arial"/>
                    <a:ea typeface="Arial"/>
                  </a:endParaRPr>
                </a:p>
              </p:txBody>
            </p:sp>
            <p:sp>
              <p:nvSpPr>
                <p:cNvPr id="471" name="Freeform 110"/>
                <p:cNvSpPr/>
                <p:nvPr/>
              </p:nvSpPr>
              <p:spPr>
                <a:xfrm>
                  <a:off x="8364600" y="4455000"/>
                  <a:ext cx="165960" cy="323640"/>
                </a:xfrm>
                <a:custGeom>
                  <a:avLst/>
                  <a:gdLst/>
                  <a:ahLst/>
                  <a:rect l="l" t="t" r="r" b="b"/>
                  <a:pathLst>
                    <a:path w="166712" h="324707">
                      <a:moveTo>
                        <a:pt x="145174" y="10056"/>
                      </a:moveTo>
                      <a:lnTo>
                        <a:pt x="151302" y="20033"/>
                      </a:lnTo>
                      <a:lnTo>
                        <a:pt x="157016" y="35542"/>
                      </a:lnTo>
                      <a:lnTo>
                        <a:pt x="160730" y="63863"/>
                      </a:lnTo>
                      <a:lnTo>
                        <a:pt x="166711" y="74900"/>
                      </a:lnTo>
                      <a:lnTo>
                        <a:pt x="164416" y="86233"/>
                      </a:lnTo>
                      <a:lnTo>
                        <a:pt x="160334" y="93194"/>
                      </a:lnTo>
                      <a:lnTo>
                        <a:pt x="152494" y="79335"/>
                      </a:lnTo>
                      <a:lnTo>
                        <a:pt x="148154" y="86331"/>
                      </a:lnTo>
                      <a:lnTo>
                        <a:pt x="152557" y="103872"/>
                      </a:lnTo>
                      <a:lnTo>
                        <a:pt x="150507" y="113930"/>
                      </a:lnTo>
                      <a:lnTo>
                        <a:pt x="144138" y="119415"/>
                      </a:lnTo>
                      <a:lnTo>
                        <a:pt x="142684" y="139568"/>
                      </a:lnTo>
                      <a:lnTo>
                        <a:pt x="133593" y="167403"/>
                      </a:lnTo>
                      <a:lnTo>
                        <a:pt x="122208" y="200471"/>
                      </a:lnTo>
                      <a:lnTo>
                        <a:pt x="107947" y="246241"/>
                      </a:lnTo>
                      <a:lnTo>
                        <a:pt x="99106" y="280080"/>
                      </a:lnTo>
                      <a:lnTo>
                        <a:pt x="88674" y="308476"/>
                      </a:lnTo>
                      <a:lnTo>
                        <a:pt x="69901" y="314295"/>
                      </a:lnTo>
                      <a:lnTo>
                        <a:pt x="49750" y="324706"/>
                      </a:lnTo>
                      <a:lnTo>
                        <a:pt x="36456" y="318419"/>
                      </a:lnTo>
                      <a:lnTo>
                        <a:pt x="18132" y="309623"/>
                      </a:lnTo>
                      <a:lnTo>
                        <a:pt x="11762" y="296680"/>
                      </a:lnTo>
                      <a:lnTo>
                        <a:pt x="10239" y="275008"/>
                      </a:lnTo>
                      <a:lnTo>
                        <a:pt x="2111" y="255599"/>
                      </a:lnTo>
                      <a:lnTo>
                        <a:pt x="0" y="238143"/>
                      </a:lnTo>
                      <a:lnTo>
                        <a:pt x="4134" y="220707"/>
                      </a:lnTo>
                      <a:lnTo>
                        <a:pt x="14761" y="216528"/>
                      </a:lnTo>
                      <a:lnTo>
                        <a:pt x="14823" y="208502"/>
                      </a:lnTo>
                      <a:lnTo>
                        <a:pt x="25856" y="190265"/>
                      </a:lnTo>
                      <a:lnTo>
                        <a:pt x="27935" y="174986"/>
                      </a:lnTo>
                      <a:lnTo>
                        <a:pt x="22580" y="163652"/>
                      </a:lnTo>
                      <a:lnTo>
                        <a:pt x="18207" y="148588"/>
                      </a:lnTo>
                      <a:lnTo>
                        <a:pt x="16363" y="126639"/>
                      </a:lnTo>
                      <a:lnTo>
                        <a:pt x="24428" y="113347"/>
                      </a:lnTo>
                      <a:lnTo>
                        <a:pt x="27522" y="98307"/>
                      </a:lnTo>
                      <a:lnTo>
                        <a:pt x="39027" y="97434"/>
                      </a:lnTo>
                      <a:lnTo>
                        <a:pt x="51902" y="92581"/>
                      </a:lnTo>
                      <a:lnTo>
                        <a:pt x="60449" y="88300"/>
                      </a:lnTo>
                      <a:lnTo>
                        <a:pt x="70588" y="87982"/>
                      </a:lnTo>
                      <a:lnTo>
                        <a:pt x="83744" y="74514"/>
                      </a:lnTo>
                      <a:lnTo>
                        <a:pt x="102739" y="59985"/>
                      </a:lnTo>
                      <a:lnTo>
                        <a:pt x="109666" y="48136"/>
                      </a:lnTo>
                      <a:lnTo>
                        <a:pt x="106523" y="38083"/>
                      </a:lnTo>
                      <a:lnTo>
                        <a:pt x="116328" y="40910"/>
                      </a:lnTo>
                      <a:lnTo>
                        <a:pt x="129052" y="24583"/>
                      </a:lnTo>
                      <a:lnTo>
                        <a:pt x="129478" y="10479"/>
                      </a:lnTo>
                      <a:lnTo>
                        <a:pt x="137122" y="0"/>
                      </a:lnTo>
                      <a:close/>
                    </a:path>
                  </a:pathLst>
                </a:custGeom>
                <a:solidFill>
                  <a:schemeClr val="accent1">
                    <a:lumMod val="20000"/>
                    <a:lumOff val="80000"/>
                  </a:schemeClr>
                </a:solidFill>
                <a:ln cap="rnd" w="3175">
                  <a:solidFill>
                    <a:srgbClr val="009fdf">
                      <a:lumMod val="60000"/>
                      <a:lumOff val="40000"/>
                    </a:srgbClr>
                  </a:solidFill>
                </a:ln>
              </p:spPr>
              <p:style>
                <a:lnRef idx="2">
                  <a:schemeClr val="accent1">
                    <a:shade val="50000"/>
                  </a:schemeClr>
                </a:lnRef>
                <a:fillRef idx="1">
                  <a:schemeClr val="accent1"/>
                </a:fillRef>
                <a:effectRef idx="0">
                  <a:schemeClr val="accent1"/>
                </a:effectRef>
                <a:fontRef idx="minor"/>
              </p:style>
              <p:txBody>
                <a:bodyPr numCol="1" spcCol="0" horzOverflow="overflow" lIns="72000" rIns="72000" tIns="72000" bIns="72000" anchor="ctr">
                  <a:noAutofit/>
                </a:bodyPr>
                <a:p>
                  <a:pPr algn="ctr" defTabSz="457200">
                    <a:lnSpc>
                      <a:spcPct val="100000"/>
                    </a:lnSpc>
                    <a:tabLst>
                      <a:tab algn="l" pos="0"/>
                    </a:tabLst>
                  </a:pPr>
                  <a:endParaRPr b="0" lang="de-DE" sz="1600" spc="-1" strike="noStrike">
                    <a:solidFill>
                      <a:srgbClr val="000000"/>
                    </a:solidFill>
                    <a:latin typeface="Arial"/>
                    <a:ea typeface="Arial"/>
                  </a:endParaRPr>
                </a:p>
              </p:txBody>
            </p:sp>
            <p:sp>
              <p:nvSpPr>
                <p:cNvPr id="472" name="Freeform 111"/>
                <p:cNvSpPr/>
                <p:nvPr/>
              </p:nvSpPr>
              <p:spPr>
                <a:xfrm>
                  <a:off x="7839720" y="3139200"/>
                  <a:ext cx="56880" cy="40320"/>
                </a:xfrm>
                <a:custGeom>
                  <a:avLst/>
                  <a:gdLst/>
                  <a:ahLst/>
                  <a:rect l="l" t="t" r="r" b="b"/>
                  <a:pathLst>
                    <a:path w="57459" h="40792">
                      <a:moveTo>
                        <a:pt x="2933" y="12893"/>
                      </a:moveTo>
                      <a:lnTo>
                        <a:pt x="5866" y="13123"/>
                      </a:lnTo>
                      <a:lnTo>
                        <a:pt x="6901" y="7451"/>
                      </a:lnTo>
                      <a:lnTo>
                        <a:pt x="20533" y="3152"/>
                      </a:lnTo>
                      <a:lnTo>
                        <a:pt x="25702" y="2085"/>
                      </a:lnTo>
                      <a:lnTo>
                        <a:pt x="33560" y="462"/>
                      </a:lnTo>
                      <a:lnTo>
                        <a:pt x="44258" y="0"/>
                      </a:lnTo>
                      <a:lnTo>
                        <a:pt x="55819" y="8909"/>
                      </a:lnTo>
                      <a:lnTo>
                        <a:pt x="57458" y="27179"/>
                      </a:lnTo>
                      <a:lnTo>
                        <a:pt x="53058" y="28094"/>
                      </a:lnTo>
                      <a:lnTo>
                        <a:pt x="49262" y="32890"/>
                      </a:lnTo>
                      <a:lnTo>
                        <a:pt x="36753" y="32357"/>
                      </a:lnTo>
                      <a:lnTo>
                        <a:pt x="27953" y="38362"/>
                      </a:lnTo>
                      <a:lnTo>
                        <a:pt x="12854" y="40791"/>
                      </a:lnTo>
                      <a:lnTo>
                        <a:pt x="3278" y="34106"/>
                      </a:lnTo>
                      <a:lnTo>
                        <a:pt x="0" y="22297"/>
                      </a:lnTo>
                      <a:close/>
                    </a:path>
                  </a:pathLst>
                </a:custGeom>
                <a:solidFill>
                  <a:schemeClr val="accent1">
                    <a:lumMod val="20000"/>
                    <a:lumOff val="80000"/>
                  </a:schemeClr>
                </a:solidFill>
                <a:ln cap="rnd" w="3175">
                  <a:solidFill>
                    <a:srgbClr val="009fdf">
                      <a:lumMod val="60000"/>
                      <a:lumOff val="40000"/>
                    </a:srgbClr>
                  </a:solidFill>
                </a:ln>
              </p:spPr>
              <p:style>
                <a:lnRef idx="2">
                  <a:schemeClr val="accent1">
                    <a:shade val="50000"/>
                  </a:schemeClr>
                </a:lnRef>
                <a:fillRef idx="1">
                  <a:schemeClr val="accent1"/>
                </a:fillRef>
                <a:effectRef idx="0">
                  <a:schemeClr val="accent1"/>
                </a:effectRef>
                <a:fontRef idx="minor"/>
              </p:style>
              <p:txBody>
                <a:bodyPr numCol="1" spcCol="0" horzOverflow="overflow" lIns="72000" rIns="72000" tIns="20160" bIns="20160" anchor="ctr">
                  <a:noAutofit/>
                </a:bodyPr>
                <a:p>
                  <a:pPr algn="ctr" defTabSz="457200">
                    <a:lnSpc>
                      <a:spcPct val="100000"/>
                    </a:lnSpc>
                    <a:tabLst>
                      <a:tab algn="l" pos="0"/>
                    </a:tabLst>
                  </a:pPr>
                  <a:endParaRPr b="0" lang="de-DE" sz="1600" spc="-1" strike="noStrike">
                    <a:solidFill>
                      <a:srgbClr val="000000"/>
                    </a:solidFill>
                    <a:latin typeface="Arial"/>
                    <a:ea typeface="Arial"/>
                  </a:endParaRPr>
                </a:p>
              </p:txBody>
            </p:sp>
            <p:sp>
              <p:nvSpPr>
                <p:cNvPr id="473" name="Freeform 112"/>
                <p:cNvSpPr/>
                <p:nvPr/>
              </p:nvSpPr>
              <p:spPr>
                <a:xfrm>
                  <a:off x="7087680" y="3589200"/>
                  <a:ext cx="378360" cy="353520"/>
                </a:xfrm>
                <a:custGeom>
                  <a:avLst/>
                  <a:gdLst/>
                  <a:ahLst/>
                  <a:rect l="l" t="t" r="r" b="b"/>
                  <a:pathLst>
                    <a:path w="379502" h="354706">
                      <a:moveTo>
                        <a:pt x="0" y="248769"/>
                      </a:moveTo>
                      <a:lnTo>
                        <a:pt x="7768" y="244472"/>
                      </a:lnTo>
                      <a:lnTo>
                        <a:pt x="11649" y="230566"/>
                      </a:lnTo>
                      <a:lnTo>
                        <a:pt x="18966" y="230021"/>
                      </a:lnTo>
                      <a:lnTo>
                        <a:pt x="35085" y="236599"/>
                      </a:lnTo>
                      <a:lnTo>
                        <a:pt x="48102" y="231929"/>
                      </a:lnTo>
                      <a:lnTo>
                        <a:pt x="57026" y="233497"/>
                      </a:lnTo>
                      <a:lnTo>
                        <a:pt x="60488" y="228243"/>
                      </a:lnTo>
                      <a:lnTo>
                        <a:pt x="153108" y="227884"/>
                      </a:lnTo>
                      <a:lnTo>
                        <a:pt x="158243" y="211318"/>
                      </a:lnTo>
                      <a:lnTo>
                        <a:pt x="154244" y="208399"/>
                      </a:lnTo>
                      <a:lnTo>
                        <a:pt x="143104" y="105350"/>
                      </a:lnTo>
                      <a:lnTo>
                        <a:pt x="131963" y="442"/>
                      </a:lnTo>
                      <a:lnTo>
                        <a:pt x="167290" y="0"/>
                      </a:lnTo>
                      <a:lnTo>
                        <a:pt x="245154" y="53303"/>
                      </a:lnTo>
                      <a:lnTo>
                        <a:pt x="323019" y="106073"/>
                      </a:lnTo>
                      <a:lnTo>
                        <a:pt x="328507" y="117342"/>
                      </a:lnTo>
                      <a:lnTo>
                        <a:pt x="342878" y="124209"/>
                      </a:lnTo>
                      <a:lnTo>
                        <a:pt x="353567" y="128112"/>
                      </a:lnTo>
                      <a:lnTo>
                        <a:pt x="353832" y="143352"/>
                      </a:lnTo>
                      <a:lnTo>
                        <a:pt x="379437" y="141009"/>
                      </a:lnTo>
                      <a:lnTo>
                        <a:pt x="379501" y="195897"/>
                      </a:lnTo>
                      <a:lnTo>
                        <a:pt x="366880" y="211734"/>
                      </a:lnTo>
                      <a:lnTo>
                        <a:pt x="364914" y="226314"/>
                      </a:lnTo>
                      <a:lnTo>
                        <a:pt x="344411" y="230062"/>
                      </a:lnTo>
                      <a:lnTo>
                        <a:pt x="312915" y="232093"/>
                      </a:lnTo>
                      <a:lnTo>
                        <a:pt x="304381" y="240483"/>
                      </a:lnTo>
                      <a:lnTo>
                        <a:pt x="289587" y="241410"/>
                      </a:lnTo>
                      <a:lnTo>
                        <a:pt x="274787" y="241518"/>
                      </a:lnTo>
                      <a:lnTo>
                        <a:pt x="269026" y="236991"/>
                      </a:lnTo>
                      <a:lnTo>
                        <a:pt x="256319" y="240350"/>
                      </a:lnTo>
                      <a:lnTo>
                        <a:pt x="234744" y="250132"/>
                      </a:lnTo>
                      <a:lnTo>
                        <a:pt x="230340" y="257496"/>
                      </a:lnTo>
                      <a:lnTo>
                        <a:pt x="212431" y="268044"/>
                      </a:lnTo>
                      <a:lnTo>
                        <a:pt x="209292" y="274084"/>
                      </a:lnTo>
                      <a:lnTo>
                        <a:pt x="199618" y="278867"/>
                      </a:lnTo>
                      <a:lnTo>
                        <a:pt x="188455" y="275700"/>
                      </a:lnTo>
                      <a:lnTo>
                        <a:pt x="182130" y="281432"/>
                      </a:lnTo>
                      <a:lnTo>
                        <a:pt x="178742" y="297523"/>
                      </a:lnTo>
                      <a:lnTo>
                        <a:pt x="160420" y="316931"/>
                      </a:lnTo>
                      <a:lnTo>
                        <a:pt x="160953" y="324852"/>
                      </a:lnTo>
                      <a:lnTo>
                        <a:pt x="154658" y="334756"/>
                      </a:lnTo>
                      <a:lnTo>
                        <a:pt x="156187" y="348306"/>
                      </a:lnTo>
                      <a:lnTo>
                        <a:pt x="146663" y="351762"/>
                      </a:lnTo>
                      <a:lnTo>
                        <a:pt x="141273" y="354705"/>
                      </a:lnTo>
                      <a:lnTo>
                        <a:pt x="137700" y="344729"/>
                      </a:lnTo>
                      <a:lnTo>
                        <a:pt x="131035" y="347360"/>
                      </a:lnTo>
                      <a:lnTo>
                        <a:pt x="127054" y="346905"/>
                      </a:lnTo>
                      <a:lnTo>
                        <a:pt x="122806" y="353711"/>
                      </a:lnTo>
                      <a:lnTo>
                        <a:pt x="104980" y="353519"/>
                      </a:lnTo>
                      <a:lnTo>
                        <a:pt x="98590" y="350017"/>
                      </a:lnTo>
                      <a:lnTo>
                        <a:pt x="95581" y="352136"/>
                      </a:lnTo>
                      <a:lnTo>
                        <a:pt x="88531" y="345411"/>
                      </a:lnTo>
                      <a:lnTo>
                        <a:pt x="89755" y="338461"/>
                      </a:lnTo>
                      <a:lnTo>
                        <a:pt x="86870" y="335737"/>
                      </a:lnTo>
                      <a:lnTo>
                        <a:pt x="81953" y="338034"/>
                      </a:lnTo>
                      <a:lnTo>
                        <a:pt x="82854" y="330435"/>
                      </a:lnTo>
                      <a:lnTo>
                        <a:pt x="87586" y="324419"/>
                      </a:lnTo>
                      <a:lnTo>
                        <a:pt x="78127" y="314621"/>
                      </a:lnTo>
                      <a:lnTo>
                        <a:pt x="75376" y="308166"/>
                      </a:lnTo>
                      <a:lnTo>
                        <a:pt x="70247" y="303020"/>
                      </a:lnTo>
                      <a:lnTo>
                        <a:pt x="65627" y="302405"/>
                      </a:lnTo>
                      <a:lnTo>
                        <a:pt x="60080" y="305686"/>
                      </a:lnTo>
                      <a:lnTo>
                        <a:pt x="52623" y="308818"/>
                      </a:lnTo>
                      <a:lnTo>
                        <a:pt x="46293" y="313884"/>
                      </a:lnTo>
                      <a:lnTo>
                        <a:pt x="36414" y="312014"/>
                      </a:lnTo>
                      <a:lnTo>
                        <a:pt x="30005" y="306069"/>
                      </a:lnTo>
                      <a:lnTo>
                        <a:pt x="26180" y="305288"/>
                      </a:lnTo>
                      <a:lnTo>
                        <a:pt x="20155" y="308409"/>
                      </a:lnTo>
                      <a:lnTo>
                        <a:pt x="16495" y="308435"/>
                      </a:lnTo>
                      <a:lnTo>
                        <a:pt x="15161" y="299858"/>
                      </a:lnTo>
                      <a:lnTo>
                        <a:pt x="16224" y="292555"/>
                      </a:lnTo>
                      <a:lnTo>
                        <a:pt x="14250" y="283481"/>
                      </a:lnTo>
                      <a:lnTo>
                        <a:pt x="5610" y="276885"/>
                      </a:lnTo>
                      <a:lnTo>
                        <a:pt x="1059" y="263420"/>
                      </a:lnTo>
                      <a:close/>
                    </a:path>
                  </a:pathLst>
                </a:custGeom>
                <a:solidFill>
                  <a:schemeClr val="accent1">
                    <a:lumMod val="20000"/>
                    <a:lumOff val="80000"/>
                  </a:schemeClr>
                </a:solidFill>
                <a:ln cap="rnd" w="3175">
                  <a:solidFill>
                    <a:srgbClr val="009fdf">
                      <a:lumMod val="60000"/>
                      <a:lumOff val="40000"/>
                    </a:srgbClr>
                  </a:solidFill>
                </a:ln>
              </p:spPr>
              <p:style>
                <a:lnRef idx="2">
                  <a:schemeClr val="accent1">
                    <a:shade val="50000"/>
                  </a:schemeClr>
                </a:lnRef>
                <a:fillRef idx="1">
                  <a:schemeClr val="accent1"/>
                </a:fillRef>
                <a:effectRef idx="0">
                  <a:schemeClr val="accent1"/>
                </a:effectRef>
                <a:fontRef idx="minor"/>
              </p:style>
              <p:txBody>
                <a:bodyPr numCol="1" spcCol="0" horzOverflow="overflow" lIns="72000" rIns="72000" tIns="72000" bIns="72000" anchor="ctr">
                  <a:noAutofit/>
                </a:bodyPr>
                <a:p>
                  <a:pPr algn="ctr" defTabSz="457200">
                    <a:lnSpc>
                      <a:spcPct val="100000"/>
                    </a:lnSpc>
                    <a:tabLst>
                      <a:tab algn="l" pos="0"/>
                    </a:tabLst>
                  </a:pPr>
                  <a:endParaRPr b="0" lang="de-DE" sz="1600" spc="-1" strike="noStrike">
                    <a:solidFill>
                      <a:srgbClr val="000000"/>
                    </a:solidFill>
                    <a:latin typeface="Arial"/>
                    <a:ea typeface="Arial"/>
                  </a:endParaRPr>
                </a:p>
              </p:txBody>
            </p:sp>
            <p:sp>
              <p:nvSpPr>
                <p:cNvPr id="474" name="Freeform 113"/>
                <p:cNvSpPr/>
                <p:nvPr/>
              </p:nvSpPr>
              <p:spPr>
                <a:xfrm>
                  <a:off x="9494640" y="3506040"/>
                  <a:ext cx="204120" cy="440640"/>
                </a:xfrm>
                <a:custGeom>
                  <a:avLst/>
                  <a:gdLst/>
                  <a:ahLst/>
                  <a:rect l="l" t="t" r="r" b="b"/>
                  <a:pathLst>
                    <a:path w="204901" h="441817">
                      <a:moveTo>
                        <a:pt x="167120" y="199578"/>
                      </a:moveTo>
                      <a:lnTo>
                        <a:pt x="153649" y="209989"/>
                      </a:lnTo>
                      <a:lnTo>
                        <a:pt x="137353" y="211063"/>
                      </a:lnTo>
                      <a:lnTo>
                        <a:pt x="126829" y="236940"/>
                      </a:lnTo>
                      <a:lnTo>
                        <a:pt x="117091" y="241277"/>
                      </a:lnTo>
                      <a:lnTo>
                        <a:pt x="128245" y="262190"/>
                      </a:lnTo>
                      <a:lnTo>
                        <a:pt x="142894" y="279541"/>
                      </a:lnTo>
                      <a:lnTo>
                        <a:pt x="152348" y="295189"/>
                      </a:lnTo>
                      <a:lnTo>
                        <a:pt x="143901" y="315751"/>
                      </a:lnTo>
                      <a:lnTo>
                        <a:pt x="135931" y="320114"/>
                      </a:lnTo>
                      <a:lnTo>
                        <a:pt x="141441" y="331948"/>
                      </a:lnTo>
                      <a:lnTo>
                        <a:pt x="156836" y="350656"/>
                      </a:lnTo>
                      <a:lnTo>
                        <a:pt x="159473" y="363775"/>
                      </a:lnTo>
                      <a:lnTo>
                        <a:pt x="159111" y="374678"/>
                      </a:lnTo>
                      <a:lnTo>
                        <a:pt x="168136" y="396046"/>
                      </a:lnTo>
                      <a:lnTo>
                        <a:pt x="155460" y="417842"/>
                      </a:lnTo>
                      <a:lnTo>
                        <a:pt x="144274" y="441816"/>
                      </a:lnTo>
                      <a:lnTo>
                        <a:pt x="142050" y="424502"/>
                      </a:lnTo>
                      <a:lnTo>
                        <a:pt x="149145" y="406607"/>
                      </a:lnTo>
                      <a:lnTo>
                        <a:pt x="141384" y="392764"/>
                      </a:lnTo>
                      <a:lnTo>
                        <a:pt x="143259" y="367225"/>
                      </a:lnTo>
                      <a:lnTo>
                        <a:pt x="133888" y="355054"/>
                      </a:lnTo>
                      <a:lnTo>
                        <a:pt x="126366" y="326873"/>
                      </a:lnTo>
                      <a:lnTo>
                        <a:pt x="122196" y="297019"/>
                      </a:lnTo>
                      <a:lnTo>
                        <a:pt x="112212" y="277383"/>
                      </a:lnTo>
                      <a:lnTo>
                        <a:pt x="97006" y="289280"/>
                      </a:lnTo>
                      <a:lnTo>
                        <a:pt x="70774" y="306157"/>
                      </a:lnTo>
                      <a:lnTo>
                        <a:pt x="57826" y="304051"/>
                      </a:lnTo>
                      <a:lnTo>
                        <a:pt x="43524" y="298502"/>
                      </a:lnTo>
                      <a:lnTo>
                        <a:pt x="51480" y="269103"/>
                      </a:lnTo>
                      <a:lnTo>
                        <a:pt x="46664" y="246811"/>
                      </a:lnTo>
                      <a:lnTo>
                        <a:pt x="28571" y="219253"/>
                      </a:lnTo>
                      <a:lnTo>
                        <a:pt x="31393" y="210613"/>
                      </a:lnTo>
                      <a:lnTo>
                        <a:pt x="17891" y="207538"/>
                      </a:lnTo>
                      <a:lnTo>
                        <a:pt x="1508" y="187929"/>
                      </a:lnTo>
                      <a:lnTo>
                        <a:pt x="0" y="168522"/>
                      </a:lnTo>
                      <a:lnTo>
                        <a:pt x="8057" y="172180"/>
                      </a:lnTo>
                      <a:lnTo>
                        <a:pt x="8529" y="154836"/>
                      </a:lnTo>
                      <a:lnTo>
                        <a:pt x="19918" y="149088"/>
                      </a:lnTo>
                      <a:lnTo>
                        <a:pt x="17475" y="138781"/>
                      </a:lnTo>
                      <a:lnTo>
                        <a:pt x="22693" y="130502"/>
                      </a:lnTo>
                      <a:lnTo>
                        <a:pt x="23589" y="105260"/>
                      </a:lnTo>
                      <a:lnTo>
                        <a:pt x="41630" y="110827"/>
                      </a:lnTo>
                      <a:lnTo>
                        <a:pt x="51923" y="90648"/>
                      </a:lnTo>
                      <a:lnTo>
                        <a:pt x="53091" y="78684"/>
                      </a:lnTo>
                      <a:lnTo>
                        <a:pt x="65830" y="58018"/>
                      </a:lnTo>
                      <a:lnTo>
                        <a:pt x="65129" y="43866"/>
                      </a:lnTo>
                      <a:lnTo>
                        <a:pt x="95011" y="26718"/>
                      </a:lnTo>
                      <a:lnTo>
                        <a:pt x="111507" y="31211"/>
                      </a:lnTo>
                      <a:lnTo>
                        <a:pt x="109614" y="15903"/>
                      </a:lnTo>
                      <a:lnTo>
                        <a:pt x="117706" y="11328"/>
                      </a:lnTo>
                      <a:lnTo>
                        <a:pt x="115964" y="1860"/>
                      </a:lnTo>
                      <a:lnTo>
                        <a:pt x="129465" y="0"/>
                      </a:lnTo>
                      <a:lnTo>
                        <a:pt x="137180" y="14702"/>
                      </a:lnTo>
                      <a:lnTo>
                        <a:pt x="147256" y="20642"/>
                      </a:lnTo>
                      <a:lnTo>
                        <a:pt x="147934" y="39654"/>
                      </a:lnTo>
                      <a:lnTo>
                        <a:pt x="147004" y="60057"/>
                      </a:lnTo>
                      <a:lnTo>
                        <a:pt x="125140" y="80623"/>
                      </a:lnTo>
                      <a:lnTo>
                        <a:pt x="122373" y="109687"/>
                      </a:lnTo>
                      <a:lnTo>
                        <a:pt x="146738" y="105633"/>
                      </a:lnTo>
                      <a:lnTo>
                        <a:pt x="152242" y="128091"/>
                      </a:lnTo>
                      <a:lnTo>
                        <a:pt x="166859" y="132804"/>
                      </a:lnTo>
                      <a:lnTo>
                        <a:pt x="160140" y="152969"/>
                      </a:lnTo>
                      <a:lnTo>
                        <a:pt x="177281" y="162056"/>
                      </a:lnTo>
                      <a:lnTo>
                        <a:pt x="187277" y="166508"/>
                      </a:lnTo>
                      <a:lnTo>
                        <a:pt x="204208" y="159466"/>
                      </a:lnTo>
                      <a:lnTo>
                        <a:pt x="204900" y="169462"/>
                      </a:lnTo>
                      <a:lnTo>
                        <a:pt x="185259" y="185153"/>
                      </a:lnTo>
                      <a:lnTo>
                        <a:pt x="180340" y="194018"/>
                      </a:lnTo>
                      <a:close/>
                    </a:path>
                  </a:pathLst>
                </a:custGeom>
                <a:solidFill>
                  <a:schemeClr val="accent1">
                    <a:lumMod val="20000"/>
                    <a:lumOff val="80000"/>
                  </a:schemeClr>
                </a:solidFill>
                <a:ln cap="rnd" w="3175">
                  <a:solidFill>
                    <a:srgbClr val="009fdf">
                      <a:lumMod val="60000"/>
                      <a:lumOff val="40000"/>
                    </a:srgbClr>
                  </a:solidFill>
                </a:ln>
              </p:spPr>
              <p:style>
                <a:lnRef idx="2">
                  <a:schemeClr val="accent1">
                    <a:shade val="50000"/>
                  </a:schemeClr>
                </a:lnRef>
                <a:fillRef idx="1">
                  <a:schemeClr val="accent1"/>
                </a:fillRef>
                <a:effectRef idx="0">
                  <a:schemeClr val="accent1"/>
                </a:effectRef>
                <a:fontRef idx="minor"/>
              </p:style>
              <p:txBody>
                <a:bodyPr numCol="1" spcCol="0" horzOverflow="overflow" lIns="72000" rIns="72000" tIns="72000" bIns="72000" anchor="ctr">
                  <a:noAutofit/>
                </a:bodyPr>
                <a:p>
                  <a:pPr algn="ctr" defTabSz="457200">
                    <a:lnSpc>
                      <a:spcPct val="100000"/>
                    </a:lnSpc>
                    <a:tabLst>
                      <a:tab algn="l" pos="0"/>
                    </a:tabLst>
                  </a:pPr>
                  <a:endParaRPr b="0" lang="de-DE" sz="1600" spc="-1" strike="noStrike">
                    <a:solidFill>
                      <a:srgbClr val="000000"/>
                    </a:solidFill>
                    <a:latin typeface="Arial"/>
                    <a:ea typeface="Arial"/>
                  </a:endParaRPr>
                </a:p>
              </p:txBody>
            </p:sp>
            <p:sp>
              <p:nvSpPr>
                <p:cNvPr id="475" name="Freeform 114"/>
                <p:cNvSpPr/>
                <p:nvPr/>
              </p:nvSpPr>
              <p:spPr>
                <a:xfrm>
                  <a:off x="7793280" y="3105720"/>
                  <a:ext cx="43200" cy="45360"/>
                </a:xfrm>
                <a:custGeom>
                  <a:avLst/>
                  <a:gdLst/>
                  <a:ahLst/>
                  <a:rect l="l" t="t" r="r" b="b"/>
                  <a:pathLst>
                    <a:path w="43622" h="45928">
                      <a:moveTo>
                        <a:pt x="31199" y="28644"/>
                      </a:moveTo>
                      <a:lnTo>
                        <a:pt x="29732" y="23400"/>
                      </a:lnTo>
                      <a:lnTo>
                        <a:pt x="19724" y="37106"/>
                      </a:lnTo>
                      <a:lnTo>
                        <a:pt x="21277" y="45927"/>
                      </a:lnTo>
                      <a:lnTo>
                        <a:pt x="16445" y="43781"/>
                      </a:lnTo>
                      <a:lnTo>
                        <a:pt x="9975" y="34723"/>
                      </a:lnTo>
                      <a:lnTo>
                        <a:pt x="0" y="29203"/>
                      </a:lnTo>
                      <a:lnTo>
                        <a:pt x="2539" y="24467"/>
                      </a:lnTo>
                      <a:lnTo>
                        <a:pt x="5920" y="9088"/>
                      </a:lnTo>
                      <a:lnTo>
                        <a:pt x="13426" y="2567"/>
                      </a:lnTo>
                      <a:lnTo>
                        <a:pt x="17739" y="0"/>
                      </a:lnTo>
                      <a:lnTo>
                        <a:pt x="23865" y="4820"/>
                      </a:lnTo>
                      <a:lnTo>
                        <a:pt x="27237" y="8705"/>
                      </a:lnTo>
                      <a:lnTo>
                        <a:pt x="34822" y="11724"/>
                      </a:lnTo>
                      <a:lnTo>
                        <a:pt x="43621" y="17529"/>
                      </a:lnTo>
                      <a:lnTo>
                        <a:pt x="41724" y="19925"/>
                      </a:lnTo>
                      <a:lnTo>
                        <a:pt x="37410" y="26177"/>
                      </a:lnTo>
                      <a:close/>
                    </a:path>
                  </a:pathLst>
                </a:custGeom>
                <a:solidFill>
                  <a:schemeClr val="accent1">
                    <a:lumMod val="20000"/>
                    <a:lumOff val="80000"/>
                  </a:schemeClr>
                </a:solidFill>
                <a:ln cap="rnd" w="3175">
                  <a:solidFill>
                    <a:srgbClr val="009fdf">
                      <a:lumMod val="60000"/>
                      <a:lumOff val="40000"/>
                    </a:srgbClr>
                  </a:solidFill>
                </a:ln>
              </p:spPr>
              <p:style>
                <a:lnRef idx="2">
                  <a:schemeClr val="accent1">
                    <a:shade val="50000"/>
                  </a:schemeClr>
                </a:lnRef>
                <a:fillRef idx="1">
                  <a:schemeClr val="accent1"/>
                </a:fillRef>
                <a:effectRef idx="0">
                  <a:schemeClr val="accent1"/>
                </a:effectRef>
                <a:fontRef idx="minor"/>
              </p:style>
              <p:txBody>
                <a:bodyPr numCol="1" spcCol="0" horzOverflow="overflow" lIns="72000" rIns="72000" tIns="22680" bIns="22680" anchor="ctr">
                  <a:noAutofit/>
                </a:bodyPr>
                <a:p>
                  <a:pPr algn="ctr" defTabSz="457200">
                    <a:lnSpc>
                      <a:spcPct val="100000"/>
                    </a:lnSpc>
                    <a:tabLst>
                      <a:tab algn="l" pos="0"/>
                    </a:tabLst>
                  </a:pPr>
                  <a:endParaRPr b="0" lang="de-DE" sz="1600" spc="-1" strike="noStrike">
                    <a:solidFill>
                      <a:srgbClr val="000000"/>
                    </a:solidFill>
                    <a:latin typeface="Arial"/>
                    <a:ea typeface="Arial"/>
                  </a:endParaRPr>
                </a:p>
              </p:txBody>
            </p:sp>
            <p:sp>
              <p:nvSpPr>
                <p:cNvPr id="476" name="Freeform 115"/>
                <p:cNvSpPr/>
                <p:nvPr/>
              </p:nvSpPr>
              <p:spPr>
                <a:xfrm>
                  <a:off x="9389880" y="2855160"/>
                  <a:ext cx="737280" cy="303480"/>
                </a:xfrm>
                <a:custGeom>
                  <a:avLst/>
                  <a:gdLst/>
                  <a:ahLst/>
                  <a:rect l="l" t="t" r="r" b="b"/>
                  <a:pathLst>
                    <a:path w="739144" h="304460">
                      <a:moveTo>
                        <a:pt x="0" y="83543"/>
                      </a:moveTo>
                      <a:lnTo>
                        <a:pt x="24336" y="78358"/>
                      </a:lnTo>
                      <a:lnTo>
                        <a:pt x="68380" y="52435"/>
                      </a:lnTo>
                      <a:lnTo>
                        <a:pt x="103489" y="38166"/>
                      </a:lnTo>
                      <a:lnTo>
                        <a:pt x="123560" y="47485"/>
                      </a:lnTo>
                      <a:lnTo>
                        <a:pt x="147643" y="47932"/>
                      </a:lnTo>
                      <a:lnTo>
                        <a:pt x="163071" y="62048"/>
                      </a:lnTo>
                      <a:lnTo>
                        <a:pt x="186110" y="63132"/>
                      </a:lnTo>
                      <a:lnTo>
                        <a:pt x="219480" y="70694"/>
                      </a:lnTo>
                      <a:lnTo>
                        <a:pt x="241917" y="49693"/>
                      </a:lnTo>
                      <a:lnTo>
                        <a:pt x="232546" y="31806"/>
                      </a:lnTo>
                      <a:lnTo>
                        <a:pt x="256453" y="0"/>
                      </a:lnTo>
                      <a:lnTo>
                        <a:pt x="282311" y="12734"/>
                      </a:lnTo>
                      <a:lnTo>
                        <a:pt x="303264" y="16332"/>
                      </a:lnTo>
                      <a:lnTo>
                        <a:pt x="330404" y="24203"/>
                      </a:lnTo>
                      <a:lnTo>
                        <a:pt x="334805" y="47022"/>
                      </a:lnTo>
                      <a:lnTo>
                        <a:pt x="367598" y="59740"/>
                      </a:lnTo>
                      <a:lnTo>
                        <a:pt x="389411" y="54143"/>
                      </a:lnTo>
                      <a:lnTo>
                        <a:pt x="418612" y="50189"/>
                      </a:lnTo>
                      <a:lnTo>
                        <a:pt x="441745" y="54174"/>
                      </a:lnTo>
                      <a:lnTo>
                        <a:pt x="464352" y="68661"/>
                      </a:lnTo>
                      <a:lnTo>
                        <a:pt x="478362" y="83981"/>
                      </a:lnTo>
                      <a:lnTo>
                        <a:pt x="499767" y="83670"/>
                      </a:lnTo>
                      <a:lnTo>
                        <a:pt x="528841" y="88532"/>
                      </a:lnTo>
                      <a:lnTo>
                        <a:pt x="550059" y="81128"/>
                      </a:lnTo>
                      <a:lnTo>
                        <a:pt x="580448" y="76169"/>
                      </a:lnTo>
                      <a:lnTo>
                        <a:pt x="614257" y="54960"/>
                      </a:lnTo>
                      <a:lnTo>
                        <a:pt x="628099" y="58223"/>
                      </a:lnTo>
                      <a:lnTo>
                        <a:pt x="640184" y="68316"/>
                      </a:lnTo>
                      <a:lnTo>
                        <a:pt x="667724" y="65809"/>
                      </a:lnTo>
                      <a:lnTo>
                        <a:pt x="656483" y="88398"/>
                      </a:lnTo>
                      <a:lnTo>
                        <a:pt x="640175" y="118039"/>
                      </a:lnTo>
                      <a:lnTo>
                        <a:pt x="646120" y="130072"/>
                      </a:lnTo>
                      <a:lnTo>
                        <a:pt x="659188" y="126344"/>
                      </a:lnTo>
                      <a:lnTo>
                        <a:pt x="681960" y="130918"/>
                      </a:lnTo>
                      <a:lnTo>
                        <a:pt x="699702" y="120063"/>
                      </a:lnTo>
                      <a:lnTo>
                        <a:pt x="718224" y="129469"/>
                      </a:lnTo>
                      <a:lnTo>
                        <a:pt x="739143" y="149922"/>
                      </a:lnTo>
                      <a:lnTo>
                        <a:pt x="736614" y="160261"/>
                      </a:lnTo>
                      <a:lnTo>
                        <a:pt x="718403" y="156985"/>
                      </a:lnTo>
                      <a:lnTo>
                        <a:pt x="684872" y="160840"/>
                      </a:lnTo>
                      <a:lnTo>
                        <a:pt x="668626" y="169088"/>
                      </a:lnTo>
                      <a:lnTo>
                        <a:pt x="651712" y="188154"/>
                      </a:lnTo>
                      <a:lnTo>
                        <a:pt x="616517" y="199268"/>
                      </a:lnTo>
                      <a:lnTo>
                        <a:pt x="593516" y="214428"/>
                      </a:lnTo>
                      <a:lnTo>
                        <a:pt x="569791" y="208648"/>
                      </a:lnTo>
                      <a:lnTo>
                        <a:pt x="556801" y="206066"/>
                      </a:lnTo>
                      <a:lnTo>
                        <a:pt x="544684" y="224418"/>
                      </a:lnTo>
                      <a:lnTo>
                        <a:pt x="552055" y="235301"/>
                      </a:lnTo>
                      <a:lnTo>
                        <a:pt x="555792" y="244617"/>
                      </a:lnTo>
                      <a:lnTo>
                        <a:pt x="539636" y="254076"/>
                      </a:lnTo>
                      <a:lnTo>
                        <a:pt x="523072" y="269080"/>
                      </a:lnTo>
                      <a:lnTo>
                        <a:pt x="496100" y="278893"/>
                      </a:lnTo>
                      <a:lnTo>
                        <a:pt x="461503" y="279949"/>
                      </a:lnTo>
                      <a:lnTo>
                        <a:pt x="424214" y="289598"/>
                      </a:lnTo>
                      <a:lnTo>
                        <a:pt x="397339" y="304459"/>
                      </a:lnTo>
                      <a:lnTo>
                        <a:pt x="387120" y="295862"/>
                      </a:lnTo>
                      <a:lnTo>
                        <a:pt x="359189" y="295886"/>
                      </a:lnTo>
                      <a:lnTo>
                        <a:pt x="325045" y="279020"/>
                      </a:lnTo>
                      <a:lnTo>
                        <a:pt x="302258" y="274870"/>
                      </a:lnTo>
                      <a:lnTo>
                        <a:pt x="271557" y="278747"/>
                      </a:lnTo>
                      <a:lnTo>
                        <a:pt x="223913" y="272496"/>
                      </a:lnTo>
                      <a:lnTo>
                        <a:pt x="198467" y="273145"/>
                      </a:lnTo>
                      <a:lnTo>
                        <a:pt x="184919" y="256529"/>
                      </a:lnTo>
                      <a:lnTo>
                        <a:pt x="174403" y="230544"/>
                      </a:lnTo>
                      <a:lnTo>
                        <a:pt x="160139" y="227399"/>
                      </a:lnTo>
                      <a:lnTo>
                        <a:pt x="132251" y="209680"/>
                      </a:lnTo>
                      <a:lnTo>
                        <a:pt x="101162" y="205695"/>
                      </a:lnTo>
                      <a:lnTo>
                        <a:pt x="73732" y="200806"/>
                      </a:lnTo>
                      <a:lnTo>
                        <a:pt x="65427" y="188370"/>
                      </a:lnTo>
                      <a:lnTo>
                        <a:pt x="74315" y="154579"/>
                      </a:lnTo>
                      <a:lnTo>
                        <a:pt x="58388" y="131040"/>
                      </a:lnTo>
                      <a:lnTo>
                        <a:pt x="25461" y="119994"/>
                      </a:lnTo>
                      <a:lnTo>
                        <a:pt x="6060" y="104314"/>
                      </a:lnTo>
                      <a:close/>
                    </a:path>
                  </a:pathLst>
                </a:custGeom>
                <a:solidFill>
                  <a:schemeClr val="accent1"/>
                </a:solidFill>
                <a:ln cap="rnd" w="3175">
                  <a:solidFill>
                    <a:srgbClr val="009fdf">
                      <a:lumMod val="60000"/>
                      <a:lumOff val="40000"/>
                    </a:srgbClr>
                  </a:solidFill>
                </a:ln>
              </p:spPr>
              <p:style>
                <a:lnRef idx="2">
                  <a:schemeClr val="accent1">
                    <a:shade val="50000"/>
                  </a:schemeClr>
                </a:lnRef>
                <a:fillRef idx="1">
                  <a:schemeClr val="accent1"/>
                </a:fillRef>
                <a:effectRef idx="0">
                  <a:schemeClr val="accent1"/>
                </a:effectRef>
                <a:fontRef idx="minor"/>
              </p:style>
              <p:txBody>
                <a:bodyPr numCol="1" spcCol="0" horzOverflow="overflow" lIns="72000" rIns="72000" tIns="72000" bIns="72000" anchor="ctr">
                  <a:noAutofit/>
                </a:bodyPr>
                <a:p>
                  <a:pPr algn="ctr" defTabSz="457200">
                    <a:lnSpc>
                      <a:spcPct val="100000"/>
                    </a:lnSpc>
                    <a:tabLst>
                      <a:tab algn="l" pos="0"/>
                    </a:tabLst>
                  </a:pPr>
                  <a:endParaRPr b="0" lang="de-DE" sz="1600" spc="-1" strike="noStrike">
                    <a:solidFill>
                      <a:srgbClr val="000000"/>
                    </a:solidFill>
                    <a:latin typeface="Arial"/>
                    <a:ea typeface="Arial"/>
                  </a:endParaRPr>
                </a:p>
              </p:txBody>
            </p:sp>
            <p:sp>
              <p:nvSpPr>
                <p:cNvPr id="477" name="Freeform 116"/>
                <p:cNvSpPr/>
                <p:nvPr/>
              </p:nvSpPr>
              <p:spPr>
                <a:xfrm>
                  <a:off x="8063640" y="4415040"/>
                  <a:ext cx="243720" cy="392040"/>
                </a:xfrm>
                <a:custGeom>
                  <a:avLst/>
                  <a:gdLst/>
                  <a:ahLst/>
                  <a:rect l="l" t="t" r="r" b="b"/>
                  <a:pathLst>
                    <a:path w="244584" h="393173">
                      <a:moveTo>
                        <a:pt x="101114" y="28093"/>
                      </a:moveTo>
                      <a:lnTo>
                        <a:pt x="118481" y="26202"/>
                      </a:lnTo>
                      <a:lnTo>
                        <a:pt x="146219" y="32792"/>
                      </a:lnTo>
                      <a:lnTo>
                        <a:pt x="152245" y="29835"/>
                      </a:lnTo>
                      <a:lnTo>
                        <a:pt x="168314" y="29232"/>
                      </a:lnTo>
                      <a:lnTo>
                        <a:pt x="176540" y="22219"/>
                      </a:lnTo>
                      <a:lnTo>
                        <a:pt x="190387" y="22603"/>
                      </a:lnTo>
                      <a:lnTo>
                        <a:pt x="215627" y="13530"/>
                      </a:lnTo>
                      <a:lnTo>
                        <a:pt x="233991" y="0"/>
                      </a:lnTo>
                      <a:lnTo>
                        <a:pt x="237726" y="10462"/>
                      </a:lnTo>
                      <a:lnTo>
                        <a:pt x="236777" y="33746"/>
                      </a:lnTo>
                      <a:lnTo>
                        <a:pt x="239628" y="54298"/>
                      </a:lnTo>
                      <a:lnTo>
                        <a:pt x="240524" y="91015"/>
                      </a:lnTo>
                      <a:lnTo>
                        <a:pt x="244583" y="102555"/>
                      </a:lnTo>
                      <a:lnTo>
                        <a:pt x="237700" y="119419"/>
                      </a:lnTo>
                      <a:lnTo>
                        <a:pt x="228744" y="135845"/>
                      </a:lnTo>
                      <a:lnTo>
                        <a:pt x="214047" y="150543"/>
                      </a:lnTo>
                      <a:lnTo>
                        <a:pt x="192945" y="159568"/>
                      </a:lnTo>
                      <a:lnTo>
                        <a:pt x="166925" y="171108"/>
                      </a:lnTo>
                      <a:lnTo>
                        <a:pt x="140846" y="196698"/>
                      </a:lnTo>
                      <a:lnTo>
                        <a:pt x="131964" y="201061"/>
                      </a:lnTo>
                      <a:lnTo>
                        <a:pt x="115850" y="218070"/>
                      </a:lnTo>
                      <a:lnTo>
                        <a:pt x="106339" y="223615"/>
                      </a:lnTo>
                      <a:lnTo>
                        <a:pt x="104389" y="240746"/>
                      </a:lnTo>
                      <a:lnTo>
                        <a:pt x="115336" y="258997"/>
                      </a:lnTo>
                      <a:lnTo>
                        <a:pt x="119890" y="273171"/>
                      </a:lnTo>
                      <a:lnTo>
                        <a:pt x="120177" y="280416"/>
                      </a:lnTo>
                      <a:lnTo>
                        <a:pt x="124255" y="279204"/>
                      </a:lnTo>
                      <a:lnTo>
                        <a:pt x="123595" y="303017"/>
                      </a:lnTo>
                      <a:lnTo>
                        <a:pt x="119852" y="314335"/>
                      </a:lnTo>
                      <a:lnTo>
                        <a:pt x="125292" y="318512"/>
                      </a:lnTo>
                      <a:lnTo>
                        <a:pt x="121859" y="328677"/>
                      </a:lnTo>
                      <a:lnTo>
                        <a:pt x="112211" y="337385"/>
                      </a:lnTo>
                      <a:lnTo>
                        <a:pt x="93169" y="345672"/>
                      </a:lnTo>
                      <a:lnTo>
                        <a:pt x="65410" y="358973"/>
                      </a:lnTo>
                      <a:lnTo>
                        <a:pt x="55286" y="368081"/>
                      </a:lnTo>
                      <a:lnTo>
                        <a:pt x="57265" y="378479"/>
                      </a:lnTo>
                      <a:lnTo>
                        <a:pt x="63165" y="380142"/>
                      </a:lnTo>
                      <a:lnTo>
                        <a:pt x="61183" y="393172"/>
                      </a:lnTo>
                      <a:lnTo>
                        <a:pt x="43676" y="392964"/>
                      </a:lnTo>
                      <a:lnTo>
                        <a:pt x="41694" y="382019"/>
                      </a:lnTo>
                      <a:lnTo>
                        <a:pt x="38277" y="370942"/>
                      </a:lnTo>
                      <a:lnTo>
                        <a:pt x="36307" y="362092"/>
                      </a:lnTo>
                      <a:lnTo>
                        <a:pt x="40420" y="334716"/>
                      </a:lnTo>
                      <a:lnTo>
                        <a:pt x="34414" y="317350"/>
                      </a:lnTo>
                      <a:lnTo>
                        <a:pt x="23358" y="283118"/>
                      </a:lnTo>
                      <a:lnTo>
                        <a:pt x="47677" y="255670"/>
                      </a:lnTo>
                      <a:lnTo>
                        <a:pt x="53764" y="238299"/>
                      </a:lnTo>
                      <a:lnTo>
                        <a:pt x="57251" y="236110"/>
                      </a:lnTo>
                      <a:lnTo>
                        <a:pt x="59858" y="221973"/>
                      </a:lnTo>
                      <a:lnTo>
                        <a:pt x="56148" y="214873"/>
                      </a:lnTo>
                      <a:lnTo>
                        <a:pt x="57139" y="196995"/>
                      </a:lnTo>
                      <a:lnTo>
                        <a:pt x="61639" y="180459"/>
                      </a:lnTo>
                      <a:lnTo>
                        <a:pt x="61588" y="150366"/>
                      </a:lnTo>
                      <a:lnTo>
                        <a:pt x="49599" y="142746"/>
                      </a:lnTo>
                      <a:lnTo>
                        <a:pt x="38607" y="141024"/>
                      </a:lnTo>
                      <a:lnTo>
                        <a:pt x="33632" y="135164"/>
                      </a:lnTo>
                      <a:lnTo>
                        <a:pt x="22934" y="130168"/>
                      </a:lnTo>
                      <a:lnTo>
                        <a:pt x="3681" y="130639"/>
                      </a:lnTo>
                      <a:lnTo>
                        <a:pt x="2187" y="121817"/>
                      </a:lnTo>
                      <a:lnTo>
                        <a:pt x="0" y="105015"/>
                      </a:lnTo>
                      <a:lnTo>
                        <a:pt x="70045" y="85599"/>
                      </a:lnTo>
                      <a:lnTo>
                        <a:pt x="83333" y="96900"/>
                      </a:lnTo>
                      <a:lnTo>
                        <a:pt x="89684" y="94735"/>
                      </a:lnTo>
                      <a:lnTo>
                        <a:pt x="98797" y="100698"/>
                      </a:lnTo>
                      <a:lnTo>
                        <a:pt x="100136" y="110149"/>
                      </a:lnTo>
                      <a:lnTo>
                        <a:pt x="95281" y="121128"/>
                      </a:lnTo>
                      <a:lnTo>
                        <a:pt x="96989" y="137806"/>
                      </a:lnTo>
                      <a:lnTo>
                        <a:pt x="112050" y="152451"/>
                      </a:lnTo>
                      <a:lnTo>
                        <a:pt x="119097" y="136003"/>
                      </a:lnTo>
                      <a:lnTo>
                        <a:pt x="129088" y="131018"/>
                      </a:lnTo>
                      <a:lnTo>
                        <a:pt x="127124" y="100652"/>
                      </a:lnTo>
                      <a:lnTo>
                        <a:pt x="117455" y="83622"/>
                      </a:lnTo>
                      <a:lnTo>
                        <a:pt x="109127" y="76041"/>
                      </a:lnTo>
                      <a:lnTo>
                        <a:pt x="101114" y="76384"/>
                      </a:lnTo>
                      <a:lnTo>
                        <a:pt x="94651" y="45881"/>
                      </a:lnTo>
                      <a:close/>
                    </a:path>
                  </a:pathLst>
                </a:custGeom>
                <a:solidFill>
                  <a:schemeClr val="accent1">
                    <a:lumMod val="20000"/>
                    <a:lumOff val="80000"/>
                  </a:schemeClr>
                </a:solidFill>
                <a:ln cap="rnd" w="3175">
                  <a:solidFill>
                    <a:srgbClr val="009fdf">
                      <a:lumMod val="60000"/>
                      <a:lumOff val="40000"/>
                    </a:srgbClr>
                  </a:solidFill>
                </a:ln>
              </p:spPr>
              <p:style>
                <a:lnRef idx="2">
                  <a:schemeClr val="accent1">
                    <a:shade val="50000"/>
                  </a:schemeClr>
                </a:lnRef>
                <a:fillRef idx="1">
                  <a:schemeClr val="accent1"/>
                </a:fillRef>
                <a:effectRef idx="0">
                  <a:schemeClr val="accent1"/>
                </a:effectRef>
                <a:fontRef idx="minor"/>
              </p:style>
              <p:txBody>
                <a:bodyPr numCol="1" spcCol="0" horzOverflow="overflow" lIns="72000" rIns="72000" tIns="72000" bIns="72000" anchor="ctr">
                  <a:noAutofit/>
                </a:bodyPr>
                <a:p>
                  <a:pPr algn="ctr" defTabSz="457200">
                    <a:lnSpc>
                      <a:spcPct val="100000"/>
                    </a:lnSpc>
                    <a:tabLst>
                      <a:tab algn="l" pos="0"/>
                    </a:tabLst>
                  </a:pPr>
                  <a:endParaRPr b="0" lang="de-DE" sz="1600" spc="-1" strike="noStrike">
                    <a:solidFill>
                      <a:srgbClr val="000000"/>
                    </a:solidFill>
                    <a:latin typeface="Arial"/>
                    <a:ea typeface="Arial"/>
                  </a:endParaRPr>
                </a:p>
              </p:txBody>
            </p:sp>
            <p:sp>
              <p:nvSpPr>
                <p:cNvPr id="478" name="Freeform 117"/>
                <p:cNvSpPr/>
                <p:nvPr/>
              </p:nvSpPr>
              <p:spPr>
                <a:xfrm>
                  <a:off x="6975000" y="3529440"/>
                  <a:ext cx="279360" cy="307800"/>
                </a:xfrm>
                <a:custGeom>
                  <a:avLst/>
                  <a:gdLst/>
                  <a:ahLst/>
                  <a:rect l="l" t="t" r="r" b="b"/>
                  <a:pathLst>
                    <a:path w="280227" h="308616">
                      <a:moveTo>
                        <a:pt x="112936" y="308615"/>
                      </a:moveTo>
                      <a:lnTo>
                        <a:pt x="97704" y="292408"/>
                      </a:lnTo>
                      <a:lnTo>
                        <a:pt x="83737" y="275012"/>
                      </a:lnTo>
                      <a:lnTo>
                        <a:pt x="68415" y="268737"/>
                      </a:lnTo>
                      <a:lnTo>
                        <a:pt x="57385" y="261769"/>
                      </a:lnTo>
                      <a:lnTo>
                        <a:pt x="44496" y="262029"/>
                      </a:lnTo>
                      <a:lnTo>
                        <a:pt x="33233" y="267196"/>
                      </a:lnTo>
                      <a:lnTo>
                        <a:pt x="21761" y="265150"/>
                      </a:lnTo>
                      <a:lnTo>
                        <a:pt x="13857" y="272747"/>
                      </a:lnTo>
                      <a:lnTo>
                        <a:pt x="11858" y="259975"/>
                      </a:lnTo>
                      <a:lnTo>
                        <a:pt x="18302" y="248268"/>
                      </a:lnTo>
                      <a:lnTo>
                        <a:pt x="21169" y="225859"/>
                      </a:lnTo>
                      <a:lnTo>
                        <a:pt x="18617" y="202256"/>
                      </a:lnTo>
                      <a:lnTo>
                        <a:pt x="15829" y="190350"/>
                      </a:lnTo>
                      <a:lnTo>
                        <a:pt x="18134" y="178382"/>
                      </a:lnTo>
                      <a:lnTo>
                        <a:pt x="12167" y="166953"/>
                      </a:lnTo>
                      <a:lnTo>
                        <a:pt x="0" y="156548"/>
                      </a:lnTo>
                      <a:lnTo>
                        <a:pt x="5037" y="148500"/>
                      </a:lnTo>
                      <a:lnTo>
                        <a:pt x="95431" y="148651"/>
                      </a:lnTo>
                      <a:lnTo>
                        <a:pt x="91054" y="113671"/>
                      </a:lnTo>
                      <a:lnTo>
                        <a:pt x="96698" y="101174"/>
                      </a:lnTo>
                      <a:lnTo>
                        <a:pt x="118326" y="98987"/>
                      </a:lnTo>
                      <a:lnTo>
                        <a:pt x="117583" y="36239"/>
                      </a:lnTo>
                      <a:lnTo>
                        <a:pt x="193343" y="37530"/>
                      </a:lnTo>
                      <a:lnTo>
                        <a:pt x="193410" y="0"/>
                      </a:lnTo>
                      <a:lnTo>
                        <a:pt x="280226" y="59846"/>
                      </a:lnTo>
                      <a:lnTo>
                        <a:pt x="244899" y="60288"/>
                      </a:lnTo>
                      <a:lnTo>
                        <a:pt x="256040" y="165196"/>
                      </a:lnTo>
                      <a:lnTo>
                        <a:pt x="267180" y="268245"/>
                      </a:lnTo>
                      <a:lnTo>
                        <a:pt x="271179" y="271164"/>
                      </a:lnTo>
                      <a:lnTo>
                        <a:pt x="266044" y="287730"/>
                      </a:lnTo>
                      <a:lnTo>
                        <a:pt x="173424" y="288089"/>
                      </a:lnTo>
                      <a:lnTo>
                        <a:pt x="169962" y="293343"/>
                      </a:lnTo>
                      <a:lnTo>
                        <a:pt x="161038" y="291775"/>
                      </a:lnTo>
                      <a:lnTo>
                        <a:pt x="148021" y="296445"/>
                      </a:lnTo>
                      <a:lnTo>
                        <a:pt x="131902" y="289867"/>
                      </a:lnTo>
                      <a:lnTo>
                        <a:pt x="124585" y="290412"/>
                      </a:lnTo>
                      <a:lnTo>
                        <a:pt x="120704" y="304318"/>
                      </a:lnTo>
                      <a:close/>
                    </a:path>
                  </a:pathLst>
                </a:custGeom>
                <a:solidFill>
                  <a:schemeClr val="accent1">
                    <a:lumMod val="20000"/>
                    <a:lumOff val="80000"/>
                  </a:schemeClr>
                </a:solidFill>
                <a:ln cap="rnd" w="3175">
                  <a:solidFill>
                    <a:srgbClr val="009fdf">
                      <a:lumMod val="60000"/>
                      <a:lumOff val="40000"/>
                    </a:srgbClr>
                  </a:solidFill>
                </a:ln>
              </p:spPr>
              <p:style>
                <a:lnRef idx="2">
                  <a:schemeClr val="accent1">
                    <a:shade val="50000"/>
                  </a:schemeClr>
                </a:lnRef>
                <a:fillRef idx="1">
                  <a:schemeClr val="accent1"/>
                </a:fillRef>
                <a:effectRef idx="0">
                  <a:schemeClr val="accent1"/>
                </a:effectRef>
                <a:fontRef idx="minor"/>
              </p:style>
              <p:txBody>
                <a:bodyPr numCol="1" spcCol="0" horzOverflow="overflow" lIns="72000" rIns="72000" tIns="72000" bIns="72000" anchor="ctr">
                  <a:noAutofit/>
                </a:bodyPr>
                <a:p>
                  <a:pPr algn="ctr" defTabSz="457200">
                    <a:lnSpc>
                      <a:spcPct val="100000"/>
                    </a:lnSpc>
                    <a:tabLst>
                      <a:tab algn="l" pos="0"/>
                    </a:tabLst>
                  </a:pPr>
                  <a:endParaRPr b="0" lang="de-DE" sz="1600" spc="-1" strike="noStrike">
                    <a:solidFill>
                      <a:srgbClr val="000000"/>
                    </a:solidFill>
                    <a:latin typeface="Arial"/>
                    <a:ea typeface="Arial"/>
                  </a:endParaRPr>
                </a:p>
              </p:txBody>
            </p:sp>
            <p:sp>
              <p:nvSpPr>
                <p:cNvPr id="479" name="Freeform 118"/>
                <p:cNvSpPr/>
                <p:nvPr/>
              </p:nvSpPr>
              <p:spPr>
                <a:xfrm>
                  <a:off x="8121240" y="4389480"/>
                  <a:ext cx="70560" cy="177120"/>
                </a:xfrm>
                <a:custGeom>
                  <a:avLst/>
                  <a:gdLst/>
                  <a:ahLst/>
                  <a:rect l="l" t="t" r="r" b="b"/>
                  <a:pathLst>
                    <a:path w="71182" h="177767">
                      <a:moveTo>
                        <a:pt x="43207" y="53408"/>
                      </a:moveTo>
                      <a:lnTo>
                        <a:pt x="36744" y="71196"/>
                      </a:lnTo>
                      <a:lnTo>
                        <a:pt x="43207" y="101699"/>
                      </a:lnTo>
                      <a:lnTo>
                        <a:pt x="51220" y="101356"/>
                      </a:lnTo>
                      <a:lnTo>
                        <a:pt x="59548" y="108937"/>
                      </a:lnTo>
                      <a:lnTo>
                        <a:pt x="69217" y="125967"/>
                      </a:lnTo>
                      <a:lnTo>
                        <a:pt x="71181" y="156333"/>
                      </a:lnTo>
                      <a:lnTo>
                        <a:pt x="61190" y="161318"/>
                      </a:lnTo>
                      <a:lnTo>
                        <a:pt x="54143" y="177766"/>
                      </a:lnTo>
                      <a:lnTo>
                        <a:pt x="39082" y="163121"/>
                      </a:lnTo>
                      <a:lnTo>
                        <a:pt x="37374" y="146443"/>
                      </a:lnTo>
                      <a:lnTo>
                        <a:pt x="42229" y="135464"/>
                      </a:lnTo>
                      <a:lnTo>
                        <a:pt x="40890" y="126013"/>
                      </a:lnTo>
                      <a:lnTo>
                        <a:pt x="31777" y="120050"/>
                      </a:lnTo>
                      <a:lnTo>
                        <a:pt x="25426" y="122215"/>
                      </a:lnTo>
                      <a:lnTo>
                        <a:pt x="12138" y="110914"/>
                      </a:lnTo>
                      <a:lnTo>
                        <a:pt x="0" y="104822"/>
                      </a:lnTo>
                      <a:lnTo>
                        <a:pt x="7008" y="83006"/>
                      </a:lnTo>
                      <a:lnTo>
                        <a:pt x="14271" y="74845"/>
                      </a:lnTo>
                      <a:lnTo>
                        <a:pt x="9836" y="55447"/>
                      </a:lnTo>
                      <a:lnTo>
                        <a:pt x="14476" y="36503"/>
                      </a:lnTo>
                      <a:lnTo>
                        <a:pt x="18409" y="30178"/>
                      </a:lnTo>
                      <a:lnTo>
                        <a:pt x="12539" y="10388"/>
                      </a:lnTo>
                      <a:lnTo>
                        <a:pt x="1644" y="0"/>
                      </a:lnTo>
                      <a:lnTo>
                        <a:pt x="24273" y="4343"/>
                      </a:lnTo>
                      <a:lnTo>
                        <a:pt x="28915" y="10783"/>
                      </a:lnTo>
                      <a:lnTo>
                        <a:pt x="36744" y="21651"/>
                      </a:lnTo>
                      <a:close/>
                    </a:path>
                  </a:pathLst>
                </a:custGeom>
                <a:solidFill>
                  <a:schemeClr val="accent1">
                    <a:lumMod val="20000"/>
                    <a:lumOff val="80000"/>
                  </a:schemeClr>
                </a:solidFill>
                <a:ln cap="rnd" w="3175">
                  <a:solidFill>
                    <a:srgbClr val="009fdf">
                      <a:lumMod val="60000"/>
                      <a:lumOff val="40000"/>
                    </a:srgbClr>
                  </a:solidFill>
                </a:ln>
              </p:spPr>
              <p:style>
                <a:lnRef idx="2">
                  <a:schemeClr val="accent1">
                    <a:shade val="50000"/>
                  </a:schemeClr>
                </a:lnRef>
                <a:fillRef idx="1">
                  <a:schemeClr val="accent1"/>
                </a:fillRef>
                <a:effectRef idx="0">
                  <a:schemeClr val="accent1"/>
                </a:effectRef>
                <a:fontRef idx="minor"/>
              </p:style>
              <p:txBody>
                <a:bodyPr numCol="1" spcCol="0" horzOverflow="overflow" lIns="72000" rIns="72000" tIns="72000" bIns="72000" anchor="ctr">
                  <a:noAutofit/>
                </a:bodyPr>
                <a:p>
                  <a:pPr algn="ctr" defTabSz="457200">
                    <a:lnSpc>
                      <a:spcPct val="100000"/>
                    </a:lnSpc>
                    <a:tabLst>
                      <a:tab algn="l" pos="0"/>
                    </a:tabLst>
                  </a:pPr>
                  <a:endParaRPr b="0" lang="de-DE" sz="1600" spc="-1" strike="noStrike">
                    <a:solidFill>
                      <a:srgbClr val="000000"/>
                    </a:solidFill>
                    <a:latin typeface="Arial"/>
                    <a:ea typeface="Arial"/>
                  </a:endParaRPr>
                </a:p>
              </p:txBody>
            </p:sp>
            <p:sp>
              <p:nvSpPr>
                <p:cNvPr id="480" name="Freeform 119"/>
                <p:cNvSpPr/>
                <p:nvPr/>
              </p:nvSpPr>
              <p:spPr>
                <a:xfrm>
                  <a:off x="9673920" y="4016520"/>
                  <a:ext cx="439560" cy="141840"/>
                </a:xfrm>
                <a:custGeom>
                  <a:avLst/>
                  <a:gdLst>
                    <a:gd name="textAreaLeft" fmla="*/ 0 w 439560"/>
                    <a:gd name="textAreaRight" fmla="*/ 439920 w 439560"/>
                    <a:gd name="textAreaTop" fmla="*/ 0 h 141840"/>
                    <a:gd name="textAreaBottom" fmla="*/ 142200 h 141840"/>
                  </a:gdLst>
                  <a:ahLst/>
                  <a:rect l="textAreaLeft" t="textAreaTop" r="textAreaRight" b="textAreaBottom"/>
                  <a:pathLst>
                    <a:path w="440791" h="142321">
                      <a:moveTo>
                        <a:pt x="4013" y="6613"/>
                      </a:moveTo>
                      <a:lnTo>
                        <a:pt x="22847" y="16763"/>
                      </a:lnTo>
                      <a:lnTo>
                        <a:pt x="24664" y="28657"/>
                      </a:lnTo>
                      <a:lnTo>
                        <a:pt x="39899" y="25891"/>
                      </a:lnTo>
                      <a:lnTo>
                        <a:pt x="47445" y="16375"/>
                      </a:lnTo>
                      <a:lnTo>
                        <a:pt x="52753" y="18539"/>
                      </a:lnTo>
                      <a:lnTo>
                        <a:pt x="66385" y="32521"/>
                      </a:lnTo>
                      <a:lnTo>
                        <a:pt x="76068" y="48015"/>
                      </a:lnTo>
                      <a:lnTo>
                        <a:pt x="77392" y="63590"/>
                      </a:lnTo>
                      <a:lnTo>
                        <a:pt x="74935" y="74106"/>
                      </a:lnTo>
                      <a:lnTo>
                        <a:pt x="77181" y="82053"/>
                      </a:lnTo>
                      <a:lnTo>
                        <a:pt x="78867" y="95727"/>
                      </a:lnTo>
                      <a:lnTo>
                        <a:pt x="86997" y="102092"/>
                      </a:lnTo>
                      <a:lnTo>
                        <a:pt x="96075" y="122513"/>
                      </a:lnTo>
                      <a:lnTo>
                        <a:pt x="95634" y="130319"/>
                      </a:lnTo>
                      <a:lnTo>
                        <a:pt x="79265" y="131859"/>
                      </a:lnTo>
                      <a:lnTo>
                        <a:pt x="57427" y="114756"/>
                      </a:lnTo>
                      <a:lnTo>
                        <a:pt x="30121" y="96425"/>
                      </a:lnTo>
                      <a:lnTo>
                        <a:pt x="27418" y="84654"/>
                      </a:lnTo>
                      <a:lnTo>
                        <a:pt x="14074" y="69196"/>
                      </a:lnTo>
                      <a:lnTo>
                        <a:pt x="10888" y="50045"/>
                      </a:lnTo>
                      <a:lnTo>
                        <a:pt x="2562" y="37428"/>
                      </a:lnTo>
                      <a:lnTo>
                        <a:pt x="5091" y="20570"/>
                      </a:lnTo>
                      <a:lnTo>
                        <a:pt x="0" y="10747"/>
                      </a:lnTo>
                      <a:close/>
                      <a:moveTo>
                        <a:pt x="393419" y="0"/>
                      </a:moveTo>
                      <a:lnTo>
                        <a:pt x="405278" y="11728"/>
                      </a:lnTo>
                      <a:lnTo>
                        <a:pt x="406333" y="21799"/>
                      </a:lnTo>
                      <a:lnTo>
                        <a:pt x="421535" y="28256"/>
                      </a:lnTo>
                      <a:lnTo>
                        <a:pt x="440791" y="35222"/>
                      </a:lnTo>
                      <a:lnTo>
                        <a:pt x="439147" y="44287"/>
                      </a:lnTo>
                      <a:lnTo>
                        <a:pt x="423660" y="45435"/>
                      </a:lnTo>
                      <a:lnTo>
                        <a:pt x="427782" y="56731"/>
                      </a:lnTo>
                      <a:lnTo>
                        <a:pt x="410786" y="64609"/>
                      </a:lnTo>
                      <a:lnTo>
                        <a:pt x="390778" y="60712"/>
                      </a:lnTo>
                      <a:lnTo>
                        <a:pt x="364240" y="60701"/>
                      </a:lnTo>
                      <a:lnTo>
                        <a:pt x="356243" y="86989"/>
                      </a:lnTo>
                      <a:lnTo>
                        <a:pt x="347355" y="95023"/>
                      </a:lnTo>
                      <a:lnTo>
                        <a:pt x="335521" y="127141"/>
                      </a:lnTo>
                      <a:lnTo>
                        <a:pt x="316697" y="132062"/>
                      </a:lnTo>
                      <a:lnTo>
                        <a:pt x="294860" y="125592"/>
                      </a:lnTo>
                      <a:lnTo>
                        <a:pt x="283791" y="127616"/>
                      </a:lnTo>
                      <a:lnTo>
                        <a:pt x="270340" y="139290"/>
                      </a:lnTo>
                      <a:lnTo>
                        <a:pt x="255604" y="137627"/>
                      </a:lnTo>
                      <a:lnTo>
                        <a:pt x="240713" y="142321"/>
                      </a:lnTo>
                      <a:lnTo>
                        <a:pt x="224929" y="129278"/>
                      </a:lnTo>
                      <a:lnTo>
                        <a:pt x="221075" y="113847"/>
                      </a:lnTo>
                      <a:lnTo>
                        <a:pt x="237992" y="121760"/>
                      </a:lnTo>
                      <a:lnTo>
                        <a:pt x="255828" y="117445"/>
                      </a:lnTo>
                      <a:lnTo>
                        <a:pt x="260473" y="97892"/>
                      </a:lnTo>
                      <a:lnTo>
                        <a:pt x="270325" y="93536"/>
                      </a:lnTo>
                      <a:lnTo>
                        <a:pt x="297994" y="88534"/>
                      </a:lnTo>
                      <a:lnTo>
                        <a:pt x="314552" y="70251"/>
                      </a:lnTo>
                      <a:lnTo>
                        <a:pt x="325888" y="55629"/>
                      </a:lnTo>
                      <a:lnTo>
                        <a:pt x="336404" y="67612"/>
                      </a:lnTo>
                      <a:lnTo>
                        <a:pt x="341251" y="59735"/>
                      </a:lnTo>
                      <a:lnTo>
                        <a:pt x="352282" y="60468"/>
                      </a:lnTo>
                      <a:lnTo>
                        <a:pt x="353626" y="45696"/>
                      </a:lnTo>
                      <a:lnTo>
                        <a:pt x="354665" y="34298"/>
                      </a:lnTo>
                      <a:lnTo>
                        <a:pt x="372439" y="18192"/>
                      </a:lnTo>
                      <a:lnTo>
                        <a:pt x="384081" y="76"/>
                      </a:lnTo>
                      <a:close/>
                    </a:path>
                  </a:pathLst>
                </a:custGeom>
                <a:solidFill>
                  <a:schemeClr val="accent1">
                    <a:lumMod val="20000"/>
                    <a:lumOff val="80000"/>
                  </a:schemeClr>
                </a:solidFill>
                <a:ln cap="rnd" w="3175">
                  <a:solidFill>
                    <a:srgbClr val="009fdf">
                      <a:lumMod val="60000"/>
                      <a:lumOff val="40000"/>
                    </a:srgbClr>
                  </a:solidFill>
                </a:ln>
              </p:spPr>
              <p:style>
                <a:lnRef idx="2">
                  <a:schemeClr val="accent1">
                    <a:shade val="50000"/>
                  </a:schemeClr>
                </a:lnRef>
                <a:fillRef idx="1">
                  <a:schemeClr val="accent1"/>
                </a:fillRef>
                <a:effectRef idx="0">
                  <a:schemeClr val="accent1"/>
                </a:effectRef>
                <a:fontRef idx="minor"/>
              </p:style>
              <p:txBody>
                <a:bodyPr numCol="1" spcCol="0" horzOverflow="overflow" lIns="72000" rIns="72000" tIns="70920" bIns="70920" anchor="ctr">
                  <a:noAutofit/>
                </a:bodyPr>
                <a:p>
                  <a:pPr algn="ctr" defTabSz="457200">
                    <a:lnSpc>
                      <a:spcPct val="100000"/>
                    </a:lnSpc>
                    <a:tabLst>
                      <a:tab algn="l" pos="0"/>
                    </a:tabLst>
                  </a:pPr>
                  <a:endParaRPr b="0" lang="de-DE" sz="1600" spc="-1" strike="noStrike">
                    <a:solidFill>
                      <a:srgbClr val="000000"/>
                    </a:solidFill>
                    <a:latin typeface="Arial"/>
                    <a:ea typeface="Arial"/>
                  </a:endParaRPr>
                </a:p>
              </p:txBody>
            </p:sp>
            <p:sp>
              <p:nvSpPr>
                <p:cNvPr id="481" name="Freeform 120"/>
                <p:cNvSpPr/>
                <p:nvPr/>
              </p:nvSpPr>
              <p:spPr>
                <a:xfrm>
                  <a:off x="7638480" y="4570200"/>
                  <a:ext cx="307080" cy="293760"/>
                </a:xfrm>
                <a:custGeom>
                  <a:avLst/>
                  <a:gdLst/>
                  <a:ahLst/>
                  <a:rect l="l" t="t" r="r" b="b"/>
                  <a:pathLst>
                    <a:path w="308160" h="294870">
                      <a:moveTo>
                        <a:pt x="106429" y="283110"/>
                      </a:moveTo>
                      <a:lnTo>
                        <a:pt x="89275" y="264227"/>
                      </a:lnTo>
                      <a:lnTo>
                        <a:pt x="80242" y="246050"/>
                      </a:lnTo>
                      <a:lnTo>
                        <a:pt x="75146" y="221932"/>
                      </a:lnTo>
                      <a:lnTo>
                        <a:pt x="69456" y="204067"/>
                      </a:lnTo>
                      <a:lnTo>
                        <a:pt x="61722" y="166311"/>
                      </a:lnTo>
                      <a:lnTo>
                        <a:pt x="61204" y="137173"/>
                      </a:lnTo>
                      <a:lnTo>
                        <a:pt x="58250" y="123942"/>
                      </a:lnTo>
                      <a:lnTo>
                        <a:pt x="49269" y="113965"/>
                      </a:lnTo>
                      <a:lnTo>
                        <a:pt x="37355" y="94019"/>
                      </a:lnTo>
                      <a:lnTo>
                        <a:pt x="25221" y="65180"/>
                      </a:lnTo>
                      <a:lnTo>
                        <a:pt x="20183" y="50142"/>
                      </a:lnTo>
                      <a:lnTo>
                        <a:pt x="1402" y="26830"/>
                      </a:lnTo>
                      <a:lnTo>
                        <a:pt x="0" y="8566"/>
                      </a:lnTo>
                      <a:lnTo>
                        <a:pt x="11109" y="4045"/>
                      </a:lnTo>
                      <a:lnTo>
                        <a:pt x="24927" y="0"/>
                      </a:lnTo>
                      <a:lnTo>
                        <a:pt x="39891" y="709"/>
                      </a:lnTo>
                      <a:lnTo>
                        <a:pt x="53651" y="11455"/>
                      </a:lnTo>
                      <a:lnTo>
                        <a:pt x="57141" y="9783"/>
                      </a:lnTo>
                      <a:lnTo>
                        <a:pt x="150710" y="8757"/>
                      </a:lnTo>
                      <a:lnTo>
                        <a:pt x="166703" y="20158"/>
                      </a:lnTo>
                      <a:lnTo>
                        <a:pt x="222586" y="23529"/>
                      </a:lnTo>
                      <a:lnTo>
                        <a:pt x="265009" y="13827"/>
                      </a:lnTo>
                      <a:lnTo>
                        <a:pt x="283909" y="8422"/>
                      </a:lnTo>
                      <a:lnTo>
                        <a:pt x="298878" y="9791"/>
                      </a:lnTo>
                      <a:lnTo>
                        <a:pt x="307987" y="15152"/>
                      </a:lnTo>
                      <a:lnTo>
                        <a:pt x="308159" y="17127"/>
                      </a:lnTo>
                      <a:lnTo>
                        <a:pt x="295147" y="22493"/>
                      </a:lnTo>
                      <a:lnTo>
                        <a:pt x="288145" y="22546"/>
                      </a:lnTo>
                      <a:lnTo>
                        <a:pt x="273410" y="31889"/>
                      </a:lnTo>
                      <a:lnTo>
                        <a:pt x="264589" y="22062"/>
                      </a:lnTo>
                      <a:lnTo>
                        <a:pt x="229000" y="30407"/>
                      </a:lnTo>
                      <a:lnTo>
                        <a:pt x="211817" y="31196"/>
                      </a:lnTo>
                      <a:lnTo>
                        <a:pt x="211136" y="116754"/>
                      </a:lnTo>
                      <a:lnTo>
                        <a:pt x="188384" y="117597"/>
                      </a:lnTo>
                      <a:lnTo>
                        <a:pt x="188391" y="188705"/>
                      </a:lnTo>
                      <a:lnTo>
                        <a:pt x="188367" y="280215"/>
                      </a:lnTo>
                      <a:lnTo>
                        <a:pt x="167763" y="293035"/>
                      </a:lnTo>
                      <a:lnTo>
                        <a:pt x="155363" y="294869"/>
                      </a:lnTo>
                      <a:lnTo>
                        <a:pt x="140849" y="290121"/>
                      </a:lnTo>
                      <a:lnTo>
                        <a:pt x="130493" y="288293"/>
                      </a:lnTo>
                      <a:lnTo>
                        <a:pt x="126603" y="277583"/>
                      </a:lnTo>
                      <a:lnTo>
                        <a:pt x="117487" y="270739"/>
                      </a:lnTo>
                      <a:close/>
                    </a:path>
                  </a:pathLst>
                </a:custGeom>
                <a:solidFill>
                  <a:schemeClr val="accent1">
                    <a:lumMod val="20000"/>
                    <a:lumOff val="80000"/>
                  </a:schemeClr>
                </a:solidFill>
                <a:ln cap="rnd" w="3175">
                  <a:solidFill>
                    <a:srgbClr val="009fdf">
                      <a:lumMod val="60000"/>
                      <a:lumOff val="40000"/>
                    </a:srgbClr>
                  </a:solidFill>
                </a:ln>
              </p:spPr>
              <p:style>
                <a:lnRef idx="2">
                  <a:schemeClr val="accent1">
                    <a:shade val="50000"/>
                  </a:schemeClr>
                </a:lnRef>
                <a:fillRef idx="1">
                  <a:schemeClr val="accent1"/>
                </a:fillRef>
                <a:effectRef idx="0">
                  <a:schemeClr val="accent1"/>
                </a:effectRef>
                <a:fontRef idx="minor"/>
              </p:style>
              <p:txBody>
                <a:bodyPr numCol="1" spcCol="0" horzOverflow="overflow" lIns="72000" rIns="72000" tIns="72000" bIns="72000" anchor="ctr">
                  <a:noAutofit/>
                </a:bodyPr>
                <a:p>
                  <a:pPr algn="ctr" defTabSz="457200">
                    <a:lnSpc>
                      <a:spcPct val="100000"/>
                    </a:lnSpc>
                    <a:tabLst>
                      <a:tab algn="l" pos="0"/>
                    </a:tabLst>
                  </a:pPr>
                  <a:endParaRPr b="0" lang="de-DE" sz="1600" spc="-1" strike="noStrike">
                    <a:solidFill>
                      <a:srgbClr val="000000"/>
                    </a:solidFill>
                    <a:latin typeface="Arial"/>
                    <a:ea typeface="Arial"/>
                  </a:endParaRPr>
                </a:p>
              </p:txBody>
            </p:sp>
            <p:sp>
              <p:nvSpPr>
                <p:cNvPr id="482" name="Freeform 121"/>
                <p:cNvSpPr/>
                <p:nvPr/>
              </p:nvSpPr>
              <p:spPr>
                <a:xfrm>
                  <a:off x="7374960" y="3625560"/>
                  <a:ext cx="359280" cy="280440"/>
                </a:xfrm>
                <a:custGeom>
                  <a:avLst/>
                  <a:gdLst/>
                  <a:ahLst/>
                  <a:rect l="l" t="t" r="r" b="b"/>
                  <a:pathLst>
                    <a:path w="360266" h="281413">
                      <a:moveTo>
                        <a:pt x="42907" y="274860"/>
                      </a:moveTo>
                      <a:lnTo>
                        <a:pt x="43429" y="258816"/>
                      </a:lnTo>
                      <a:lnTo>
                        <a:pt x="16814" y="253497"/>
                      </a:lnTo>
                      <a:lnTo>
                        <a:pt x="16098" y="242137"/>
                      </a:lnTo>
                      <a:lnTo>
                        <a:pt x="3099" y="226786"/>
                      </a:lnTo>
                      <a:lnTo>
                        <a:pt x="0" y="216062"/>
                      </a:lnTo>
                      <a:lnTo>
                        <a:pt x="1829" y="204635"/>
                      </a:lnTo>
                      <a:lnTo>
                        <a:pt x="16623" y="203708"/>
                      </a:lnTo>
                      <a:lnTo>
                        <a:pt x="25157" y="195318"/>
                      </a:lnTo>
                      <a:lnTo>
                        <a:pt x="56653" y="193287"/>
                      </a:lnTo>
                      <a:lnTo>
                        <a:pt x="77156" y="189539"/>
                      </a:lnTo>
                      <a:lnTo>
                        <a:pt x="79122" y="174959"/>
                      </a:lnTo>
                      <a:lnTo>
                        <a:pt x="91743" y="159122"/>
                      </a:lnTo>
                      <a:lnTo>
                        <a:pt x="91679" y="104234"/>
                      </a:lnTo>
                      <a:lnTo>
                        <a:pt x="124229" y="93552"/>
                      </a:lnTo>
                      <a:lnTo>
                        <a:pt x="191061" y="46266"/>
                      </a:lnTo>
                      <a:lnTo>
                        <a:pt x="270156" y="0"/>
                      </a:lnTo>
                      <a:lnTo>
                        <a:pt x="306671" y="10502"/>
                      </a:lnTo>
                      <a:lnTo>
                        <a:pt x="319654" y="23848"/>
                      </a:lnTo>
                      <a:lnTo>
                        <a:pt x="335983" y="14820"/>
                      </a:lnTo>
                      <a:lnTo>
                        <a:pt x="341652" y="52478"/>
                      </a:lnTo>
                      <a:lnTo>
                        <a:pt x="350289" y="58753"/>
                      </a:lnTo>
                      <a:lnTo>
                        <a:pt x="350660" y="66418"/>
                      </a:lnTo>
                      <a:lnTo>
                        <a:pt x="360265" y="74668"/>
                      </a:lnTo>
                      <a:lnTo>
                        <a:pt x="355245" y="85011"/>
                      </a:lnTo>
                      <a:lnTo>
                        <a:pt x="346350" y="133541"/>
                      </a:lnTo>
                      <a:lnTo>
                        <a:pt x="345134" y="164459"/>
                      </a:lnTo>
                      <a:lnTo>
                        <a:pt x="315691" y="186790"/>
                      </a:lnTo>
                      <a:lnTo>
                        <a:pt x="305724" y="217878"/>
                      </a:lnTo>
                      <a:lnTo>
                        <a:pt x="315333" y="226599"/>
                      </a:lnTo>
                      <a:lnTo>
                        <a:pt x="315282" y="241722"/>
                      </a:lnTo>
                      <a:lnTo>
                        <a:pt x="330085" y="242263"/>
                      </a:lnTo>
                      <a:lnTo>
                        <a:pt x="327777" y="253319"/>
                      </a:lnTo>
                      <a:lnTo>
                        <a:pt x="321262" y="254665"/>
                      </a:lnTo>
                      <a:lnTo>
                        <a:pt x="320519" y="262130"/>
                      </a:lnTo>
                      <a:lnTo>
                        <a:pt x="316226" y="262648"/>
                      </a:lnTo>
                      <a:lnTo>
                        <a:pt x="300607" y="236954"/>
                      </a:lnTo>
                      <a:lnTo>
                        <a:pt x="295189" y="236019"/>
                      </a:lnTo>
                      <a:lnTo>
                        <a:pt x="277140" y="249147"/>
                      </a:lnTo>
                      <a:lnTo>
                        <a:pt x="259268" y="242296"/>
                      </a:lnTo>
                      <a:lnTo>
                        <a:pt x="246845" y="240926"/>
                      </a:lnTo>
                      <a:lnTo>
                        <a:pt x="240184" y="244224"/>
                      </a:lnTo>
                      <a:lnTo>
                        <a:pt x="226652" y="243511"/>
                      </a:lnTo>
                      <a:lnTo>
                        <a:pt x="213036" y="253514"/>
                      </a:lnTo>
                      <a:lnTo>
                        <a:pt x="201264" y="254087"/>
                      </a:lnTo>
                      <a:lnTo>
                        <a:pt x="173328" y="241955"/>
                      </a:lnTo>
                      <a:lnTo>
                        <a:pt x="162389" y="247719"/>
                      </a:lnTo>
                      <a:lnTo>
                        <a:pt x="150609" y="247319"/>
                      </a:lnTo>
                      <a:lnTo>
                        <a:pt x="141953" y="238449"/>
                      </a:lnTo>
                      <a:lnTo>
                        <a:pt x="118816" y="229675"/>
                      </a:lnTo>
                      <a:lnTo>
                        <a:pt x="94009" y="232461"/>
                      </a:lnTo>
                      <a:lnTo>
                        <a:pt x="87998" y="237545"/>
                      </a:lnTo>
                      <a:lnTo>
                        <a:pt x="84751" y="251050"/>
                      </a:lnTo>
                      <a:lnTo>
                        <a:pt x="78134" y="260507"/>
                      </a:lnTo>
                      <a:lnTo>
                        <a:pt x="76531" y="281412"/>
                      </a:lnTo>
                      <a:lnTo>
                        <a:pt x="58930" y="267941"/>
                      </a:lnTo>
                      <a:lnTo>
                        <a:pt x="50655" y="268002"/>
                      </a:lnTo>
                      <a:close/>
                    </a:path>
                  </a:pathLst>
                </a:custGeom>
                <a:solidFill>
                  <a:schemeClr val="accent1">
                    <a:lumMod val="20000"/>
                    <a:lumOff val="80000"/>
                  </a:schemeClr>
                </a:solidFill>
                <a:ln cap="rnd" w="3175">
                  <a:solidFill>
                    <a:srgbClr val="009fdf">
                      <a:lumMod val="60000"/>
                      <a:lumOff val="40000"/>
                    </a:srgbClr>
                  </a:solidFill>
                </a:ln>
              </p:spPr>
              <p:style>
                <a:lnRef idx="2">
                  <a:schemeClr val="accent1">
                    <a:shade val="50000"/>
                  </a:schemeClr>
                </a:lnRef>
                <a:fillRef idx="1">
                  <a:schemeClr val="accent1"/>
                </a:fillRef>
                <a:effectRef idx="0">
                  <a:schemeClr val="accent1"/>
                </a:effectRef>
                <a:fontRef idx="minor"/>
              </p:style>
              <p:txBody>
                <a:bodyPr numCol="1" spcCol="0" horzOverflow="overflow" lIns="72000" rIns="72000" tIns="72000" bIns="72000" anchor="ctr">
                  <a:noAutofit/>
                </a:bodyPr>
                <a:p>
                  <a:pPr algn="ctr" defTabSz="457200">
                    <a:lnSpc>
                      <a:spcPct val="100000"/>
                    </a:lnSpc>
                    <a:tabLst>
                      <a:tab algn="l" pos="0"/>
                    </a:tabLst>
                  </a:pPr>
                  <a:endParaRPr b="0" lang="de-DE" sz="1600" spc="-1" strike="noStrike">
                    <a:solidFill>
                      <a:srgbClr val="000000"/>
                    </a:solidFill>
                    <a:latin typeface="Arial"/>
                    <a:ea typeface="Arial"/>
                  </a:endParaRPr>
                </a:p>
              </p:txBody>
            </p:sp>
            <p:sp>
              <p:nvSpPr>
                <p:cNvPr id="483" name="Freeform 122"/>
                <p:cNvSpPr/>
                <p:nvPr/>
              </p:nvSpPr>
              <p:spPr>
                <a:xfrm>
                  <a:off x="7430400" y="3854880"/>
                  <a:ext cx="273600" cy="223200"/>
                </a:xfrm>
                <a:custGeom>
                  <a:avLst/>
                  <a:gdLst/>
                  <a:ahLst/>
                  <a:rect l="l" t="t" r="r" b="b"/>
                  <a:pathLst>
                    <a:path w="274350" h="224141">
                      <a:moveTo>
                        <a:pt x="134078" y="211850"/>
                      </a:moveTo>
                      <a:lnTo>
                        <a:pt x="110114" y="220174"/>
                      </a:lnTo>
                      <a:lnTo>
                        <a:pt x="101354" y="218958"/>
                      </a:lnTo>
                      <a:lnTo>
                        <a:pt x="92478" y="224140"/>
                      </a:lnTo>
                      <a:lnTo>
                        <a:pt x="74014" y="223635"/>
                      </a:lnTo>
                      <a:lnTo>
                        <a:pt x="61656" y="209166"/>
                      </a:lnTo>
                      <a:lnTo>
                        <a:pt x="54057" y="192413"/>
                      </a:lnTo>
                      <a:lnTo>
                        <a:pt x="37715" y="177153"/>
                      </a:lnTo>
                      <a:lnTo>
                        <a:pt x="20370" y="177439"/>
                      </a:lnTo>
                      <a:lnTo>
                        <a:pt x="0" y="177427"/>
                      </a:lnTo>
                      <a:lnTo>
                        <a:pt x="1324" y="140037"/>
                      </a:lnTo>
                      <a:lnTo>
                        <a:pt x="741" y="125257"/>
                      </a:lnTo>
                      <a:lnTo>
                        <a:pt x="5092" y="110587"/>
                      </a:lnTo>
                      <a:lnTo>
                        <a:pt x="12203" y="103451"/>
                      </a:lnTo>
                      <a:lnTo>
                        <a:pt x="23400" y="89028"/>
                      </a:lnTo>
                      <a:lnTo>
                        <a:pt x="20968" y="82755"/>
                      </a:lnTo>
                      <a:lnTo>
                        <a:pt x="25516" y="73362"/>
                      </a:lnTo>
                      <a:lnTo>
                        <a:pt x="20325" y="59505"/>
                      </a:lnTo>
                      <a:lnTo>
                        <a:pt x="21224" y="51737"/>
                      </a:lnTo>
                      <a:lnTo>
                        <a:pt x="22827" y="30832"/>
                      </a:lnTo>
                      <a:lnTo>
                        <a:pt x="29444" y="21375"/>
                      </a:lnTo>
                      <a:lnTo>
                        <a:pt x="32691" y="7870"/>
                      </a:lnTo>
                      <a:lnTo>
                        <a:pt x="38702" y="2786"/>
                      </a:lnTo>
                      <a:lnTo>
                        <a:pt x="63509" y="0"/>
                      </a:lnTo>
                      <a:lnTo>
                        <a:pt x="86646" y="8774"/>
                      </a:lnTo>
                      <a:lnTo>
                        <a:pt x="95302" y="17644"/>
                      </a:lnTo>
                      <a:lnTo>
                        <a:pt x="107082" y="18044"/>
                      </a:lnTo>
                      <a:lnTo>
                        <a:pt x="118021" y="12280"/>
                      </a:lnTo>
                      <a:lnTo>
                        <a:pt x="145957" y="24412"/>
                      </a:lnTo>
                      <a:lnTo>
                        <a:pt x="157729" y="23839"/>
                      </a:lnTo>
                      <a:lnTo>
                        <a:pt x="171345" y="13836"/>
                      </a:lnTo>
                      <a:lnTo>
                        <a:pt x="184877" y="14549"/>
                      </a:lnTo>
                      <a:lnTo>
                        <a:pt x="191538" y="11251"/>
                      </a:lnTo>
                      <a:lnTo>
                        <a:pt x="203961" y="12621"/>
                      </a:lnTo>
                      <a:lnTo>
                        <a:pt x="221833" y="19472"/>
                      </a:lnTo>
                      <a:lnTo>
                        <a:pt x="239882" y="6344"/>
                      </a:lnTo>
                      <a:lnTo>
                        <a:pt x="245300" y="7279"/>
                      </a:lnTo>
                      <a:lnTo>
                        <a:pt x="260919" y="32973"/>
                      </a:lnTo>
                      <a:lnTo>
                        <a:pt x="265212" y="32455"/>
                      </a:lnTo>
                      <a:lnTo>
                        <a:pt x="274349" y="41786"/>
                      </a:lnTo>
                      <a:lnTo>
                        <a:pt x="271833" y="46014"/>
                      </a:lnTo>
                      <a:lnTo>
                        <a:pt x="270614" y="53791"/>
                      </a:lnTo>
                      <a:lnTo>
                        <a:pt x="251168" y="71872"/>
                      </a:lnTo>
                      <a:lnTo>
                        <a:pt x="245068" y="86763"/>
                      </a:lnTo>
                      <a:lnTo>
                        <a:pt x="241812" y="98875"/>
                      </a:lnTo>
                      <a:lnTo>
                        <a:pt x="236915" y="104065"/>
                      </a:lnTo>
                      <a:lnTo>
                        <a:pt x="232257" y="120354"/>
                      </a:lnTo>
                      <a:lnTo>
                        <a:pt x="219913" y="129930"/>
                      </a:lnTo>
                      <a:lnTo>
                        <a:pt x="216336" y="141684"/>
                      </a:lnTo>
                      <a:lnTo>
                        <a:pt x="211151" y="151034"/>
                      </a:lnTo>
                      <a:lnTo>
                        <a:pt x="208992" y="160677"/>
                      </a:lnTo>
                      <a:lnTo>
                        <a:pt x="193135" y="168490"/>
                      </a:lnTo>
                      <a:lnTo>
                        <a:pt x="180176" y="158961"/>
                      </a:lnTo>
                      <a:lnTo>
                        <a:pt x="171425" y="159346"/>
                      </a:lnTo>
                      <a:lnTo>
                        <a:pt x="157678" y="172916"/>
                      </a:lnTo>
                      <a:lnTo>
                        <a:pt x="150995" y="173124"/>
                      </a:lnTo>
                      <a:lnTo>
                        <a:pt x="140016" y="195473"/>
                      </a:lnTo>
                      <a:close/>
                    </a:path>
                  </a:pathLst>
                </a:custGeom>
                <a:solidFill>
                  <a:schemeClr val="accent1">
                    <a:lumMod val="20000"/>
                    <a:lumOff val="80000"/>
                  </a:schemeClr>
                </a:solidFill>
                <a:ln cap="rnd" w="3175">
                  <a:solidFill>
                    <a:srgbClr val="009fdf">
                      <a:lumMod val="60000"/>
                      <a:lumOff val="40000"/>
                    </a:srgbClr>
                  </a:solidFill>
                </a:ln>
              </p:spPr>
              <p:style>
                <a:lnRef idx="2">
                  <a:schemeClr val="accent1">
                    <a:shade val="50000"/>
                  </a:schemeClr>
                </a:lnRef>
                <a:fillRef idx="1">
                  <a:schemeClr val="accent1"/>
                </a:fillRef>
                <a:effectRef idx="0">
                  <a:schemeClr val="accent1"/>
                </a:effectRef>
                <a:fontRef idx="minor"/>
              </p:style>
              <p:txBody>
                <a:bodyPr numCol="1" spcCol="0" horzOverflow="overflow" lIns="72000" rIns="72000" tIns="72000" bIns="72000" anchor="ctr">
                  <a:noAutofit/>
                </a:bodyPr>
                <a:p>
                  <a:pPr algn="ctr" defTabSz="457200">
                    <a:lnSpc>
                      <a:spcPct val="100000"/>
                    </a:lnSpc>
                    <a:tabLst>
                      <a:tab algn="l" pos="0"/>
                    </a:tabLst>
                  </a:pPr>
                  <a:endParaRPr b="0" lang="de-DE" sz="1600" spc="-1" strike="noStrike">
                    <a:solidFill>
                      <a:srgbClr val="000000"/>
                    </a:solidFill>
                    <a:latin typeface="Arial"/>
                    <a:ea typeface="Arial"/>
                  </a:endParaRPr>
                </a:p>
              </p:txBody>
            </p:sp>
            <p:sp>
              <p:nvSpPr>
                <p:cNvPr id="484" name="Freeform 123"/>
                <p:cNvSpPr/>
                <p:nvPr/>
              </p:nvSpPr>
              <p:spPr>
                <a:xfrm>
                  <a:off x="7444440" y="2809800"/>
                  <a:ext cx="86760" cy="83160"/>
                </a:xfrm>
                <a:custGeom>
                  <a:avLst/>
                  <a:gdLst/>
                  <a:ahLst/>
                  <a:rect l="l" t="t" r="r" b="b"/>
                  <a:pathLst>
                    <a:path w="87186" h="83725">
                      <a:moveTo>
                        <a:pt x="63690" y="0"/>
                      </a:moveTo>
                      <a:lnTo>
                        <a:pt x="82871" y="888"/>
                      </a:lnTo>
                      <a:lnTo>
                        <a:pt x="87185" y="11499"/>
                      </a:lnTo>
                      <a:lnTo>
                        <a:pt x="81433" y="40006"/>
                      </a:lnTo>
                      <a:lnTo>
                        <a:pt x="75582" y="51631"/>
                      </a:lnTo>
                      <a:lnTo>
                        <a:pt x="61716" y="51644"/>
                      </a:lnTo>
                      <a:lnTo>
                        <a:pt x="65594" y="83724"/>
                      </a:lnTo>
                      <a:lnTo>
                        <a:pt x="52905" y="76609"/>
                      </a:lnTo>
                      <a:lnTo>
                        <a:pt x="38295" y="63220"/>
                      </a:lnTo>
                      <a:lnTo>
                        <a:pt x="16899" y="69584"/>
                      </a:lnTo>
                      <a:lnTo>
                        <a:pt x="0" y="67181"/>
                      </a:lnTo>
                      <a:lnTo>
                        <a:pt x="11895" y="58753"/>
                      </a:lnTo>
                      <a:lnTo>
                        <a:pt x="32109" y="13135"/>
                      </a:lnTo>
                      <a:close/>
                    </a:path>
                  </a:pathLst>
                </a:custGeom>
                <a:solidFill>
                  <a:schemeClr val="accent1"/>
                </a:solidFill>
                <a:ln cap="rnd" w="3175">
                  <a:solidFill>
                    <a:srgbClr val="009fdf">
                      <a:lumMod val="60000"/>
                      <a:lumOff val="40000"/>
                    </a:srgbClr>
                  </a:solidFill>
                </a:ln>
              </p:spPr>
              <p:style>
                <a:lnRef idx="2">
                  <a:schemeClr val="accent1">
                    <a:shade val="50000"/>
                  </a:schemeClr>
                </a:lnRef>
                <a:fillRef idx="1">
                  <a:schemeClr val="accent1"/>
                </a:fillRef>
                <a:effectRef idx="0">
                  <a:schemeClr val="accent1"/>
                </a:effectRef>
                <a:fontRef idx="minor"/>
              </p:style>
              <p:txBody>
                <a:bodyPr numCol="1" spcCol="0" horzOverflow="overflow" lIns="72000" rIns="72000" tIns="41400" bIns="41400" anchor="ctr">
                  <a:noAutofit/>
                </a:bodyPr>
                <a:p>
                  <a:pPr algn="ctr" defTabSz="457200">
                    <a:lnSpc>
                      <a:spcPct val="100000"/>
                    </a:lnSpc>
                    <a:tabLst>
                      <a:tab algn="l" pos="0"/>
                    </a:tabLst>
                  </a:pPr>
                  <a:endParaRPr b="0" lang="de-DE" sz="1600" spc="-1" strike="noStrike">
                    <a:solidFill>
                      <a:srgbClr val="000000"/>
                    </a:solidFill>
                    <a:latin typeface="Arial"/>
                    <a:ea typeface="Arial"/>
                  </a:endParaRPr>
                </a:p>
              </p:txBody>
            </p:sp>
            <p:sp>
              <p:nvSpPr>
                <p:cNvPr id="485" name="Freeform 124"/>
                <p:cNvSpPr/>
                <p:nvPr/>
              </p:nvSpPr>
              <p:spPr>
                <a:xfrm>
                  <a:off x="7483320" y="1722960"/>
                  <a:ext cx="605520" cy="938520"/>
                </a:xfrm>
                <a:custGeom>
                  <a:avLst/>
                  <a:gdLst>
                    <a:gd name="textAreaLeft" fmla="*/ 0 w 605520"/>
                    <a:gd name="textAreaRight" fmla="*/ 605880 w 605520"/>
                    <a:gd name="textAreaTop" fmla="*/ 0 h 938520"/>
                    <a:gd name="textAreaBottom" fmla="*/ 938880 h 938520"/>
                  </a:gdLst>
                  <a:ahLst/>
                  <a:rect l="textAreaLeft" t="textAreaTop" r="textAreaRight" b="textAreaBottom"/>
                  <a:pathLst>
                    <a:path w="607105" h="940787">
                      <a:moveTo>
                        <a:pt x="534906" y="449692"/>
                      </a:moveTo>
                      <a:lnTo>
                        <a:pt x="607105" y="480419"/>
                      </a:lnTo>
                      <a:lnTo>
                        <a:pt x="577375" y="491536"/>
                      </a:lnTo>
                      <a:lnTo>
                        <a:pt x="602666" y="517398"/>
                      </a:lnTo>
                      <a:lnTo>
                        <a:pt x="563391" y="533742"/>
                      </a:lnTo>
                      <a:lnTo>
                        <a:pt x="544748" y="537476"/>
                      </a:lnTo>
                      <a:lnTo>
                        <a:pt x="554526" y="508855"/>
                      </a:lnTo>
                      <a:lnTo>
                        <a:pt x="524905" y="492450"/>
                      </a:lnTo>
                      <a:lnTo>
                        <a:pt x="489065" y="506438"/>
                      </a:lnTo>
                      <a:lnTo>
                        <a:pt x="477745" y="536369"/>
                      </a:lnTo>
                      <a:lnTo>
                        <a:pt x="455735" y="554222"/>
                      </a:lnTo>
                      <a:lnTo>
                        <a:pt x="430953" y="544492"/>
                      </a:lnTo>
                      <a:lnTo>
                        <a:pt x="400811" y="546489"/>
                      </a:lnTo>
                      <a:lnTo>
                        <a:pt x="375159" y="525059"/>
                      </a:lnTo>
                      <a:lnTo>
                        <a:pt x="361325" y="535796"/>
                      </a:lnTo>
                      <a:lnTo>
                        <a:pt x="347006" y="537462"/>
                      </a:lnTo>
                      <a:lnTo>
                        <a:pt x="343620" y="563933"/>
                      </a:lnTo>
                      <a:lnTo>
                        <a:pt x="300116" y="557520"/>
                      </a:lnTo>
                      <a:lnTo>
                        <a:pt x="294007" y="579725"/>
                      </a:lnTo>
                      <a:lnTo>
                        <a:pt x="271840" y="579591"/>
                      </a:lnTo>
                      <a:lnTo>
                        <a:pt x="256601" y="607617"/>
                      </a:lnTo>
                      <a:lnTo>
                        <a:pt x="233512" y="650536"/>
                      </a:lnTo>
                      <a:lnTo>
                        <a:pt x="197671" y="703754"/>
                      </a:lnTo>
                      <a:lnTo>
                        <a:pt x="206078" y="716474"/>
                      </a:lnTo>
                      <a:lnTo>
                        <a:pt x="198046" y="731136"/>
                      </a:lnTo>
                      <a:lnTo>
                        <a:pt x="175148" y="730506"/>
                      </a:lnTo>
                      <a:lnTo>
                        <a:pt x="160159" y="764817"/>
                      </a:lnTo>
                      <a:lnTo>
                        <a:pt x="161578" y="812479"/>
                      </a:lnTo>
                      <a:lnTo>
                        <a:pt x="176330" y="830396"/>
                      </a:lnTo>
                      <a:lnTo>
                        <a:pt x="168695" y="871404"/>
                      </a:lnTo>
                      <a:lnTo>
                        <a:pt x="149488" y="894970"/>
                      </a:lnTo>
                      <a:lnTo>
                        <a:pt x="139311" y="914590"/>
                      </a:lnTo>
                      <a:lnTo>
                        <a:pt x="123827" y="893691"/>
                      </a:lnTo>
                      <a:lnTo>
                        <a:pt x="78248" y="932918"/>
                      </a:lnTo>
                      <a:lnTo>
                        <a:pt x="47474" y="940787"/>
                      </a:lnTo>
                      <a:lnTo>
                        <a:pt x="15552" y="923657"/>
                      </a:lnTo>
                      <a:lnTo>
                        <a:pt x="7298" y="887062"/>
                      </a:lnTo>
                      <a:lnTo>
                        <a:pt x="0" y="806413"/>
                      </a:lnTo>
                      <a:lnTo>
                        <a:pt x="21255" y="783385"/>
                      </a:lnTo>
                      <a:lnTo>
                        <a:pt x="82205" y="752965"/>
                      </a:lnTo>
                      <a:lnTo>
                        <a:pt x="127777" y="714966"/>
                      </a:lnTo>
                      <a:lnTo>
                        <a:pt x="170033" y="662538"/>
                      </a:lnTo>
                      <a:lnTo>
                        <a:pt x="225496" y="587638"/>
                      </a:lnTo>
                      <a:lnTo>
                        <a:pt x="264155" y="557687"/>
                      </a:lnTo>
                      <a:lnTo>
                        <a:pt x="327588" y="506761"/>
                      </a:lnTo>
                      <a:lnTo>
                        <a:pt x="378241" y="488678"/>
                      </a:lnTo>
                      <a:lnTo>
                        <a:pt x="416219" y="490881"/>
                      </a:lnTo>
                      <a:lnTo>
                        <a:pt x="451369" y="456240"/>
                      </a:lnTo>
                      <a:lnTo>
                        <a:pt x="493461" y="458105"/>
                      </a:lnTo>
                      <a:close/>
                      <a:moveTo>
                        <a:pt x="412999" y="114547"/>
                      </a:moveTo>
                      <a:lnTo>
                        <a:pt x="422165" y="133385"/>
                      </a:lnTo>
                      <a:lnTo>
                        <a:pt x="455468" y="144619"/>
                      </a:lnTo>
                      <a:lnTo>
                        <a:pt x="403906" y="164805"/>
                      </a:lnTo>
                      <a:lnTo>
                        <a:pt x="363181" y="153374"/>
                      </a:lnTo>
                      <a:lnTo>
                        <a:pt x="379111" y="140586"/>
                      </a:lnTo>
                      <a:lnTo>
                        <a:pt x="365164" y="124623"/>
                      </a:lnTo>
                      <a:close/>
                      <a:moveTo>
                        <a:pt x="276964" y="32253"/>
                      </a:moveTo>
                      <a:lnTo>
                        <a:pt x="306071" y="50571"/>
                      </a:lnTo>
                      <a:lnTo>
                        <a:pt x="382059" y="89096"/>
                      </a:lnTo>
                      <a:lnTo>
                        <a:pt x="323972" y="109109"/>
                      </a:lnTo>
                      <a:lnTo>
                        <a:pt x="311146" y="145967"/>
                      </a:lnTo>
                      <a:lnTo>
                        <a:pt x="290896" y="155303"/>
                      </a:lnTo>
                      <a:lnTo>
                        <a:pt x="279903" y="195750"/>
                      </a:lnTo>
                      <a:lnTo>
                        <a:pt x="252087" y="197630"/>
                      </a:lnTo>
                      <a:lnTo>
                        <a:pt x="202447" y="167973"/>
                      </a:lnTo>
                      <a:lnTo>
                        <a:pt x="223382" y="150477"/>
                      </a:lnTo>
                      <a:lnTo>
                        <a:pt x="188782" y="136109"/>
                      </a:lnTo>
                      <a:lnTo>
                        <a:pt x="143810" y="93529"/>
                      </a:lnTo>
                      <a:lnTo>
                        <a:pt x="125857" y="53146"/>
                      </a:lnTo>
                      <a:lnTo>
                        <a:pt x="188786" y="34382"/>
                      </a:lnTo>
                      <a:lnTo>
                        <a:pt x="201430" y="52729"/>
                      </a:lnTo>
                      <a:lnTo>
                        <a:pt x="234306" y="52003"/>
                      </a:lnTo>
                      <a:lnTo>
                        <a:pt x="243071" y="34086"/>
                      </a:lnTo>
                      <a:close/>
                      <a:moveTo>
                        <a:pt x="413807" y="0"/>
                      </a:moveTo>
                      <a:lnTo>
                        <a:pt x="472169" y="13358"/>
                      </a:lnTo>
                      <a:lnTo>
                        <a:pt x="517408" y="31960"/>
                      </a:lnTo>
                      <a:lnTo>
                        <a:pt x="483180" y="60148"/>
                      </a:lnTo>
                      <a:lnTo>
                        <a:pt x="416236" y="66258"/>
                      </a:lnTo>
                      <a:lnTo>
                        <a:pt x="348159" y="57602"/>
                      </a:lnTo>
                      <a:lnTo>
                        <a:pt x="344052" y="43215"/>
                      </a:lnTo>
                      <a:lnTo>
                        <a:pt x="310928" y="42296"/>
                      </a:lnTo>
                      <a:lnTo>
                        <a:pt x="285670" y="18064"/>
                      </a:lnTo>
                      <a:lnTo>
                        <a:pt x="356948" y="3163"/>
                      </a:lnTo>
                      <a:lnTo>
                        <a:pt x="390463" y="16002"/>
                      </a:lnTo>
                      <a:close/>
                    </a:path>
                  </a:pathLst>
                </a:custGeom>
                <a:solidFill>
                  <a:schemeClr val="accent1"/>
                </a:solidFill>
                <a:ln cap="rnd" w="3175">
                  <a:solidFill>
                    <a:srgbClr val="009fdf">
                      <a:lumMod val="60000"/>
                      <a:lumOff val="40000"/>
                    </a:srgbClr>
                  </a:solidFill>
                </a:ln>
              </p:spPr>
              <p:style>
                <a:lnRef idx="2">
                  <a:schemeClr val="accent1">
                    <a:shade val="50000"/>
                  </a:schemeClr>
                </a:lnRef>
                <a:fillRef idx="1">
                  <a:schemeClr val="accent1"/>
                </a:fillRef>
                <a:effectRef idx="0">
                  <a:schemeClr val="accent1"/>
                </a:effectRef>
                <a:fontRef idx="minor"/>
              </p:style>
              <p:txBody>
                <a:bodyPr numCol="1" spcCol="0" horzOverflow="overflow" lIns="72000" rIns="72000" tIns="72000" bIns="72000" anchor="ctr">
                  <a:noAutofit/>
                </a:bodyPr>
                <a:p>
                  <a:pPr algn="ctr" defTabSz="457200">
                    <a:lnSpc>
                      <a:spcPct val="100000"/>
                    </a:lnSpc>
                    <a:tabLst>
                      <a:tab algn="l" pos="0"/>
                    </a:tabLst>
                  </a:pPr>
                  <a:endParaRPr b="0" lang="de-DE" sz="1600" spc="-1" strike="noStrike">
                    <a:solidFill>
                      <a:srgbClr val="000000"/>
                    </a:solidFill>
                    <a:latin typeface="Arial"/>
                    <a:ea typeface="Arial"/>
                  </a:endParaRPr>
                </a:p>
              </p:txBody>
            </p:sp>
            <p:sp>
              <p:nvSpPr>
                <p:cNvPr id="486" name="Freeform 125"/>
                <p:cNvSpPr/>
                <p:nvPr/>
              </p:nvSpPr>
              <p:spPr>
                <a:xfrm>
                  <a:off x="9213120" y="3453480"/>
                  <a:ext cx="185760" cy="100080"/>
                </a:xfrm>
                <a:custGeom>
                  <a:avLst/>
                  <a:gdLst/>
                  <a:ahLst/>
                  <a:rect l="l" t="t" r="r" b="b"/>
                  <a:pathLst>
                    <a:path w="186656" h="100744">
                      <a:moveTo>
                        <a:pt x="185400" y="64005"/>
                      </a:moveTo>
                      <a:lnTo>
                        <a:pt x="183615" y="74738"/>
                      </a:lnTo>
                      <a:lnTo>
                        <a:pt x="186655" y="90524"/>
                      </a:lnTo>
                      <a:lnTo>
                        <a:pt x="184010" y="100329"/>
                      </a:lnTo>
                      <a:lnTo>
                        <a:pt x="164788" y="100743"/>
                      </a:lnTo>
                      <a:lnTo>
                        <a:pt x="137018" y="94972"/>
                      </a:lnTo>
                      <a:lnTo>
                        <a:pt x="119184" y="92612"/>
                      </a:lnTo>
                      <a:lnTo>
                        <a:pt x="105871" y="79984"/>
                      </a:lnTo>
                      <a:lnTo>
                        <a:pt x="74229" y="76761"/>
                      </a:lnTo>
                      <a:lnTo>
                        <a:pt x="44124" y="62784"/>
                      </a:lnTo>
                      <a:lnTo>
                        <a:pt x="22362" y="50523"/>
                      </a:lnTo>
                      <a:lnTo>
                        <a:pt x="0" y="41043"/>
                      </a:lnTo>
                      <a:lnTo>
                        <a:pt x="8963" y="17514"/>
                      </a:lnTo>
                      <a:lnTo>
                        <a:pt x="23609" y="6056"/>
                      </a:lnTo>
                      <a:lnTo>
                        <a:pt x="33178" y="0"/>
                      </a:lnTo>
                      <a:lnTo>
                        <a:pt x="51684" y="7781"/>
                      </a:lnTo>
                      <a:lnTo>
                        <a:pt x="74988" y="24222"/>
                      </a:lnTo>
                      <a:lnTo>
                        <a:pt x="87958" y="27835"/>
                      </a:lnTo>
                      <a:lnTo>
                        <a:pt x="95704" y="39903"/>
                      </a:lnTo>
                      <a:lnTo>
                        <a:pt x="113641" y="44846"/>
                      </a:lnTo>
                      <a:lnTo>
                        <a:pt x="132376" y="55838"/>
                      </a:lnTo>
                      <a:lnTo>
                        <a:pt x="158488" y="61566"/>
                      </a:lnTo>
                      <a:close/>
                    </a:path>
                  </a:pathLst>
                </a:custGeom>
                <a:solidFill>
                  <a:schemeClr val="accent1">
                    <a:lumMod val="20000"/>
                    <a:lumOff val="80000"/>
                  </a:schemeClr>
                </a:solidFill>
                <a:ln cap="rnd" w="3175">
                  <a:solidFill>
                    <a:srgbClr val="009fdf">
                      <a:lumMod val="60000"/>
                      <a:lumOff val="40000"/>
                    </a:srgbClr>
                  </a:solidFill>
                </a:ln>
              </p:spPr>
              <p:style>
                <a:lnRef idx="2">
                  <a:schemeClr val="accent1">
                    <a:shade val="50000"/>
                  </a:schemeClr>
                </a:lnRef>
                <a:fillRef idx="1">
                  <a:schemeClr val="accent1"/>
                </a:fillRef>
                <a:effectRef idx="0">
                  <a:schemeClr val="accent1"/>
                </a:effectRef>
                <a:fontRef idx="minor"/>
              </p:style>
              <p:txBody>
                <a:bodyPr numCol="1" spcCol="0" horzOverflow="overflow" lIns="72000" rIns="72000" tIns="50040" bIns="50040" anchor="ctr">
                  <a:noAutofit/>
                </a:bodyPr>
                <a:p>
                  <a:pPr algn="ctr" defTabSz="457200">
                    <a:lnSpc>
                      <a:spcPct val="100000"/>
                    </a:lnSpc>
                    <a:tabLst>
                      <a:tab algn="l" pos="0"/>
                    </a:tabLst>
                  </a:pPr>
                  <a:endParaRPr b="0" lang="de-DE" sz="1600" spc="-1" strike="noStrike">
                    <a:solidFill>
                      <a:srgbClr val="000000"/>
                    </a:solidFill>
                    <a:latin typeface="Arial"/>
                    <a:ea typeface="Arial"/>
                  </a:endParaRPr>
                </a:p>
              </p:txBody>
            </p:sp>
            <p:sp>
              <p:nvSpPr>
                <p:cNvPr id="487" name="Freeform 126"/>
                <p:cNvSpPr/>
                <p:nvPr/>
              </p:nvSpPr>
              <p:spPr>
                <a:xfrm>
                  <a:off x="11203920" y="5002560"/>
                  <a:ext cx="276120" cy="333000"/>
                </a:xfrm>
                <a:custGeom>
                  <a:avLst/>
                  <a:gdLst>
                    <a:gd name="textAreaLeft" fmla="*/ 0 w 276120"/>
                    <a:gd name="textAreaRight" fmla="*/ 276480 w 276120"/>
                    <a:gd name="textAreaTop" fmla="*/ 0 h 333000"/>
                    <a:gd name="textAreaBottom" fmla="*/ 333360 h 333000"/>
                  </a:gdLst>
                  <a:ahLst/>
                  <a:rect l="textAreaLeft" t="textAreaTop" r="textAreaRight" b="textAreaBottom"/>
                  <a:pathLst>
                    <a:path w="277176" h="334138">
                      <a:moveTo>
                        <a:pt x="145177" y="161119"/>
                      </a:moveTo>
                      <a:lnTo>
                        <a:pt x="150297" y="172762"/>
                      </a:lnTo>
                      <a:lnTo>
                        <a:pt x="155534" y="184115"/>
                      </a:lnTo>
                      <a:lnTo>
                        <a:pt x="171949" y="172972"/>
                      </a:lnTo>
                      <a:lnTo>
                        <a:pt x="178625" y="184587"/>
                      </a:lnTo>
                      <a:lnTo>
                        <a:pt x="178645" y="196203"/>
                      </a:lnTo>
                      <a:lnTo>
                        <a:pt x="170058" y="209040"/>
                      </a:lnTo>
                      <a:lnTo>
                        <a:pt x="154968" y="229575"/>
                      </a:lnTo>
                      <a:lnTo>
                        <a:pt x="143161" y="240847"/>
                      </a:lnTo>
                      <a:lnTo>
                        <a:pt x="151676" y="254384"/>
                      </a:lnTo>
                      <a:lnTo>
                        <a:pt x="133867" y="254733"/>
                      </a:lnTo>
                      <a:lnTo>
                        <a:pt x="114116" y="265383"/>
                      </a:lnTo>
                      <a:lnTo>
                        <a:pt x="107934" y="283979"/>
                      </a:lnTo>
                      <a:lnTo>
                        <a:pt x="94813" y="312967"/>
                      </a:lnTo>
                      <a:lnTo>
                        <a:pt x="76687" y="325866"/>
                      </a:lnTo>
                      <a:lnTo>
                        <a:pt x="65167" y="334138"/>
                      </a:lnTo>
                      <a:lnTo>
                        <a:pt x="43908" y="333521"/>
                      </a:lnTo>
                      <a:lnTo>
                        <a:pt x="28960" y="323970"/>
                      </a:lnTo>
                      <a:lnTo>
                        <a:pt x="3872" y="321938"/>
                      </a:lnTo>
                      <a:lnTo>
                        <a:pt x="0" y="311348"/>
                      </a:lnTo>
                      <a:lnTo>
                        <a:pt x="12401" y="290080"/>
                      </a:lnTo>
                      <a:lnTo>
                        <a:pt x="41424" y="262028"/>
                      </a:lnTo>
                      <a:lnTo>
                        <a:pt x="56327" y="256711"/>
                      </a:lnTo>
                      <a:lnTo>
                        <a:pt x="72911" y="245990"/>
                      </a:lnTo>
                      <a:lnTo>
                        <a:pt x="92695" y="231300"/>
                      </a:lnTo>
                      <a:lnTo>
                        <a:pt x="106548" y="216814"/>
                      </a:lnTo>
                      <a:lnTo>
                        <a:pt x="116812" y="196132"/>
                      </a:lnTo>
                      <a:lnTo>
                        <a:pt x="125560" y="189143"/>
                      </a:lnTo>
                      <a:lnTo>
                        <a:pt x="128988" y="173779"/>
                      </a:lnTo>
                      <a:close/>
                      <a:moveTo>
                        <a:pt x="149989" y="0"/>
                      </a:moveTo>
                      <a:lnTo>
                        <a:pt x="162552" y="14494"/>
                      </a:lnTo>
                      <a:lnTo>
                        <a:pt x="180512" y="21280"/>
                      </a:lnTo>
                      <a:lnTo>
                        <a:pt x="187036" y="44695"/>
                      </a:lnTo>
                      <a:lnTo>
                        <a:pt x="203762" y="72572"/>
                      </a:lnTo>
                      <a:lnTo>
                        <a:pt x="204246" y="54462"/>
                      </a:lnTo>
                      <a:lnTo>
                        <a:pt x="214663" y="61683"/>
                      </a:lnTo>
                      <a:lnTo>
                        <a:pt x="218117" y="81793"/>
                      </a:lnTo>
                      <a:lnTo>
                        <a:pt x="236692" y="90494"/>
                      </a:lnTo>
                      <a:lnTo>
                        <a:pt x="252286" y="92634"/>
                      </a:lnTo>
                      <a:lnTo>
                        <a:pt x="265479" y="82445"/>
                      </a:lnTo>
                      <a:lnTo>
                        <a:pt x="277176" y="85528"/>
                      </a:lnTo>
                      <a:lnTo>
                        <a:pt x="271582" y="109305"/>
                      </a:lnTo>
                      <a:lnTo>
                        <a:pt x="264558" y="125036"/>
                      </a:lnTo>
                      <a:lnTo>
                        <a:pt x="246935" y="124480"/>
                      </a:lnTo>
                      <a:lnTo>
                        <a:pt x="240772" y="132703"/>
                      </a:lnTo>
                      <a:lnTo>
                        <a:pt x="242918" y="144379"/>
                      </a:lnTo>
                      <a:lnTo>
                        <a:pt x="239522" y="149442"/>
                      </a:lnTo>
                      <a:lnTo>
                        <a:pt x="230800" y="164151"/>
                      </a:lnTo>
                      <a:lnTo>
                        <a:pt x="219362" y="182948"/>
                      </a:lnTo>
                      <a:lnTo>
                        <a:pt x="201522" y="193945"/>
                      </a:lnTo>
                      <a:lnTo>
                        <a:pt x="197559" y="186702"/>
                      </a:lnTo>
                      <a:lnTo>
                        <a:pt x="187935" y="182733"/>
                      </a:lnTo>
                      <a:lnTo>
                        <a:pt x="201246" y="160170"/>
                      </a:lnTo>
                      <a:lnTo>
                        <a:pt x="193687" y="145167"/>
                      </a:lnTo>
                      <a:lnTo>
                        <a:pt x="168848" y="134305"/>
                      </a:lnTo>
                      <a:lnTo>
                        <a:pt x="169499" y="124502"/>
                      </a:lnTo>
                      <a:lnTo>
                        <a:pt x="186177" y="115089"/>
                      </a:lnTo>
                      <a:lnTo>
                        <a:pt x="190070" y="94415"/>
                      </a:lnTo>
                      <a:lnTo>
                        <a:pt x="188998" y="77150"/>
                      </a:lnTo>
                      <a:lnTo>
                        <a:pt x="179649" y="59356"/>
                      </a:lnTo>
                      <a:lnTo>
                        <a:pt x="180273" y="54690"/>
                      </a:lnTo>
                      <a:lnTo>
                        <a:pt x="169239" y="43788"/>
                      </a:lnTo>
                      <a:lnTo>
                        <a:pt x="151077" y="20537"/>
                      </a:lnTo>
                      <a:lnTo>
                        <a:pt x="141424" y="2043"/>
                      </a:lnTo>
                      <a:close/>
                    </a:path>
                  </a:pathLst>
                </a:custGeom>
                <a:solidFill>
                  <a:schemeClr val="accent1"/>
                </a:solidFill>
                <a:ln cap="rnd" w="3175">
                  <a:solidFill>
                    <a:srgbClr val="009fdf">
                      <a:lumMod val="60000"/>
                      <a:lumOff val="40000"/>
                    </a:srgbClr>
                  </a:solidFill>
                </a:ln>
              </p:spPr>
              <p:style>
                <a:lnRef idx="2">
                  <a:schemeClr val="accent1">
                    <a:shade val="50000"/>
                  </a:schemeClr>
                </a:lnRef>
                <a:fillRef idx="1">
                  <a:schemeClr val="accent1"/>
                </a:fillRef>
                <a:effectRef idx="0">
                  <a:schemeClr val="accent1"/>
                </a:effectRef>
                <a:fontRef idx="minor"/>
              </p:style>
              <p:txBody>
                <a:bodyPr numCol="1" spcCol="0" horzOverflow="overflow" lIns="72000" rIns="72000" tIns="72000" bIns="72000" anchor="ctr">
                  <a:noAutofit/>
                </a:bodyPr>
                <a:p>
                  <a:pPr algn="ctr" defTabSz="457200">
                    <a:lnSpc>
                      <a:spcPct val="100000"/>
                    </a:lnSpc>
                    <a:tabLst>
                      <a:tab algn="l" pos="0"/>
                    </a:tabLst>
                  </a:pPr>
                  <a:endParaRPr b="0" lang="de-DE" sz="1600" spc="-1" strike="noStrike">
                    <a:solidFill>
                      <a:srgbClr val="000000"/>
                    </a:solidFill>
                    <a:latin typeface="Arial"/>
                    <a:ea typeface="Arial"/>
                  </a:endParaRPr>
                </a:p>
              </p:txBody>
            </p:sp>
            <p:sp>
              <p:nvSpPr>
                <p:cNvPr id="488" name="Freeform 127"/>
                <p:cNvSpPr/>
                <p:nvPr/>
              </p:nvSpPr>
              <p:spPr>
                <a:xfrm>
                  <a:off x="8566200" y="3553920"/>
                  <a:ext cx="179640" cy="234720"/>
                </a:xfrm>
                <a:custGeom>
                  <a:avLst/>
                  <a:gdLst>
                    <a:gd name="textAreaLeft" fmla="*/ 0 w 179640"/>
                    <a:gd name="textAreaRight" fmla="*/ 180000 w 179640"/>
                    <a:gd name="textAreaTop" fmla="*/ 0 h 234720"/>
                    <a:gd name="textAreaBottom" fmla="*/ 235080 h 234720"/>
                  </a:gdLst>
                  <a:ahLst/>
                  <a:rect l="textAreaLeft" t="textAreaTop" r="textAreaRight" b="textAreaBottom"/>
                  <a:pathLst>
                    <a:path w="180231" h="235710">
                      <a:moveTo>
                        <a:pt x="101490" y="36263"/>
                      </a:moveTo>
                      <a:lnTo>
                        <a:pt x="111838" y="53007"/>
                      </a:lnTo>
                      <a:lnTo>
                        <a:pt x="124726" y="61884"/>
                      </a:lnTo>
                      <a:lnTo>
                        <a:pt x="141657" y="65075"/>
                      </a:lnTo>
                      <a:lnTo>
                        <a:pt x="155328" y="69522"/>
                      </a:lnTo>
                      <a:lnTo>
                        <a:pt x="165745" y="83486"/>
                      </a:lnTo>
                      <a:lnTo>
                        <a:pt x="171968" y="91559"/>
                      </a:lnTo>
                      <a:lnTo>
                        <a:pt x="180231" y="94635"/>
                      </a:lnTo>
                      <a:lnTo>
                        <a:pt x="180186" y="100047"/>
                      </a:lnTo>
                      <a:lnTo>
                        <a:pt x="171785" y="114480"/>
                      </a:lnTo>
                      <a:lnTo>
                        <a:pt x="168097" y="121264"/>
                      </a:lnTo>
                      <a:lnTo>
                        <a:pt x="158373" y="128985"/>
                      </a:lnTo>
                      <a:lnTo>
                        <a:pt x="149760" y="145487"/>
                      </a:lnTo>
                      <a:lnTo>
                        <a:pt x="139288" y="144225"/>
                      </a:lnTo>
                      <a:lnTo>
                        <a:pt x="134488" y="149959"/>
                      </a:lnTo>
                      <a:lnTo>
                        <a:pt x="130781" y="162133"/>
                      </a:lnTo>
                      <a:lnTo>
                        <a:pt x="133618" y="178147"/>
                      </a:lnTo>
                      <a:lnTo>
                        <a:pt x="131441" y="181086"/>
                      </a:lnTo>
                      <a:lnTo>
                        <a:pt x="120820" y="181007"/>
                      </a:lnTo>
                      <a:lnTo>
                        <a:pt x="106403" y="189938"/>
                      </a:lnTo>
                      <a:lnTo>
                        <a:pt x="104153" y="201562"/>
                      </a:lnTo>
                      <a:lnTo>
                        <a:pt x="98875" y="206591"/>
                      </a:lnTo>
                      <a:lnTo>
                        <a:pt x="84517" y="206399"/>
                      </a:lnTo>
                      <a:lnTo>
                        <a:pt x="75478" y="212395"/>
                      </a:lnTo>
                      <a:lnTo>
                        <a:pt x="75593" y="222002"/>
                      </a:lnTo>
                      <a:lnTo>
                        <a:pt x="64423" y="228599"/>
                      </a:lnTo>
                      <a:lnTo>
                        <a:pt x="51688" y="226359"/>
                      </a:lnTo>
                      <a:lnTo>
                        <a:pt x="36251" y="234367"/>
                      </a:lnTo>
                      <a:lnTo>
                        <a:pt x="25589" y="235710"/>
                      </a:lnTo>
                      <a:lnTo>
                        <a:pt x="18054" y="219117"/>
                      </a:lnTo>
                      <a:lnTo>
                        <a:pt x="0" y="179763"/>
                      </a:lnTo>
                      <a:lnTo>
                        <a:pt x="69247" y="155798"/>
                      </a:lnTo>
                      <a:lnTo>
                        <a:pt x="84636" y="107572"/>
                      </a:lnTo>
                      <a:lnTo>
                        <a:pt x="74057" y="90391"/>
                      </a:lnTo>
                      <a:lnTo>
                        <a:pt x="74660" y="80600"/>
                      </a:lnTo>
                      <a:lnTo>
                        <a:pt x="81385" y="70517"/>
                      </a:lnTo>
                      <a:lnTo>
                        <a:pt x="81450" y="60540"/>
                      </a:lnTo>
                      <a:lnTo>
                        <a:pt x="91897" y="55725"/>
                      </a:lnTo>
                      <a:lnTo>
                        <a:pt x="87809" y="52323"/>
                      </a:lnTo>
                      <a:lnTo>
                        <a:pt x="89704" y="36359"/>
                      </a:lnTo>
                      <a:close/>
                      <a:moveTo>
                        <a:pt x="100687" y="0"/>
                      </a:moveTo>
                      <a:lnTo>
                        <a:pt x="103541" y="2148"/>
                      </a:lnTo>
                      <a:lnTo>
                        <a:pt x="101365" y="12355"/>
                      </a:lnTo>
                      <a:lnTo>
                        <a:pt x="98356" y="16828"/>
                      </a:lnTo>
                      <a:lnTo>
                        <a:pt x="93965" y="8417"/>
                      </a:lnTo>
                      <a:close/>
                    </a:path>
                  </a:pathLst>
                </a:custGeom>
                <a:solidFill>
                  <a:schemeClr val="accent1">
                    <a:lumMod val="20000"/>
                    <a:lumOff val="80000"/>
                  </a:schemeClr>
                </a:solidFill>
                <a:ln cap="rnd" w="3175">
                  <a:solidFill>
                    <a:srgbClr val="009fdf">
                      <a:lumMod val="60000"/>
                      <a:lumOff val="40000"/>
                    </a:srgbClr>
                  </a:solidFill>
                </a:ln>
              </p:spPr>
              <p:style>
                <a:lnRef idx="2">
                  <a:schemeClr val="accent1">
                    <a:shade val="50000"/>
                  </a:schemeClr>
                </a:lnRef>
                <a:fillRef idx="1">
                  <a:schemeClr val="accent1"/>
                </a:fillRef>
                <a:effectRef idx="0">
                  <a:schemeClr val="accent1"/>
                </a:effectRef>
                <a:fontRef idx="minor"/>
              </p:style>
              <p:txBody>
                <a:bodyPr numCol="1" spcCol="0" horzOverflow="overflow" lIns="72000" rIns="72000" tIns="72000" bIns="72000" anchor="ctr">
                  <a:noAutofit/>
                </a:bodyPr>
                <a:p>
                  <a:pPr algn="ctr" defTabSz="457200">
                    <a:lnSpc>
                      <a:spcPct val="100000"/>
                    </a:lnSpc>
                    <a:tabLst>
                      <a:tab algn="l" pos="0"/>
                    </a:tabLst>
                  </a:pPr>
                  <a:endParaRPr b="0" lang="de-DE" sz="1600" spc="-1" strike="noStrike">
                    <a:solidFill>
                      <a:srgbClr val="000000"/>
                    </a:solidFill>
                    <a:latin typeface="Arial"/>
                    <a:ea typeface="Arial"/>
                  </a:endParaRPr>
                </a:p>
              </p:txBody>
            </p:sp>
            <p:sp>
              <p:nvSpPr>
                <p:cNvPr id="489" name="Freeform 128"/>
                <p:cNvSpPr/>
                <p:nvPr/>
              </p:nvSpPr>
              <p:spPr>
                <a:xfrm>
                  <a:off x="8770680" y="3279960"/>
                  <a:ext cx="390240" cy="340200"/>
                </a:xfrm>
                <a:custGeom>
                  <a:avLst/>
                  <a:gdLst/>
                  <a:ahLst/>
                  <a:rect l="l" t="t" r="r" b="b"/>
                  <a:pathLst>
                    <a:path w="391557" h="341204">
                      <a:moveTo>
                        <a:pt x="329708" y="0"/>
                      </a:moveTo>
                      <a:lnTo>
                        <a:pt x="346763" y="12367"/>
                      </a:lnTo>
                      <a:lnTo>
                        <a:pt x="353594" y="32652"/>
                      </a:lnTo>
                      <a:lnTo>
                        <a:pt x="391556" y="43279"/>
                      </a:lnTo>
                      <a:lnTo>
                        <a:pt x="369264" y="65264"/>
                      </a:lnTo>
                      <a:lnTo>
                        <a:pt x="343535" y="69137"/>
                      </a:lnTo>
                      <a:lnTo>
                        <a:pt x="308522" y="62777"/>
                      </a:lnTo>
                      <a:lnTo>
                        <a:pt x="297206" y="74010"/>
                      </a:lnTo>
                      <a:lnTo>
                        <a:pt x="305385" y="96731"/>
                      </a:lnTo>
                      <a:lnTo>
                        <a:pt x="313401" y="114180"/>
                      </a:lnTo>
                      <a:lnTo>
                        <a:pt x="332030" y="126863"/>
                      </a:lnTo>
                      <a:lnTo>
                        <a:pt x="312347" y="141667"/>
                      </a:lnTo>
                      <a:lnTo>
                        <a:pt x="312704" y="159832"/>
                      </a:lnTo>
                      <a:lnTo>
                        <a:pt x="290297" y="185262"/>
                      </a:lnTo>
                      <a:lnTo>
                        <a:pt x="275826" y="210820"/>
                      </a:lnTo>
                      <a:lnTo>
                        <a:pt x="251680" y="237062"/>
                      </a:lnTo>
                      <a:lnTo>
                        <a:pt x="224877" y="235164"/>
                      </a:lnTo>
                      <a:lnTo>
                        <a:pt x="199438" y="261256"/>
                      </a:lnTo>
                      <a:lnTo>
                        <a:pt x="214546" y="272388"/>
                      </a:lnTo>
                      <a:lnTo>
                        <a:pt x="217176" y="291403"/>
                      </a:lnTo>
                      <a:lnTo>
                        <a:pt x="230145" y="303890"/>
                      </a:lnTo>
                      <a:lnTo>
                        <a:pt x="234728" y="324957"/>
                      </a:lnTo>
                      <a:lnTo>
                        <a:pt x="183931" y="324893"/>
                      </a:lnTo>
                      <a:lnTo>
                        <a:pt x="168559" y="341203"/>
                      </a:lnTo>
                      <a:lnTo>
                        <a:pt x="151640" y="335027"/>
                      </a:lnTo>
                      <a:lnTo>
                        <a:pt x="144756" y="317433"/>
                      </a:lnTo>
                      <a:lnTo>
                        <a:pt x="126922" y="298722"/>
                      </a:lnTo>
                      <a:lnTo>
                        <a:pt x="84394" y="303350"/>
                      </a:lnTo>
                      <a:lnTo>
                        <a:pt x="46891" y="303809"/>
                      </a:lnTo>
                      <a:lnTo>
                        <a:pt x="14383" y="307254"/>
                      </a:lnTo>
                      <a:lnTo>
                        <a:pt x="23081" y="278620"/>
                      </a:lnTo>
                      <a:lnTo>
                        <a:pt x="56377" y="265831"/>
                      </a:lnTo>
                      <a:lnTo>
                        <a:pt x="54467" y="254399"/>
                      </a:lnTo>
                      <a:lnTo>
                        <a:pt x="43423" y="250374"/>
                      </a:lnTo>
                      <a:lnTo>
                        <a:pt x="42786" y="228408"/>
                      </a:lnTo>
                      <a:lnTo>
                        <a:pt x="20719" y="217400"/>
                      </a:lnTo>
                      <a:lnTo>
                        <a:pt x="11427" y="202232"/>
                      </a:lnTo>
                      <a:lnTo>
                        <a:pt x="0" y="188978"/>
                      </a:lnTo>
                      <a:lnTo>
                        <a:pt x="38678" y="201847"/>
                      </a:lnTo>
                      <a:lnTo>
                        <a:pt x="61770" y="198078"/>
                      </a:lnTo>
                      <a:lnTo>
                        <a:pt x="75567" y="201287"/>
                      </a:lnTo>
                      <a:lnTo>
                        <a:pt x="80239" y="195767"/>
                      </a:lnTo>
                      <a:lnTo>
                        <a:pt x="96315" y="197980"/>
                      </a:lnTo>
                      <a:lnTo>
                        <a:pt x="126314" y="187496"/>
                      </a:lnTo>
                      <a:lnTo>
                        <a:pt x="127121" y="165952"/>
                      </a:lnTo>
                      <a:lnTo>
                        <a:pt x="139988" y="151558"/>
                      </a:lnTo>
                      <a:lnTo>
                        <a:pt x="157173" y="151603"/>
                      </a:lnTo>
                      <a:lnTo>
                        <a:pt x="159696" y="144468"/>
                      </a:lnTo>
                      <a:lnTo>
                        <a:pt x="177337" y="141139"/>
                      </a:lnTo>
                      <a:lnTo>
                        <a:pt x="185872" y="143517"/>
                      </a:lnTo>
                      <a:lnTo>
                        <a:pt x="194899" y="136331"/>
                      </a:lnTo>
                      <a:lnTo>
                        <a:pt x="193624" y="120939"/>
                      </a:lnTo>
                      <a:lnTo>
                        <a:pt x="203425" y="105406"/>
                      </a:lnTo>
                      <a:lnTo>
                        <a:pt x="218116" y="98875"/>
                      </a:lnTo>
                      <a:lnTo>
                        <a:pt x="209044" y="81743"/>
                      </a:lnTo>
                      <a:lnTo>
                        <a:pt x="231001" y="82554"/>
                      </a:lnTo>
                      <a:lnTo>
                        <a:pt x="237348" y="73198"/>
                      </a:lnTo>
                      <a:lnTo>
                        <a:pt x="236385" y="63188"/>
                      </a:lnTo>
                      <a:lnTo>
                        <a:pt x="247881" y="52211"/>
                      </a:lnTo>
                      <a:lnTo>
                        <a:pt x="245243" y="39169"/>
                      </a:lnTo>
                      <a:lnTo>
                        <a:pt x="239785" y="28017"/>
                      </a:lnTo>
                      <a:lnTo>
                        <a:pt x="253264" y="16518"/>
                      </a:lnTo>
                      <a:lnTo>
                        <a:pt x="278049" y="10958"/>
                      </a:lnTo>
                      <a:lnTo>
                        <a:pt x="304537" y="7880"/>
                      </a:lnTo>
                      <a:lnTo>
                        <a:pt x="316271" y="2980"/>
                      </a:lnTo>
                      <a:close/>
                    </a:path>
                  </a:pathLst>
                </a:custGeom>
                <a:solidFill>
                  <a:schemeClr val="accent1"/>
                </a:solidFill>
                <a:ln cap="rnd" w="3175">
                  <a:solidFill>
                    <a:srgbClr val="009fdf">
                      <a:lumMod val="60000"/>
                      <a:lumOff val="40000"/>
                    </a:srgbClr>
                  </a:solidFill>
                </a:ln>
              </p:spPr>
              <p:style>
                <a:lnRef idx="2">
                  <a:schemeClr val="accent1">
                    <a:shade val="50000"/>
                  </a:schemeClr>
                </a:lnRef>
                <a:fillRef idx="1">
                  <a:schemeClr val="accent1"/>
                </a:fillRef>
                <a:effectRef idx="0">
                  <a:schemeClr val="accent1"/>
                </a:effectRef>
                <a:fontRef idx="minor"/>
              </p:style>
              <p:txBody>
                <a:bodyPr numCol="1" spcCol="0" horzOverflow="overflow" lIns="72000" rIns="72000" tIns="72000" bIns="72000" anchor="ctr">
                  <a:noAutofit/>
                </a:bodyPr>
                <a:p>
                  <a:pPr algn="ctr" defTabSz="457200">
                    <a:lnSpc>
                      <a:spcPct val="100000"/>
                    </a:lnSpc>
                    <a:tabLst>
                      <a:tab algn="l" pos="0"/>
                    </a:tabLst>
                  </a:pPr>
                  <a:endParaRPr b="0" lang="de-DE" sz="1600" spc="-1" strike="noStrike">
                    <a:solidFill>
                      <a:srgbClr val="000000"/>
                    </a:solidFill>
                    <a:latin typeface="Arial"/>
                    <a:ea typeface="Arial"/>
                  </a:endParaRPr>
                </a:p>
              </p:txBody>
            </p:sp>
            <p:sp>
              <p:nvSpPr>
                <p:cNvPr id="490" name="Freeform 129"/>
                <p:cNvSpPr/>
                <p:nvPr/>
              </p:nvSpPr>
              <p:spPr>
                <a:xfrm>
                  <a:off x="10067400" y="3745080"/>
                  <a:ext cx="215280" cy="302040"/>
                </a:xfrm>
                <a:custGeom>
                  <a:avLst/>
                  <a:gdLst>
                    <a:gd name="textAreaLeft" fmla="*/ 0 w 215280"/>
                    <a:gd name="textAreaRight" fmla="*/ 215640 w 215280"/>
                    <a:gd name="textAreaTop" fmla="*/ 0 h 302040"/>
                    <a:gd name="textAreaBottom" fmla="*/ 302400 h 302040"/>
                  </a:gdLst>
                  <a:ahLst/>
                  <a:rect l="textAreaLeft" t="textAreaTop" r="textAreaRight" b="textAreaBottom"/>
                  <a:pathLst>
                    <a:path w="216127" h="303029">
                      <a:moveTo>
                        <a:pt x="190152" y="205988"/>
                      </a:moveTo>
                      <a:lnTo>
                        <a:pt x="208862" y="217033"/>
                      </a:lnTo>
                      <a:lnTo>
                        <a:pt x="210799" y="228750"/>
                      </a:lnTo>
                      <a:lnTo>
                        <a:pt x="212420" y="237301"/>
                      </a:lnTo>
                      <a:lnTo>
                        <a:pt x="214767" y="252734"/>
                      </a:lnTo>
                      <a:lnTo>
                        <a:pt x="216127" y="265754"/>
                      </a:lnTo>
                      <a:lnTo>
                        <a:pt x="208264" y="286971"/>
                      </a:lnTo>
                      <a:lnTo>
                        <a:pt x="199830" y="263333"/>
                      </a:lnTo>
                      <a:lnTo>
                        <a:pt x="189038" y="275099"/>
                      </a:lnTo>
                      <a:lnTo>
                        <a:pt x="196408" y="292175"/>
                      </a:lnTo>
                      <a:lnTo>
                        <a:pt x="189791" y="303029"/>
                      </a:lnTo>
                      <a:lnTo>
                        <a:pt x="162630" y="289587"/>
                      </a:lnTo>
                      <a:lnTo>
                        <a:pt x="156142" y="272811"/>
                      </a:lnTo>
                      <a:lnTo>
                        <a:pt x="163181" y="261781"/>
                      </a:lnTo>
                      <a:lnTo>
                        <a:pt x="148559" y="250803"/>
                      </a:lnTo>
                      <a:lnTo>
                        <a:pt x="141308" y="260429"/>
                      </a:lnTo>
                      <a:lnTo>
                        <a:pt x="130445" y="259536"/>
                      </a:lnTo>
                      <a:lnTo>
                        <a:pt x="113364" y="272480"/>
                      </a:lnTo>
                      <a:lnTo>
                        <a:pt x="109543" y="265691"/>
                      </a:lnTo>
                      <a:lnTo>
                        <a:pt x="118600" y="246125"/>
                      </a:lnTo>
                      <a:lnTo>
                        <a:pt x="133144" y="239590"/>
                      </a:lnTo>
                      <a:lnTo>
                        <a:pt x="145731" y="230831"/>
                      </a:lnTo>
                      <a:lnTo>
                        <a:pt x="153890" y="241354"/>
                      </a:lnTo>
                      <a:lnTo>
                        <a:pt x="171440" y="234989"/>
                      </a:lnTo>
                      <a:lnTo>
                        <a:pt x="175206" y="224612"/>
                      </a:lnTo>
                      <a:lnTo>
                        <a:pt x="191520" y="223993"/>
                      </a:lnTo>
                      <a:close/>
                      <a:moveTo>
                        <a:pt x="159355" y="171633"/>
                      </a:moveTo>
                      <a:lnTo>
                        <a:pt x="157151" y="193903"/>
                      </a:lnTo>
                      <a:lnTo>
                        <a:pt x="148858" y="201567"/>
                      </a:lnTo>
                      <a:lnTo>
                        <a:pt x="141628" y="216284"/>
                      </a:lnTo>
                      <a:lnTo>
                        <a:pt x="134379" y="223174"/>
                      </a:lnTo>
                      <a:lnTo>
                        <a:pt x="120164" y="207083"/>
                      </a:lnTo>
                      <a:lnTo>
                        <a:pt x="124919" y="200845"/>
                      </a:lnTo>
                      <a:lnTo>
                        <a:pt x="130713" y="194314"/>
                      </a:lnTo>
                      <a:lnTo>
                        <a:pt x="133260" y="179829"/>
                      </a:lnTo>
                      <a:lnTo>
                        <a:pt x="145989" y="178457"/>
                      </a:lnTo>
                      <a:lnTo>
                        <a:pt x="142270" y="194169"/>
                      </a:lnTo>
                      <a:close/>
                      <a:moveTo>
                        <a:pt x="53949" y="168432"/>
                      </a:moveTo>
                      <a:lnTo>
                        <a:pt x="58062" y="187476"/>
                      </a:lnTo>
                      <a:lnTo>
                        <a:pt x="42823" y="200318"/>
                      </a:lnTo>
                      <a:lnTo>
                        <a:pt x="30707" y="216328"/>
                      </a:lnTo>
                      <a:lnTo>
                        <a:pt x="0" y="238398"/>
                      </a:lnTo>
                      <a:lnTo>
                        <a:pt x="11316" y="222134"/>
                      </a:lnTo>
                      <a:lnTo>
                        <a:pt x="27991" y="207755"/>
                      </a:lnTo>
                      <a:lnTo>
                        <a:pt x="41851" y="191629"/>
                      </a:lnTo>
                      <a:close/>
                      <a:moveTo>
                        <a:pt x="108703" y="156220"/>
                      </a:moveTo>
                      <a:lnTo>
                        <a:pt x="122558" y="163463"/>
                      </a:lnTo>
                      <a:lnTo>
                        <a:pt x="137248" y="163428"/>
                      </a:lnTo>
                      <a:lnTo>
                        <a:pt x="136802" y="173193"/>
                      </a:lnTo>
                      <a:lnTo>
                        <a:pt x="126111" y="183111"/>
                      </a:lnTo>
                      <a:lnTo>
                        <a:pt x="111451" y="190119"/>
                      </a:lnTo>
                      <a:lnTo>
                        <a:pt x="110638" y="179273"/>
                      </a:lnTo>
                      <a:lnTo>
                        <a:pt x="112277" y="167352"/>
                      </a:lnTo>
                      <a:close/>
                      <a:moveTo>
                        <a:pt x="163714" y="140620"/>
                      </a:moveTo>
                      <a:lnTo>
                        <a:pt x="185882" y="141137"/>
                      </a:lnTo>
                      <a:lnTo>
                        <a:pt x="192239" y="149877"/>
                      </a:lnTo>
                      <a:lnTo>
                        <a:pt x="198723" y="175993"/>
                      </a:lnTo>
                      <a:lnTo>
                        <a:pt x="180914" y="169793"/>
                      </a:lnTo>
                      <a:lnTo>
                        <a:pt x="181395" y="177635"/>
                      </a:lnTo>
                      <a:lnTo>
                        <a:pt x="187043" y="192038"/>
                      </a:lnTo>
                      <a:lnTo>
                        <a:pt x="176064" y="197263"/>
                      </a:lnTo>
                      <a:lnTo>
                        <a:pt x="175103" y="180853"/>
                      </a:lnTo>
                      <a:lnTo>
                        <a:pt x="168153" y="179641"/>
                      </a:lnTo>
                      <a:lnTo>
                        <a:pt x="164539" y="165493"/>
                      </a:lnTo>
                      <a:lnTo>
                        <a:pt x="178123" y="167359"/>
                      </a:lnTo>
                      <a:lnTo>
                        <a:pt x="177822" y="158503"/>
                      </a:lnTo>
                      <a:close/>
                      <a:moveTo>
                        <a:pt x="72691" y="119295"/>
                      </a:moveTo>
                      <a:lnTo>
                        <a:pt x="92466" y="120158"/>
                      </a:lnTo>
                      <a:lnTo>
                        <a:pt x="100482" y="128614"/>
                      </a:lnTo>
                      <a:lnTo>
                        <a:pt x="94360" y="148873"/>
                      </a:lnTo>
                      <a:lnTo>
                        <a:pt x="84474" y="137180"/>
                      </a:lnTo>
                      <a:close/>
                      <a:moveTo>
                        <a:pt x="81750" y="0"/>
                      </a:moveTo>
                      <a:lnTo>
                        <a:pt x="95725" y="27"/>
                      </a:lnTo>
                      <a:lnTo>
                        <a:pt x="109951" y="6840"/>
                      </a:lnTo>
                      <a:lnTo>
                        <a:pt x="117070" y="627"/>
                      </a:lnTo>
                      <a:lnTo>
                        <a:pt x="119169" y="6690"/>
                      </a:lnTo>
                      <a:lnTo>
                        <a:pt x="115414" y="16571"/>
                      </a:lnTo>
                      <a:lnTo>
                        <a:pt x="123294" y="33619"/>
                      </a:lnTo>
                      <a:lnTo>
                        <a:pt x="117215" y="53335"/>
                      </a:lnTo>
                      <a:lnTo>
                        <a:pt x="103607" y="61183"/>
                      </a:lnTo>
                      <a:lnTo>
                        <a:pt x="99967" y="80238"/>
                      </a:lnTo>
                      <a:lnTo>
                        <a:pt x="105131" y="99018"/>
                      </a:lnTo>
                      <a:lnTo>
                        <a:pt x="117368" y="101612"/>
                      </a:lnTo>
                      <a:lnTo>
                        <a:pt x="127578" y="98826"/>
                      </a:lnTo>
                      <a:lnTo>
                        <a:pt x="156409" y="111873"/>
                      </a:lnTo>
                      <a:lnTo>
                        <a:pt x="154212" y="124665"/>
                      </a:lnTo>
                      <a:lnTo>
                        <a:pt x="161741" y="130305"/>
                      </a:lnTo>
                      <a:lnTo>
                        <a:pt x="159344" y="141114"/>
                      </a:lnTo>
                      <a:lnTo>
                        <a:pt x="141353" y="129601"/>
                      </a:lnTo>
                      <a:lnTo>
                        <a:pt x="132827" y="117262"/>
                      </a:lnTo>
                      <a:lnTo>
                        <a:pt x="126888" y="125885"/>
                      </a:lnTo>
                      <a:lnTo>
                        <a:pt x="112191" y="111818"/>
                      </a:lnTo>
                      <a:lnTo>
                        <a:pt x="91225" y="115293"/>
                      </a:lnTo>
                      <a:lnTo>
                        <a:pt x="79736" y="110097"/>
                      </a:lnTo>
                      <a:lnTo>
                        <a:pt x="80907" y="100368"/>
                      </a:lnTo>
                      <a:lnTo>
                        <a:pt x="88119" y="94376"/>
                      </a:lnTo>
                      <a:lnTo>
                        <a:pt x="81230" y="88924"/>
                      </a:lnTo>
                      <a:lnTo>
                        <a:pt x="78248" y="97418"/>
                      </a:lnTo>
                      <a:lnTo>
                        <a:pt x="66851" y="83871"/>
                      </a:lnTo>
                      <a:lnTo>
                        <a:pt x="63400" y="73589"/>
                      </a:lnTo>
                      <a:lnTo>
                        <a:pt x="62543" y="50935"/>
                      </a:lnTo>
                      <a:lnTo>
                        <a:pt x="71838" y="58730"/>
                      </a:lnTo>
                      <a:lnTo>
                        <a:pt x="74229" y="21598"/>
                      </a:lnTo>
                      <a:close/>
                    </a:path>
                  </a:pathLst>
                </a:custGeom>
                <a:solidFill>
                  <a:schemeClr val="accent1">
                    <a:lumMod val="20000"/>
                    <a:lumOff val="80000"/>
                  </a:schemeClr>
                </a:solidFill>
                <a:ln cap="rnd" w="3175">
                  <a:solidFill>
                    <a:srgbClr val="009fdf">
                      <a:lumMod val="60000"/>
                      <a:lumOff val="40000"/>
                    </a:srgbClr>
                  </a:solidFill>
                </a:ln>
              </p:spPr>
              <p:style>
                <a:lnRef idx="2">
                  <a:schemeClr val="accent1">
                    <a:shade val="50000"/>
                  </a:schemeClr>
                </a:lnRef>
                <a:fillRef idx="1">
                  <a:schemeClr val="accent1"/>
                </a:fillRef>
                <a:effectRef idx="0">
                  <a:schemeClr val="accent1"/>
                </a:effectRef>
                <a:fontRef idx="minor"/>
              </p:style>
              <p:txBody>
                <a:bodyPr numCol="1" spcCol="0" horzOverflow="overflow" lIns="72000" rIns="72000" tIns="72000" bIns="72000" anchor="ctr">
                  <a:noAutofit/>
                </a:bodyPr>
                <a:p>
                  <a:pPr algn="ctr" defTabSz="457200">
                    <a:lnSpc>
                      <a:spcPct val="100000"/>
                    </a:lnSpc>
                    <a:tabLst>
                      <a:tab algn="l" pos="0"/>
                    </a:tabLst>
                  </a:pPr>
                  <a:endParaRPr b="0" lang="de-DE" sz="1600" spc="-1" strike="noStrike">
                    <a:solidFill>
                      <a:srgbClr val="000000"/>
                    </a:solidFill>
                    <a:latin typeface="Arial"/>
                    <a:ea typeface="Arial"/>
                  </a:endParaRPr>
                </a:p>
              </p:txBody>
            </p:sp>
            <p:sp>
              <p:nvSpPr>
                <p:cNvPr id="491" name="Freeform 130"/>
                <p:cNvSpPr/>
                <p:nvPr/>
              </p:nvSpPr>
              <p:spPr>
                <a:xfrm>
                  <a:off x="10616400" y="4233960"/>
                  <a:ext cx="345600" cy="188280"/>
                </a:xfrm>
                <a:custGeom>
                  <a:avLst/>
                  <a:gdLst>
                    <a:gd name="textAreaLeft" fmla="*/ 0 w 345600"/>
                    <a:gd name="textAreaRight" fmla="*/ 345960 w 345600"/>
                    <a:gd name="textAreaTop" fmla="*/ 0 h 188280"/>
                    <a:gd name="textAreaBottom" fmla="*/ 188640 h 188280"/>
                  </a:gdLst>
                  <a:ahLst/>
                  <a:rect l="textAreaLeft" t="textAreaTop" r="textAreaRight" b="textAreaBottom"/>
                  <a:pathLst>
                    <a:path w="346697" h="189081">
                      <a:moveTo>
                        <a:pt x="315131" y="58771"/>
                      </a:moveTo>
                      <a:lnTo>
                        <a:pt x="317614" y="65657"/>
                      </a:lnTo>
                      <a:lnTo>
                        <a:pt x="324605" y="70908"/>
                      </a:lnTo>
                      <a:lnTo>
                        <a:pt x="335797" y="85588"/>
                      </a:lnTo>
                      <a:lnTo>
                        <a:pt x="346697" y="93453"/>
                      </a:lnTo>
                      <a:lnTo>
                        <a:pt x="343466" y="99944"/>
                      </a:lnTo>
                      <a:lnTo>
                        <a:pt x="337002" y="102262"/>
                      </a:lnTo>
                      <a:lnTo>
                        <a:pt x="327008" y="93358"/>
                      </a:lnTo>
                      <a:lnTo>
                        <a:pt x="316902" y="78643"/>
                      </a:lnTo>
                      <a:lnTo>
                        <a:pt x="311938" y="61008"/>
                      </a:lnTo>
                      <a:close/>
                      <a:moveTo>
                        <a:pt x="257063" y="38100"/>
                      </a:moveTo>
                      <a:lnTo>
                        <a:pt x="261725" y="41897"/>
                      </a:lnTo>
                      <a:lnTo>
                        <a:pt x="261262" y="54727"/>
                      </a:lnTo>
                      <a:lnTo>
                        <a:pt x="253508" y="68853"/>
                      </a:lnTo>
                      <a:lnTo>
                        <a:pt x="241420" y="70757"/>
                      </a:lnTo>
                      <a:lnTo>
                        <a:pt x="237780" y="77251"/>
                      </a:lnTo>
                      <a:lnTo>
                        <a:pt x="225155" y="82880"/>
                      </a:lnTo>
                      <a:lnTo>
                        <a:pt x="213307" y="88302"/>
                      </a:lnTo>
                      <a:lnTo>
                        <a:pt x="201045" y="88273"/>
                      </a:lnTo>
                      <a:lnTo>
                        <a:pt x="182119" y="81543"/>
                      </a:lnTo>
                      <a:lnTo>
                        <a:pt x="168937" y="75083"/>
                      </a:lnTo>
                      <a:lnTo>
                        <a:pt x="170850" y="67920"/>
                      </a:lnTo>
                      <a:lnTo>
                        <a:pt x="191545" y="71300"/>
                      </a:lnTo>
                      <a:lnTo>
                        <a:pt x="204175" y="69489"/>
                      </a:lnTo>
                      <a:lnTo>
                        <a:pt x="207653" y="58393"/>
                      </a:lnTo>
                      <a:lnTo>
                        <a:pt x="210966" y="57820"/>
                      </a:lnTo>
                      <a:lnTo>
                        <a:pt x="213208" y="70107"/>
                      </a:lnTo>
                      <a:lnTo>
                        <a:pt x="226378" y="68339"/>
                      </a:lnTo>
                      <a:lnTo>
                        <a:pt x="232892" y="60420"/>
                      </a:lnTo>
                      <a:lnTo>
                        <a:pt x="245778" y="52169"/>
                      </a:lnTo>
                      <a:lnTo>
                        <a:pt x="243237" y="38540"/>
                      </a:lnTo>
                      <a:close/>
                      <a:moveTo>
                        <a:pt x="0" y="2313"/>
                      </a:moveTo>
                      <a:lnTo>
                        <a:pt x="40050" y="18231"/>
                      </a:lnTo>
                      <a:lnTo>
                        <a:pt x="82723" y="31457"/>
                      </a:lnTo>
                      <a:lnTo>
                        <a:pt x="98632" y="43302"/>
                      </a:lnTo>
                      <a:lnTo>
                        <a:pt x="111480" y="54931"/>
                      </a:lnTo>
                      <a:lnTo>
                        <a:pt x="114992" y="68565"/>
                      </a:lnTo>
                      <a:lnTo>
                        <a:pt x="153451" y="82878"/>
                      </a:lnTo>
                      <a:lnTo>
                        <a:pt x="159061" y="95168"/>
                      </a:lnTo>
                      <a:lnTo>
                        <a:pt x="137820" y="97664"/>
                      </a:lnTo>
                      <a:lnTo>
                        <a:pt x="142921" y="113120"/>
                      </a:lnTo>
                      <a:lnTo>
                        <a:pt x="163528" y="128353"/>
                      </a:lnTo>
                      <a:lnTo>
                        <a:pt x="178520" y="153010"/>
                      </a:lnTo>
                      <a:lnTo>
                        <a:pt x="191740" y="152237"/>
                      </a:lnTo>
                      <a:lnTo>
                        <a:pt x="190812" y="162548"/>
                      </a:lnTo>
                      <a:lnTo>
                        <a:pt x="208633" y="166506"/>
                      </a:lnTo>
                      <a:lnTo>
                        <a:pt x="201711" y="170901"/>
                      </a:lnTo>
                      <a:lnTo>
                        <a:pt x="226243" y="180710"/>
                      </a:lnTo>
                      <a:lnTo>
                        <a:pt x="223680" y="187453"/>
                      </a:lnTo>
                      <a:lnTo>
                        <a:pt x="208395" y="189081"/>
                      </a:lnTo>
                      <a:lnTo>
                        <a:pt x="202715" y="183032"/>
                      </a:lnTo>
                      <a:lnTo>
                        <a:pt x="182883" y="180412"/>
                      </a:lnTo>
                      <a:lnTo>
                        <a:pt x="159567" y="176903"/>
                      </a:lnTo>
                      <a:lnTo>
                        <a:pt x="141618" y="162037"/>
                      </a:lnTo>
                      <a:lnTo>
                        <a:pt x="128517" y="149238"/>
                      </a:lnTo>
                      <a:lnTo>
                        <a:pt x="116528" y="128894"/>
                      </a:lnTo>
                      <a:lnTo>
                        <a:pt x="86421" y="118739"/>
                      </a:lnTo>
                      <a:lnTo>
                        <a:pt x="66868" y="125362"/>
                      </a:lnTo>
                      <a:lnTo>
                        <a:pt x="52772" y="133032"/>
                      </a:lnTo>
                      <a:lnTo>
                        <a:pt x="55716" y="150181"/>
                      </a:lnTo>
                      <a:lnTo>
                        <a:pt x="37584" y="158181"/>
                      </a:lnTo>
                      <a:lnTo>
                        <a:pt x="24654" y="154288"/>
                      </a:lnTo>
                      <a:lnTo>
                        <a:pt x="777" y="153318"/>
                      </a:lnTo>
                      <a:lnTo>
                        <a:pt x="389" y="77674"/>
                      </a:lnTo>
                      <a:close/>
                      <a:moveTo>
                        <a:pt x="229437" y="0"/>
                      </a:moveTo>
                      <a:lnTo>
                        <a:pt x="241902" y="6467"/>
                      </a:lnTo>
                      <a:lnTo>
                        <a:pt x="249751" y="11549"/>
                      </a:lnTo>
                      <a:lnTo>
                        <a:pt x="259445" y="17095"/>
                      </a:lnTo>
                      <a:lnTo>
                        <a:pt x="268679" y="26801"/>
                      </a:lnTo>
                      <a:lnTo>
                        <a:pt x="277449" y="34198"/>
                      </a:lnTo>
                      <a:lnTo>
                        <a:pt x="280220" y="46222"/>
                      </a:lnTo>
                      <a:lnTo>
                        <a:pt x="273002" y="52385"/>
                      </a:lnTo>
                      <a:lnTo>
                        <a:pt x="268648" y="38733"/>
                      </a:lnTo>
                      <a:lnTo>
                        <a:pt x="263277" y="29800"/>
                      </a:lnTo>
                      <a:lnTo>
                        <a:pt x="252825" y="22226"/>
                      </a:lnTo>
                      <a:lnTo>
                        <a:pt x="239693" y="12368"/>
                      </a:lnTo>
                      <a:lnTo>
                        <a:pt x="223022" y="5578"/>
                      </a:lnTo>
                      <a:close/>
                    </a:path>
                  </a:pathLst>
                </a:custGeom>
                <a:solidFill>
                  <a:schemeClr val="accent1">
                    <a:lumMod val="20000"/>
                    <a:lumOff val="80000"/>
                  </a:schemeClr>
                </a:solidFill>
                <a:ln cap="rnd" w="3175">
                  <a:solidFill>
                    <a:srgbClr val="009fdf">
                      <a:lumMod val="60000"/>
                      <a:lumOff val="40000"/>
                    </a:srgbClr>
                  </a:solidFill>
                </a:ln>
              </p:spPr>
              <p:style>
                <a:lnRef idx="2">
                  <a:schemeClr val="accent1">
                    <a:shade val="50000"/>
                  </a:schemeClr>
                </a:lnRef>
                <a:fillRef idx="1">
                  <a:schemeClr val="accent1"/>
                </a:fillRef>
                <a:effectRef idx="0">
                  <a:schemeClr val="accent1"/>
                </a:effectRef>
                <a:fontRef idx="minor"/>
              </p:style>
              <p:txBody>
                <a:bodyPr numCol="1" spcCol="0" horzOverflow="overflow" lIns="72000" rIns="72000" tIns="72000" bIns="72000" anchor="ctr">
                  <a:noAutofit/>
                </a:bodyPr>
                <a:p>
                  <a:pPr algn="ctr" defTabSz="457200">
                    <a:lnSpc>
                      <a:spcPct val="100000"/>
                    </a:lnSpc>
                    <a:tabLst>
                      <a:tab algn="l" pos="0"/>
                    </a:tabLst>
                  </a:pPr>
                  <a:endParaRPr b="0" lang="de-DE" sz="1600" spc="-1" strike="noStrike">
                    <a:solidFill>
                      <a:srgbClr val="000000"/>
                    </a:solidFill>
                    <a:latin typeface="Arial"/>
                    <a:ea typeface="Arial"/>
                  </a:endParaRPr>
                </a:p>
              </p:txBody>
            </p:sp>
            <p:sp>
              <p:nvSpPr>
                <p:cNvPr id="492" name="Freeform 131"/>
                <p:cNvSpPr/>
                <p:nvPr/>
              </p:nvSpPr>
              <p:spPr>
                <a:xfrm>
                  <a:off x="7692480" y="2767320"/>
                  <a:ext cx="228960" cy="178920"/>
                </a:xfrm>
                <a:custGeom>
                  <a:avLst/>
                  <a:gdLst/>
                  <a:ahLst/>
                  <a:rect l="l" t="t" r="r" b="b"/>
                  <a:pathLst>
                    <a:path w="229800" h="179771">
                      <a:moveTo>
                        <a:pt x="21755" y="117061"/>
                      </a:moveTo>
                      <a:lnTo>
                        <a:pt x="12293" y="97491"/>
                      </a:lnTo>
                      <a:lnTo>
                        <a:pt x="14092" y="86859"/>
                      </a:lnTo>
                      <a:lnTo>
                        <a:pt x="8381" y="70275"/>
                      </a:lnTo>
                      <a:lnTo>
                        <a:pt x="0" y="59162"/>
                      </a:lnTo>
                      <a:lnTo>
                        <a:pt x="6435" y="50806"/>
                      </a:lnTo>
                      <a:lnTo>
                        <a:pt x="1043" y="34797"/>
                      </a:lnTo>
                      <a:lnTo>
                        <a:pt x="16813" y="25510"/>
                      </a:lnTo>
                      <a:lnTo>
                        <a:pt x="52835" y="10812"/>
                      </a:lnTo>
                      <a:lnTo>
                        <a:pt x="81905" y="0"/>
                      </a:lnTo>
                      <a:lnTo>
                        <a:pt x="104942" y="5404"/>
                      </a:lnTo>
                      <a:lnTo>
                        <a:pt x="106682" y="13184"/>
                      </a:lnTo>
                      <a:lnTo>
                        <a:pt x="128943" y="13586"/>
                      </a:lnTo>
                      <a:lnTo>
                        <a:pt x="157371" y="17200"/>
                      </a:lnTo>
                      <a:lnTo>
                        <a:pt x="199817" y="16722"/>
                      </a:lnTo>
                      <a:lnTo>
                        <a:pt x="211656" y="20122"/>
                      </a:lnTo>
                      <a:lnTo>
                        <a:pt x="217199" y="29885"/>
                      </a:lnTo>
                      <a:lnTo>
                        <a:pt x="218201" y="43837"/>
                      </a:lnTo>
                      <a:lnTo>
                        <a:pt x="224604" y="55770"/>
                      </a:lnTo>
                      <a:lnTo>
                        <a:pt x="224472" y="68213"/>
                      </a:lnTo>
                      <a:lnTo>
                        <a:pt x="210629" y="74560"/>
                      </a:lnTo>
                      <a:lnTo>
                        <a:pt x="217750" y="88908"/>
                      </a:lnTo>
                      <a:lnTo>
                        <a:pt x="218190" y="102616"/>
                      </a:lnTo>
                      <a:lnTo>
                        <a:pt x="229799" y="129283"/>
                      </a:lnTo>
                      <a:lnTo>
                        <a:pt x="227324" y="137793"/>
                      </a:lnTo>
                      <a:lnTo>
                        <a:pt x="215869" y="141315"/>
                      </a:lnTo>
                      <a:lnTo>
                        <a:pt x="194909" y="166346"/>
                      </a:lnTo>
                      <a:lnTo>
                        <a:pt x="200863" y="179770"/>
                      </a:lnTo>
                      <a:lnTo>
                        <a:pt x="195824" y="178030"/>
                      </a:lnTo>
                      <a:lnTo>
                        <a:pt x="173889" y="166545"/>
                      </a:lnTo>
                      <a:lnTo>
                        <a:pt x="157272" y="170774"/>
                      </a:lnTo>
                      <a:lnTo>
                        <a:pt x="146375" y="167702"/>
                      </a:lnTo>
                      <a:lnTo>
                        <a:pt x="132737" y="174110"/>
                      </a:lnTo>
                      <a:lnTo>
                        <a:pt x="121096" y="163505"/>
                      </a:lnTo>
                      <a:lnTo>
                        <a:pt x="111606" y="167571"/>
                      </a:lnTo>
                      <a:lnTo>
                        <a:pt x="110303" y="165763"/>
                      </a:lnTo>
                      <a:lnTo>
                        <a:pt x="99680" y="150970"/>
                      </a:lnTo>
                      <a:lnTo>
                        <a:pt x="82519" y="149149"/>
                      </a:lnTo>
                      <a:lnTo>
                        <a:pt x="80329" y="139692"/>
                      </a:lnTo>
                      <a:lnTo>
                        <a:pt x="64499" y="136306"/>
                      </a:lnTo>
                      <a:lnTo>
                        <a:pt x="61053" y="144118"/>
                      </a:lnTo>
                      <a:lnTo>
                        <a:pt x="48514" y="137862"/>
                      </a:lnTo>
                      <a:lnTo>
                        <a:pt x="49954" y="129517"/>
                      </a:lnTo>
                      <a:lnTo>
                        <a:pt x="32696" y="126872"/>
                      </a:lnTo>
                      <a:close/>
                    </a:path>
                  </a:pathLst>
                </a:custGeom>
                <a:solidFill>
                  <a:schemeClr val="accent1"/>
                </a:solidFill>
                <a:ln cap="rnd" w="3175">
                  <a:solidFill>
                    <a:srgbClr val="009fdf">
                      <a:lumMod val="60000"/>
                      <a:lumOff val="40000"/>
                    </a:srgbClr>
                  </a:solidFill>
                </a:ln>
              </p:spPr>
              <p:style>
                <a:lnRef idx="2">
                  <a:schemeClr val="accent1">
                    <a:shade val="50000"/>
                  </a:schemeClr>
                </a:lnRef>
                <a:fillRef idx="1">
                  <a:schemeClr val="accent1"/>
                </a:fillRef>
                <a:effectRef idx="0">
                  <a:schemeClr val="accent1"/>
                </a:effectRef>
                <a:fontRef idx="minor"/>
              </p:style>
              <p:txBody>
                <a:bodyPr numCol="1" spcCol="0" horzOverflow="overflow" lIns="72000" rIns="72000" tIns="72000" bIns="72000" anchor="ctr">
                  <a:noAutofit/>
                </a:bodyPr>
                <a:p>
                  <a:pPr algn="ctr" defTabSz="457200">
                    <a:lnSpc>
                      <a:spcPct val="100000"/>
                    </a:lnSpc>
                    <a:tabLst>
                      <a:tab algn="l" pos="0"/>
                    </a:tabLst>
                  </a:pPr>
                  <a:endParaRPr b="0" lang="de-DE" sz="1600" spc="-1" strike="noStrike">
                    <a:solidFill>
                      <a:srgbClr val="000000"/>
                    </a:solidFill>
                    <a:latin typeface="Arial"/>
                    <a:ea typeface="Arial"/>
                  </a:endParaRPr>
                </a:p>
              </p:txBody>
            </p:sp>
            <p:sp>
              <p:nvSpPr>
                <p:cNvPr id="493" name="Freeform 132"/>
                <p:cNvSpPr/>
                <p:nvPr/>
              </p:nvSpPr>
              <p:spPr>
                <a:xfrm>
                  <a:off x="10230840" y="3120840"/>
                  <a:ext cx="149760" cy="144360"/>
                </a:xfrm>
                <a:custGeom>
                  <a:avLst/>
                  <a:gdLst/>
                  <a:ahLst/>
                  <a:rect l="l" t="t" r="r" b="b"/>
                  <a:pathLst>
                    <a:path w="150370" h="145179">
                      <a:moveTo>
                        <a:pt x="147138" y="16467"/>
                      </a:moveTo>
                      <a:lnTo>
                        <a:pt x="150369" y="21331"/>
                      </a:lnTo>
                      <a:lnTo>
                        <a:pt x="141598" y="19664"/>
                      </a:lnTo>
                      <a:lnTo>
                        <a:pt x="131578" y="29059"/>
                      </a:lnTo>
                      <a:lnTo>
                        <a:pt x="124686" y="38468"/>
                      </a:lnTo>
                      <a:lnTo>
                        <a:pt x="125559" y="58236"/>
                      </a:lnTo>
                      <a:lnTo>
                        <a:pt x="113624" y="64293"/>
                      </a:lnTo>
                      <a:lnTo>
                        <a:pt x="109522" y="69118"/>
                      </a:lnTo>
                      <a:lnTo>
                        <a:pt x="100819" y="77187"/>
                      </a:lnTo>
                      <a:lnTo>
                        <a:pt x="85447" y="81667"/>
                      </a:lnTo>
                      <a:lnTo>
                        <a:pt x="75429" y="88970"/>
                      </a:lnTo>
                      <a:lnTo>
                        <a:pt x="74707" y="100707"/>
                      </a:lnTo>
                      <a:lnTo>
                        <a:pt x="72013" y="103694"/>
                      </a:lnTo>
                      <a:lnTo>
                        <a:pt x="81198" y="108087"/>
                      </a:lnTo>
                      <a:lnTo>
                        <a:pt x="94271" y="119907"/>
                      </a:lnTo>
                      <a:lnTo>
                        <a:pt x="90948" y="126406"/>
                      </a:lnTo>
                      <a:lnTo>
                        <a:pt x="81122" y="128173"/>
                      </a:lnTo>
                      <a:lnTo>
                        <a:pt x="64808" y="129472"/>
                      </a:lnTo>
                      <a:lnTo>
                        <a:pt x="55816" y="141554"/>
                      </a:lnTo>
                      <a:lnTo>
                        <a:pt x="45512" y="140603"/>
                      </a:lnTo>
                      <a:lnTo>
                        <a:pt x="44067" y="143026"/>
                      </a:lnTo>
                      <a:lnTo>
                        <a:pt x="32857" y="137939"/>
                      </a:lnTo>
                      <a:lnTo>
                        <a:pt x="30072" y="142961"/>
                      </a:lnTo>
                      <a:lnTo>
                        <a:pt x="23306" y="145178"/>
                      </a:lnTo>
                      <a:lnTo>
                        <a:pt x="22493" y="140152"/>
                      </a:lnTo>
                      <a:lnTo>
                        <a:pt x="16513" y="137703"/>
                      </a:lnTo>
                      <a:lnTo>
                        <a:pt x="10307" y="133433"/>
                      </a:lnTo>
                      <a:lnTo>
                        <a:pt x="16627" y="121622"/>
                      </a:lnTo>
                      <a:lnTo>
                        <a:pt x="22074" y="118465"/>
                      </a:lnTo>
                      <a:lnTo>
                        <a:pt x="20018" y="113545"/>
                      </a:lnTo>
                      <a:lnTo>
                        <a:pt x="25875" y="98974"/>
                      </a:lnTo>
                      <a:lnTo>
                        <a:pt x="24363" y="94546"/>
                      </a:lnTo>
                      <a:lnTo>
                        <a:pt x="10891" y="91590"/>
                      </a:lnTo>
                      <a:lnTo>
                        <a:pt x="0" y="84305"/>
                      </a:lnTo>
                      <a:lnTo>
                        <a:pt x="18796" y="66810"/>
                      </a:lnTo>
                      <a:lnTo>
                        <a:pt x="44236" y="52071"/>
                      </a:lnTo>
                      <a:lnTo>
                        <a:pt x="60094" y="32513"/>
                      </a:lnTo>
                      <a:lnTo>
                        <a:pt x="71052" y="41172"/>
                      </a:lnTo>
                      <a:lnTo>
                        <a:pt x="91010" y="42175"/>
                      </a:lnTo>
                      <a:lnTo>
                        <a:pt x="87404" y="27592"/>
                      </a:lnTo>
                      <a:lnTo>
                        <a:pt x="123054" y="15633"/>
                      </a:lnTo>
                      <a:lnTo>
                        <a:pt x="132232" y="0"/>
                      </a:lnTo>
                      <a:close/>
                    </a:path>
                  </a:pathLst>
                </a:custGeom>
                <a:solidFill>
                  <a:schemeClr val="accent1">
                    <a:lumMod val="20000"/>
                    <a:lumOff val="80000"/>
                  </a:schemeClr>
                </a:solidFill>
                <a:ln cap="rnd" w="3175">
                  <a:solidFill>
                    <a:srgbClr val="009fdf">
                      <a:lumMod val="60000"/>
                      <a:lumOff val="40000"/>
                    </a:srgbClr>
                  </a:solidFill>
                </a:ln>
              </p:spPr>
              <p:style>
                <a:lnRef idx="2">
                  <a:schemeClr val="accent1">
                    <a:shade val="50000"/>
                  </a:schemeClr>
                </a:lnRef>
                <a:fillRef idx="1">
                  <a:schemeClr val="accent1"/>
                </a:fillRef>
                <a:effectRef idx="0">
                  <a:schemeClr val="accent1"/>
                </a:effectRef>
                <a:fontRef idx="minor"/>
              </p:style>
              <p:txBody>
                <a:bodyPr numCol="1" spcCol="0" horzOverflow="overflow" lIns="72000" rIns="72000" tIns="72000" bIns="72000" anchor="ctr">
                  <a:noAutofit/>
                </a:bodyPr>
                <a:p>
                  <a:pPr algn="ctr" defTabSz="457200">
                    <a:lnSpc>
                      <a:spcPct val="100000"/>
                    </a:lnSpc>
                    <a:tabLst>
                      <a:tab algn="l" pos="0"/>
                    </a:tabLst>
                  </a:pPr>
                  <a:endParaRPr b="0" lang="de-DE" sz="1600" spc="-1" strike="noStrike">
                    <a:solidFill>
                      <a:srgbClr val="000000"/>
                    </a:solidFill>
                    <a:latin typeface="Arial"/>
                    <a:ea typeface="Arial"/>
                  </a:endParaRPr>
                </a:p>
              </p:txBody>
            </p:sp>
            <p:sp>
              <p:nvSpPr>
                <p:cNvPr id="494" name="Freeform 133"/>
                <p:cNvSpPr/>
                <p:nvPr/>
              </p:nvSpPr>
              <p:spPr>
                <a:xfrm>
                  <a:off x="7148880" y="3140280"/>
                  <a:ext cx="72000" cy="146880"/>
                </a:xfrm>
                <a:custGeom>
                  <a:avLst/>
                  <a:gdLst/>
                  <a:ahLst/>
                  <a:rect l="l" t="t" r="r" b="b"/>
                  <a:pathLst>
                    <a:path w="72422" h="147628">
                      <a:moveTo>
                        <a:pt x="11351" y="11091"/>
                      </a:moveTo>
                      <a:lnTo>
                        <a:pt x="19727" y="4048"/>
                      </a:lnTo>
                      <a:lnTo>
                        <a:pt x="29147" y="0"/>
                      </a:lnTo>
                      <a:lnTo>
                        <a:pt x="34933" y="13572"/>
                      </a:lnTo>
                      <a:lnTo>
                        <a:pt x="48567" y="13540"/>
                      </a:lnTo>
                      <a:lnTo>
                        <a:pt x="52519" y="10045"/>
                      </a:lnTo>
                      <a:lnTo>
                        <a:pt x="65969" y="11013"/>
                      </a:lnTo>
                      <a:lnTo>
                        <a:pt x="72421" y="24866"/>
                      </a:lnTo>
                      <a:lnTo>
                        <a:pt x="61756" y="32317"/>
                      </a:lnTo>
                      <a:lnTo>
                        <a:pt x="61459" y="53689"/>
                      </a:lnTo>
                      <a:lnTo>
                        <a:pt x="57710" y="57681"/>
                      </a:lnTo>
                      <a:lnTo>
                        <a:pt x="56783" y="70540"/>
                      </a:lnTo>
                      <a:lnTo>
                        <a:pt x="46810" y="72774"/>
                      </a:lnTo>
                      <a:lnTo>
                        <a:pt x="56057" y="88998"/>
                      </a:lnTo>
                      <a:lnTo>
                        <a:pt x="49685" y="106683"/>
                      </a:lnTo>
                      <a:lnTo>
                        <a:pt x="57644" y="114654"/>
                      </a:lnTo>
                      <a:lnTo>
                        <a:pt x="54476" y="121927"/>
                      </a:lnTo>
                      <a:lnTo>
                        <a:pt x="45922" y="131931"/>
                      </a:lnTo>
                      <a:lnTo>
                        <a:pt x="47847" y="140740"/>
                      </a:lnTo>
                      <a:lnTo>
                        <a:pt x="38570" y="147627"/>
                      </a:lnTo>
                      <a:lnTo>
                        <a:pt x="26401" y="143897"/>
                      </a:lnTo>
                      <a:lnTo>
                        <a:pt x="14489" y="146817"/>
                      </a:lnTo>
                      <a:lnTo>
                        <a:pt x="18015" y="126000"/>
                      </a:lnTo>
                      <a:lnTo>
                        <a:pt x="15848" y="109550"/>
                      </a:lnTo>
                      <a:lnTo>
                        <a:pt x="5519" y="107075"/>
                      </a:lnTo>
                      <a:lnTo>
                        <a:pt x="0" y="96887"/>
                      </a:lnTo>
                      <a:lnTo>
                        <a:pt x="1837" y="79211"/>
                      </a:lnTo>
                      <a:lnTo>
                        <a:pt x="11039" y="69367"/>
                      </a:lnTo>
                      <a:lnTo>
                        <a:pt x="12677" y="58369"/>
                      </a:lnTo>
                      <a:lnTo>
                        <a:pt x="17494" y="41935"/>
                      </a:lnTo>
                      <a:lnTo>
                        <a:pt x="16982" y="30303"/>
                      </a:lnTo>
                      <a:lnTo>
                        <a:pt x="12367" y="20408"/>
                      </a:lnTo>
                      <a:close/>
                    </a:path>
                  </a:pathLst>
                </a:custGeom>
                <a:solidFill>
                  <a:schemeClr val="accent1"/>
                </a:solidFill>
                <a:ln cap="rnd" w="3175">
                  <a:solidFill>
                    <a:srgbClr val="009fdf">
                      <a:lumMod val="60000"/>
                      <a:lumOff val="40000"/>
                    </a:srgbClr>
                  </a:solidFill>
                </a:ln>
              </p:spPr>
              <p:style>
                <a:lnRef idx="2">
                  <a:schemeClr val="accent1">
                    <a:shade val="50000"/>
                  </a:schemeClr>
                </a:lnRef>
                <a:fillRef idx="1">
                  <a:schemeClr val="accent1"/>
                </a:fillRef>
                <a:effectRef idx="0">
                  <a:schemeClr val="accent1"/>
                </a:effectRef>
                <a:fontRef idx="minor"/>
              </p:style>
              <p:txBody>
                <a:bodyPr numCol="1" spcCol="0" horzOverflow="overflow" lIns="72000" rIns="72000" tIns="72000" bIns="72000" anchor="ctr">
                  <a:noAutofit/>
                </a:bodyPr>
                <a:p>
                  <a:pPr algn="ctr" defTabSz="457200">
                    <a:lnSpc>
                      <a:spcPct val="100000"/>
                    </a:lnSpc>
                    <a:tabLst>
                      <a:tab algn="l" pos="0"/>
                    </a:tabLst>
                  </a:pPr>
                  <a:endParaRPr b="0" lang="de-DE" sz="1600" spc="-1" strike="noStrike">
                    <a:solidFill>
                      <a:srgbClr val="000000"/>
                    </a:solidFill>
                    <a:latin typeface="Arial"/>
                    <a:ea typeface="Arial"/>
                  </a:endParaRPr>
                </a:p>
              </p:txBody>
            </p:sp>
            <p:sp>
              <p:nvSpPr>
                <p:cNvPr id="495" name="Freeform 134"/>
                <p:cNvSpPr/>
                <p:nvPr/>
              </p:nvSpPr>
              <p:spPr>
                <a:xfrm>
                  <a:off x="8537040" y="3561120"/>
                  <a:ext cx="19440" cy="37800"/>
                </a:xfrm>
                <a:custGeom>
                  <a:avLst/>
                  <a:gdLst/>
                  <a:ahLst/>
                  <a:rect l="l" t="t" r="r" b="b"/>
                  <a:pathLst>
                    <a:path w="19916" h="38345">
                      <a:moveTo>
                        <a:pt x="1528" y="33479"/>
                      </a:moveTo>
                      <a:lnTo>
                        <a:pt x="0" y="15592"/>
                      </a:lnTo>
                      <a:lnTo>
                        <a:pt x="6219" y="2658"/>
                      </a:lnTo>
                      <a:lnTo>
                        <a:pt x="12523" y="0"/>
                      </a:lnTo>
                      <a:lnTo>
                        <a:pt x="19508" y="7738"/>
                      </a:lnTo>
                      <a:lnTo>
                        <a:pt x="19915" y="22157"/>
                      </a:lnTo>
                      <a:lnTo>
                        <a:pt x="14904" y="36602"/>
                      </a:lnTo>
                      <a:lnTo>
                        <a:pt x="8506" y="38344"/>
                      </a:lnTo>
                      <a:close/>
                    </a:path>
                  </a:pathLst>
                </a:custGeom>
                <a:solidFill>
                  <a:schemeClr val="accent1">
                    <a:lumMod val="20000"/>
                    <a:lumOff val="80000"/>
                  </a:schemeClr>
                </a:solidFill>
                <a:ln cap="rnd" w="3175">
                  <a:solidFill>
                    <a:srgbClr val="009fdf">
                      <a:lumMod val="60000"/>
                      <a:lumOff val="40000"/>
                    </a:srgbClr>
                  </a:solidFill>
                </a:ln>
              </p:spPr>
              <p:style>
                <a:lnRef idx="2">
                  <a:schemeClr val="accent1">
                    <a:shade val="50000"/>
                  </a:schemeClr>
                </a:lnRef>
                <a:fillRef idx="1">
                  <a:schemeClr val="accent1"/>
                </a:fillRef>
                <a:effectRef idx="0">
                  <a:schemeClr val="accent1"/>
                </a:effectRef>
                <a:fontRef idx="minor"/>
              </p:style>
              <p:txBody>
                <a:bodyPr numCol="1" spcCol="0" horzOverflow="overflow" lIns="72000" rIns="72000" tIns="18720" bIns="18720" anchor="ctr">
                  <a:noAutofit/>
                </a:bodyPr>
                <a:p>
                  <a:pPr algn="ctr" defTabSz="457200">
                    <a:lnSpc>
                      <a:spcPct val="100000"/>
                    </a:lnSpc>
                    <a:tabLst>
                      <a:tab algn="l" pos="0"/>
                    </a:tabLst>
                  </a:pPr>
                  <a:endParaRPr b="0" lang="de-DE" sz="1600" spc="-1" strike="noStrike">
                    <a:solidFill>
                      <a:srgbClr val="000000"/>
                    </a:solidFill>
                    <a:latin typeface="Arial"/>
                    <a:ea typeface="Arial"/>
                  </a:endParaRPr>
                </a:p>
              </p:txBody>
            </p:sp>
            <p:sp>
              <p:nvSpPr>
                <p:cNvPr id="496" name="Freeform 135"/>
                <p:cNvSpPr/>
                <p:nvPr/>
              </p:nvSpPr>
              <p:spPr>
                <a:xfrm>
                  <a:off x="7833960" y="2970720"/>
                  <a:ext cx="216360" cy="129960"/>
                </a:xfrm>
                <a:custGeom>
                  <a:avLst/>
                  <a:gdLst/>
                  <a:ahLst/>
                  <a:rect l="l" t="t" r="r" b="b"/>
                  <a:pathLst>
                    <a:path w="217124" h="130641">
                      <a:moveTo>
                        <a:pt x="57483" y="9981"/>
                      </a:moveTo>
                      <a:lnTo>
                        <a:pt x="67448" y="3675"/>
                      </a:lnTo>
                      <a:lnTo>
                        <a:pt x="81730" y="6937"/>
                      </a:lnTo>
                      <a:lnTo>
                        <a:pt x="96528" y="7047"/>
                      </a:lnTo>
                      <a:lnTo>
                        <a:pt x="107245" y="14233"/>
                      </a:lnTo>
                      <a:lnTo>
                        <a:pt x="115126" y="9720"/>
                      </a:lnTo>
                      <a:lnTo>
                        <a:pt x="132165" y="6892"/>
                      </a:lnTo>
                      <a:lnTo>
                        <a:pt x="137971" y="0"/>
                      </a:lnTo>
                      <a:lnTo>
                        <a:pt x="147709" y="4"/>
                      </a:lnTo>
                      <a:lnTo>
                        <a:pt x="154745" y="2880"/>
                      </a:lnTo>
                      <a:lnTo>
                        <a:pt x="161894" y="11611"/>
                      </a:lnTo>
                      <a:lnTo>
                        <a:pt x="169218" y="23978"/>
                      </a:lnTo>
                      <a:lnTo>
                        <a:pt x="182534" y="41322"/>
                      </a:lnTo>
                      <a:lnTo>
                        <a:pt x="183272" y="54054"/>
                      </a:lnTo>
                      <a:lnTo>
                        <a:pt x="180835" y="66383"/>
                      </a:lnTo>
                      <a:lnTo>
                        <a:pt x="184969" y="79498"/>
                      </a:lnTo>
                      <a:lnTo>
                        <a:pt x="195270" y="84776"/>
                      </a:lnTo>
                      <a:lnTo>
                        <a:pt x="206117" y="80168"/>
                      </a:lnTo>
                      <a:lnTo>
                        <a:pt x="216587" y="85083"/>
                      </a:lnTo>
                      <a:lnTo>
                        <a:pt x="217123" y="92454"/>
                      </a:lnTo>
                      <a:lnTo>
                        <a:pt x="205930" y="98589"/>
                      </a:lnTo>
                      <a:lnTo>
                        <a:pt x="198918" y="95920"/>
                      </a:lnTo>
                      <a:lnTo>
                        <a:pt x="192461" y="130105"/>
                      </a:lnTo>
                      <a:lnTo>
                        <a:pt x="178888" y="127146"/>
                      </a:lnTo>
                      <a:lnTo>
                        <a:pt x="162091" y="116878"/>
                      </a:lnTo>
                      <a:lnTo>
                        <a:pt x="134917" y="123449"/>
                      </a:lnTo>
                      <a:lnTo>
                        <a:pt x="123471" y="130640"/>
                      </a:lnTo>
                      <a:lnTo>
                        <a:pt x="89571" y="129159"/>
                      </a:lnTo>
                      <a:lnTo>
                        <a:pt x="71835" y="124761"/>
                      </a:lnTo>
                      <a:lnTo>
                        <a:pt x="62892" y="126827"/>
                      </a:lnTo>
                      <a:lnTo>
                        <a:pt x="56251" y="115210"/>
                      </a:lnTo>
                      <a:lnTo>
                        <a:pt x="52024" y="110270"/>
                      </a:lnTo>
                      <a:lnTo>
                        <a:pt x="57372" y="105479"/>
                      </a:lnTo>
                      <a:lnTo>
                        <a:pt x="51678" y="101939"/>
                      </a:lnTo>
                      <a:lnTo>
                        <a:pt x="44432" y="108307"/>
                      </a:lnTo>
                      <a:lnTo>
                        <a:pt x="30973" y="100049"/>
                      </a:lnTo>
                      <a:lnTo>
                        <a:pt x="29161" y="88290"/>
                      </a:lnTo>
                      <a:lnTo>
                        <a:pt x="15098" y="81559"/>
                      </a:lnTo>
                      <a:lnTo>
                        <a:pt x="12510" y="72427"/>
                      </a:lnTo>
                      <a:lnTo>
                        <a:pt x="0" y="61109"/>
                      </a:lnTo>
                      <a:lnTo>
                        <a:pt x="18506" y="55659"/>
                      </a:lnTo>
                      <a:lnTo>
                        <a:pt x="32461" y="35974"/>
                      </a:lnTo>
                      <a:lnTo>
                        <a:pt x="43385" y="16144"/>
                      </a:lnTo>
                      <a:close/>
                    </a:path>
                  </a:pathLst>
                </a:custGeom>
                <a:solidFill>
                  <a:schemeClr val="accent1"/>
                </a:solidFill>
                <a:ln cap="rnd" w="3175">
                  <a:solidFill>
                    <a:srgbClr val="009fdf">
                      <a:lumMod val="60000"/>
                      <a:lumOff val="40000"/>
                    </a:srgbClr>
                  </a:solidFill>
                </a:ln>
              </p:spPr>
              <p:style>
                <a:lnRef idx="2">
                  <a:schemeClr val="accent1">
                    <a:shade val="50000"/>
                  </a:schemeClr>
                </a:lnRef>
                <a:fillRef idx="1">
                  <a:schemeClr val="accent1"/>
                </a:fillRef>
                <a:effectRef idx="0">
                  <a:schemeClr val="accent1"/>
                </a:effectRef>
                <a:fontRef idx="minor"/>
              </p:style>
              <p:txBody>
                <a:bodyPr numCol="1" spcCol="0" horzOverflow="overflow" lIns="72000" rIns="72000" tIns="64800" bIns="64800" anchor="ctr">
                  <a:noAutofit/>
                </a:bodyPr>
                <a:p>
                  <a:pPr algn="ctr" defTabSz="457200">
                    <a:lnSpc>
                      <a:spcPct val="100000"/>
                    </a:lnSpc>
                    <a:tabLst>
                      <a:tab algn="l" pos="0"/>
                    </a:tabLst>
                  </a:pPr>
                  <a:endParaRPr b="0" lang="de-DE" sz="1600" spc="-1" strike="noStrike">
                    <a:solidFill>
                      <a:srgbClr val="000000"/>
                    </a:solidFill>
                    <a:latin typeface="Arial"/>
                    <a:ea typeface="Arial"/>
                  </a:endParaRPr>
                </a:p>
              </p:txBody>
            </p:sp>
            <p:sp>
              <p:nvSpPr>
                <p:cNvPr id="497" name="Freeform 136"/>
                <p:cNvSpPr/>
                <p:nvPr/>
              </p:nvSpPr>
              <p:spPr>
                <a:xfrm>
                  <a:off x="7821000" y="1690920"/>
                  <a:ext cx="3926160" cy="1480320"/>
                </a:xfrm>
                <a:custGeom>
                  <a:avLst/>
                  <a:gdLst>
                    <a:gd name="textAreaLeft" fmla="*/ 0 w 3926160"/>
                    <a:gd name="textAreaRight" fmla="*/ 3926520 w 3926160"/>
                    <a:gd name="textAreaTop" fmla="*/ 0 h 1480320"/>
                    <a:gd name="textAreaBottom" fmla="*/ 1480680 h 1480320"/>
                  </a:gdLst>
                  <a:ahLst/>
                  <a:rect l="textAreaLeft" t="textAreaTop" r="textAreaRight" b="textAreaBottom"/>
                  <a:pathLst>
                    <a:path w="3934206" h="1483526">
                      <a:moveTo>
                        <a:pt x="2839034" y="1094106"/>
                      </a:moveTo>
                      <a:lnTo>
                        <a:pt x="2845032" y="1115055"/>
                      </a:lnTo>
                      <a:lnTo>
                        <a:pt x="2853023" y="1145269"/>
                      </a:lnTo>
                      <a:lnTo>
                        <a:pt x="2852433" y="1175741"/>
                      </a:lnTo>
                      <a:lnTo>
                        <a:pt x="2861960" y="1206604"/>
                      </a:lnTo>
                      <a:lnTo>
                        <a:pt x="2885184" y="1259892"/>
                      </a:lnTo>
                      <a:lnTo>
                        <a:pt x="2851017" y="1250042"/>
                      </a:lnTo>
                      <a:lnTo>
                        <a:pt x="2836815" y="1292882"/>
                      </a:lnTo>
                      <a:lnTo>
                        <a:pt x="2859317" y="1322853"/>
                      </a:lnTo>
                      <a:lnTo>
                        <a:pt x="2858666" y="1343101"/>
                      </a:lnTo>
                      <a:lnTo>
                        <a:pt x="2841178" y="1325642"/>
                      </a:lnTo>
                      <a:lnTo>
                        <a:pt x="2826044" y="1348038"/>
                      </a:lnTo>
                      <a:lnTo>
                        <a:pt x="2821771" y="1323749"/>
                      </a:lnTo>
                      <a:lnTo>
                        <a:pt x="2824345" y="1295276"/>
                      </a:lnTo>
                      <a:lnTo>
                        <a:pt x="2821714" y="1263380"/>
                      </a:lnTo>
                      <a:lnTo>
                        <a:pt x="2827054" y="1240801"/>
                      </a:lnTo>
                      <a:lnTo>
                        <a:pt x="2828074" y="1200372"/>
                      </a:lnTo>
                      <a:lnTo>
                        <a:pt x="2814550" y="1170233"/>
                      </a:lnTo>
                      <a:lnTo>
                        <a:pt x="2816592" y="1127722"/>
                      </a:lnTo>
                      <a:lnTo>
                        <a:pt x="2837929" y="1113239"/>
                      </a:lnTo>
                      <a:lnTo>
                        <a:pt x="2828761" y="1098569"/>
                      </a:lnTo>
                      <a:close/>
                      <a:moveTo>
                        <a:pt x="37112" y="1067723"/>
                      </a:moveTo>
                      <a:lnTo>
                        <a:pt x="61286" y="1073353"/>
                      </a:lnTo>
                      <a:lnTo>
                        <a:pt x="71490" y="1078441"/>
                      </a:lnTo>
                      <a:lnTo>
                        <a:pt x="69026" y="1087196"/>
                      </a:lnTo>
                      <a:lnTo>
                        <a:pt x="70874" y="1095325"/>
                      </a:lnTo>
                      <a:lnTo>
                        <a:pt x="28428" y="1095803"/>
                      </a:lnTo>
                      <a:lnTo>
                        <a:pt x="0" y="1092189"/>
                      </a:lnTo>
                      <a:lnTo>
                        <a:pt x="5259" y="1078134"/>
                      </a:lnTo>
                      <a:close/>
                      <a:moveTo>
                        <a:pt x="3704019" y="465997"/>
                      </a:moveTo>
                      <a:lnTo>
                        <a:pt x="3723583" y="466086"/>
                      </a:lnTo>
                      <a:lnTo>
                        <a:pt x="3756969" y="478252"/>
                      </a:lnTo>
                      <a:lnTo>
                        <a:pt x="3754992" y="484040"/>
                      </a:lnTo>
                      <a:lnTo>
                        <a:pt x="3731212" y="494149"/>
                      </a:lnTo>
                      <a:lnTo>
                        <a:pt x="3701062" y="496705"/>
                      </a:lnTo>
                      <a:lnTo>
                        <a:pt x="3675749" y="498849"/>
                      </a:lnTo>
                      <a:lnTo>
                        <a:pt x="3671638" y="485475"/>
                      </a:lnTo>
                      <a:lnTo>
                        <a:pt x="3701062" y="467783"/>
                      </a:lnTo>
                      <a:close/>
                      <a:moveTo>
                        <a:pt x="2825352" y="365319"/>
                      </a:moveTo>
                      <a:lnTo>
                        <a:pt x="2858147" y="382421"/>
                      </a:lnTo>
                      <a:lnTo>
                        <a:pt x="2860941" y="394089"/>
                      </a:lnTo>
                      <a:lnTo>
                        <a:pt x="2825942" y="394399"/>
                      </a:lnTo>
                      <a:lnTo>
                        <a:pt x="2778635" y="389459"/>
                      </a:lnTo>
                      <a:lnTo>
                        <a:pt x="2774594" y="387110"/>
                      </a:lnTo>
                      <a:lnTo>
                        <a:pt x="2796490" y="369471"/>
                      </a:lnTo>
                      <a:close/>
                      <a:moveTo>
                        <a:pt x="2924525" y="290217"/>
                      </a:moveTo>
                      <a:lnTo>
                        <a:pt x="2967545" y="297259"/>
                      </a:lnTo>
                      <a:lnTo>
                        <a:pt x="3025469" y="309407"/>
                      </a:lnTo>
                      <a:lnTo>
                        <a:pt x="2998792" y="327599"/>
                      </a:lnTo>
                      <a:lnTo>
                        <a:pt x="2961895" y="323497"/>
                      </a:lnTo>
                      <a:lnTo>
                        <a:pt x="2919002" y="305289"/>
                      </a:lnTo>
                      <a:close/>
                      <a:moveTo>
                        <a:pt x="2750772" y="260076"/>
                      </a:moveTo>
                      <a:lnTo>
                        <a:pt x="2811723" y="262158"/>
                      </a:lnTo>
                      <a:lnTo>
                        <a:pt x="2895160" y="287140"/>
                      </a:lnTo>
                      <a:lnTo>
                        <a:pt x="2877010" y="321584"/>
                      </a:lnTo>
                      <a:lnTo>
                        <a:pt x="2791923" y="320311"/>
                      </a:lnTo>
                      <a:lnTo>
                        <a:pt x="2753643" y="331144"/>
                      </a:lnTo>
                      <a:lnTo>
                        <a:pt x="2707915" y="301173"/>
                      </a:lnTo>
                      <a:lnTo>
                        <a:pt x="2720319" y="268961"/>
                      </a:lnTo>
                      <a:close/>
                      <a:moveTo>
                        <a:pt x="1119427" y="221565"/>
                      </a:moveTo>
                      <a:lnTo>
                        <a:pt x="1135473" y="240603"/>
                      </a:lnTo>
                      <a:lnTo>
                        <a:pt x="1119970" y="255471"/>
                      </a:lnTo>
                      <a:lnTo>
                        <a:pt x="1038182" y="278925"/>
                      </a:lnTo>
                      <a:lnTo>
                        <a:pt x="967692" y="301210"/>
                      </a:lnTo>
                      <a:lnTo>
                        <a:pt x="895987" y="344926"/>
                      </a:lnTo>
                      <a:lnTo>
                        <a:pt x="861587" y="388743"/>
                      </a:lnTo>
                      <a:lnTo>
                        <a:pt x="825406" y="430972"/>
                      </a:lnTo>
                      <a:lnTo>
                        <a:pt x="830103" y="466723"/>
                      </a:lnTo>
                      <a:lnTo>
                        <a:pt x="874257" y="501393"/>
                      </a:lnTo>
                      <a:lnTo>
                        <a:pt x="860622" y="505066"/>
                      </a:lnTo>
                      <a:lnTo>
                        <a:pt x="785197" y="499624"/>
                      </a:lnTo>
                      <a:lnTo>
                        <a:pt x="779072" y="480913"/>
                      </a:lnTo>
                      <a:lnTo>
                        <a:pt x="737289" y="469528"/>
                      </a:lnTo>
                      <a:lnTo>
                        <a:pt x="733916" y="446390"/>
                      </a:lnTo>
                      <a:lnTo>
                        <a:pt x="757518" y="437122"/>
                      </a:lnTo>
                      <a:lnTo>
                        <a:pt x="756731" y="413368"/>
                      </a:lnTo>
                      <a:lnTo>
                        <a:pt x="802514" y="375627"/>
                      </a:lnTo>
                      <a:lnTo>
                        <a:pt x="781294" y="370154"/>
                      </a:lnTo>
                      <a:lnTo>
                        <a:pt x="836558" y="330412"/>
                      </a:lnTo>
                      <a:lnTo>
                        <a:pt x="830313" y="309530"/>
                      </a:lnTo>
                      <a:lnTo>
                        <a:pt x="881943" y="284949"/>
                      </a:lnTo>
                      <a:lnTo>
                        <a:pt x="958148" y="254602"/>
                      </a:lnTo>
                      <a:lnTo>
                        <a:pt x="1034974" y="245669"/>
                      </a:lnTo>
                      <a:lnTo>
                        <a:pt x="1074506" y="227850"/>
                      </a:lnTo>
                      <a:close/>
                      <a:moveTo>
                        <a:pt x="1954894" y="184460"/>
                      </a:moveTo>
                      <a:lnTo>
                        <a:pt x="1994481" y="200407"/>
                      </a:lnTo>
                      <a:lnTo>
                        <a:pt x="1963051" y="212448"/>
                      </a:lnTo>
                      <a:lnTo>
                        <a:pt x="2015337" y="219893"/>
                      </a:lnTo>
                      <a:lnTo>
                        <a:pt x="2021566" y="243709"/>
                      </a:lnTo>
                      <a:lnTo>
                        <a:pt x="2042658" y="232019"/>
                      </a:lnTo>
                      <a:lnTo>
                        <a:pt x="2110140" y="232662"/>
                      </a:lnTo>
                      <a:lnTo>
                        <a:pt x="2162174" y="256013"/>
                      </a:lnTo>
                      <a:lnTo>
                        <a:pt x="2180702" y="273753"/>
                      </a:lnTo>
                      <a:lnTo>
                        <a:pt x="2174959" y="298099"/>
                      </a:lnTo>
                      <a:lnTo>
                        <a:pt x="2149425" y="311820"/>
                      </a:lnTo>
                      <a:lnTo>
                        <a:pt x="2088765" y="337297"/>
                      </a:lnTo>
                      <a:lnTo>
                        <a:pt x="2071424" y="350778"/>
                      </a:lnTo>
                      <a:lnTo>
                        <a:pt x="2100047" y="357105"/>
                      </a:lnTo>
                      <a:lnTo>
                        <a:pt x="2134191" y="368454"/>
                      </a:lnTo>
                      <a:lnTo>
                        <a:pt x="2154973" y="359949"/>
                      </a:lnTo>
                      <a:lnTo>
                        <a:pt x="2166746" y="388654"/>
                      </a:lnTo>
                      <a:lnTo>
                        <a:pt x="2176885" y="377086"/>
                      </a:lnTo>
                      <a:lnTo>
                        <a:pt x="2213793" y="370018"/>
                      </a:lnTo>
                      <a:lnTo>
                        <a:pt x="2287855" y="377406"/>
                      </a:lnTo>
                      <a:lnTo>
                        <a:pt x="2293479" y="398177"/>
                      </a:lnTo>
                      <a:lnTo>
                        <a:pt x="2389980" y="404738"/>
                      </a:lnTo>
                      <a:lnTo>
                        <a:pt x="2391299" y="370817"/>
                      </a:lnTo>
                      <a:lnTo>
                        <a:pt x="2440285" y="378643"/>
                      </a:lnTo>
                      <a:lnTo>
                        <a:pt x="2477136" y="378398"/>
                      </a:lnTo>
                      <a:lnTo>
                        <a:pt x="2514410" y="401764"/>
                      </a:lnTo>
                      <a:lnTo>
                        <a:pt x="2525035" y="429779"/>
                      </a:lnTo>
                      <a:lnTo>
                        <a:pt x="2511380" y="447893"/>
                      </a:lnTo>
                      <a:lnTo>
                        <a:pt x="2540372" y="481490"/>
                      </a:lnTo>
                      <a:lnTo>
                        <a:pt x="2576671" y="498604"/>
                      </a:lnTo>
                      <a:lnTo>
                        <a:pt x="2598944" y="454071"/>
                      </a:lnTo>
                      <a:lnTo>
                        <a:pt x="2635972" y="473287"/>
                      </a:lnTo>
                      <a:lnTo>
                        <a:pt x="2675312" y="461827"/>
                      </a:lnTo>
                      <a:lnTo>
                        <a:pt x="2719990" y="474935"/>
                      </a:lnTo>
                      <a:lnTo>
                        <a:pt x="2736992" y="462990"/>
                      </a:lnTo>
                      <a:lnTo>
                        <a:pt x="2774749" y="468972"/>
                      </a:lnTo>
                      <a:lnTo>
                        <a:pt x="2758086" y="429020"/>
                      </a:lnTo>
                      <a:lnTo>
                        <a:pt x="2788561" y="410093"/>
                      </a:lnTo>
                      <a:lnTo>
                        <a:pt x="2997039" y="438397"/>
                      </a:lnTo>
                      <a:lnTo>
                        <a:pt x="3016687" y="463913"/>
                      </a:lnTo>
                      <a:lnTo>
                        <a:pt x="3077111" y="496285"/>
                      </a:lnTo>
                      <a:lnTo>
                        <a:pt x="3170319" y="488320"/>
                      </a:lnTo>
                      <a:lnTo>
                        <a:pt x="3216274" y="495255"/>
                      </a:lnTo>
                      <a:lnTo>
                        <a:pt x="3235491" y="512560"/>
                      </a:lnTo>
                      <a:lnTo>
                        <a:pt x="3232682" y="542801"/>
                      </a:lnTo>
                      <a:lnTo>
                        <a:pt x="3261118" y="554452"/>
                      </a:lnTo>
                      <a:lnTo>
                        <a:pt x="3292014" y="546079"/>
                      </a:lnTo>
                      <a:lnTo>
                        <a:pt x="3332949" y="545006"/>
                      </a:lnTo>
                      <a:lnTo>
                        <a:pt x="3376527" y="553035"/>
                      </a:lnTo>
                      <a:lnTo>
                        <a:pt x="3420276" y="548510"/>
                      </a:lnTo>
                      <a:lnTo>
                        <a:pt x="3460486" y="584562"/>
                      </a:lnTo>
                      <a:lnTo>
                        <a:pt x="3489090" y="571664"/>
                      </a:lnTo>
                      <a:lnTo>
                        <a:pt x="3470424" y="545640"/>
                      </a:lnTo>
                      <a:lnTo>
                        <a:pt x="3480701" y="527348"/>
                      </a:lnTo>
                      <a:lnTo>
                        <a:pt x="3554345" y="538880"/>
                      </a:lnTo>
                      <a:lnTo>
                        <a:pt x="3602361" y="536418"/>
                      </a:lnTo>
                      <a:lnTo>
                        <a:pt x="3668746" y="555972"/>
                      </a:lnTo>
                      <a:lnTo>
                        <a:pt x="3701062" y="573686"/>
                      </a:lnTo>
                      <a:lnTo>
                        <a:pt x="3757613" y="604316"/>
                      </a:lnTo>
                      <a:lnTo>
                        <a:pt x="3818130" y="643510"/>
                      </a:lnTo>
                      <a:lnTo>
                        <a:pt x="3816145" y="667638"/>
                      </a:lnTo>
                      <a:lnTo>
                        <a:pt x="3831713" y="677218"/>
                      </a:lnTo>
                      <a:lnTo>
                        <a:pt x="3826358" y="649113"/>
                      </a:lnTo>
                      <a:lnTo>
                        <a:pt x="3889016" y="654912"/>
                      </a:lnTo>
                      <a:lnTo>
                        <a:pt x="3934206" y="690938"/>
                      </a:lnTo>
                      <a:lnTo>
                        <a:pt x="3911320" y="707505"/>
                      </a:lnTo>
                      <a:lnTo>
                        <a:pt x="3873483" y="711419"/>
                      </a:lnTo>
                      <a:lnTo>
                        <a:pt x="3872912" y="748022"/>
                      </a:lnTo>
                      <a:lnTo>
                        <a:pt x="3863671" y="755735"/>
                      </a:lnTo>
                      <a:lnTo>
                        <a:pt x="3842054" y="754628"/>
                      </a:lnTo>
                      <a:lnTo>
                        <a:pt x="3824463" y="741682"/>
                      </a:lnTo>
                      <a:lnTo>
                        <a:pt x="3793772" y="730791"/>
                      </a:lnTo>
                      <a:lnTo>
                        <a:pt x="3788611" y="714487"/>
                      </a:lnTo>
                      <a:lnTo>
                        <a:pt x="3765169" y="708305"/>
                      </a:lnTo>
                      <a:lnTo>
                        <a:pt x="3738918" y="713209"/>
                      </a:lnTo>
                      <a:lnTo>
                        <a:pt x="3726376" y="699955"/>
                      </a:lnTo>
                      <a:lnTo>
                        <a:pt x="3731389" y="685785"/>
                      </a:lnTo>
                      <a:lnTo>
                        <a:pt x="3703744" y="694853"/>
                      </a:lnTo>
                      <a:lnTo>
                        <a:pt x="3714156" y="712696"/>
                      </a:lnTo>
                      <a:lnTo>
                        <a:pt x="3701062" y="728662"/>
                      </a:lnTo>
                      <a:lnTo>
                        <a:pt x="3700896" y="728864"/>
                      </a:lnTo>
                      <a:lnTo>
                        <a:pt x="3671220" y="745267"/>
                      </a:lnTo>
                      <a:lnTo>
                        <a:pt x="3641306" y="742540"/>
                      </a:lnTo>
                      <a:lnTo>
                        <a:pt x="3662121" y="762266"/>
                      </a:lnTo>
                      <a:lnTo>
                        <a:pt x="3675861" y="792443"/>
                      </a:lnTo>
                      <a:lnTo>
                        <a:pt x="3686527" y="802216"/>
                      </a:lnTo>
                      <a:lnTo>
                        <a:pt x="3689205" y="817140"/>
                      </a:lnTo>
                      <a:lnTo>
                        <a:pt x="3683247" y="826641"/>
                      </a:lnTo>
                      <a:lnTo>
                        <a:pt x="3640222" y="818831"/>
                      </a:lnTo>
                      <a:lnTo>
                        <a:pt x="3575706" y="845705"/>
                      </a:lnTo>
                      <a:lnTo>
                        <a:pt x="3555181" y="849836"/>
                      </a:lnTo>
                      <a:lnTo>
                        <a:pt x="3519862" y="874577"/>
                      </a:lnTo>
                      <a:lnTo>
                        <a:pt x="3486358" y="895966"/>
                      </a:lnTo>
                      <a:lnTo>
                        <a:pt x="3477871" y="911668"/>
                      </a:lnTo>
                      <a:lnTo>
                        <a:pt x="3444854" y="887719"/>
                      </a:lnTo>
                      <a:lnTo>
                        <a:pt x="3384713" y="914876"/>
                      </a:lnTo>
                      <a:lnTo>
                        <a:pt x="3374210" y="902067"/>
                      </a:lnTo>
                      <a:lnTo>
                        <a:pt x="3351976" y="916833"/>
                      </a:lnTo>
                      <a:lnTo>
                        <a:pt x="3321104" y="912118"/>
                      </a:lnTo>
                      <a:lnTo>
                        <a:pt x="3313667" y="934646"/>
                      </a:lnTo>
                      <a:lnTo>
                        <a:pt x="3285973" y="967389"/>
                      </a:lnTo>
                      <a:lnTo>
                        <a:pt x="3286795" y="980926"/>
                      </a:lnTo>
                      <a:lnTo>
                        <a:pt x="3313085" y="988396"/>
                      </a:lnTo>
                      <a:lnTo>
                        <a:pt x="3309993" y="1036350"/>
                      </a:lnTo>
                      <a:lnTo>
                        <a:pt x="3288564" y="1037557"/>
                      </a:lnTo>
                      <a:lnTo>
                        <a:pt x="3278682" y="1064659"/>
                      </a:lnTo>
                      <a:lnTo>
                        <a:pt x="3288285" y="1078488"/>
                      </a:lnTo>
                      <a:lnTo>
                        <a:pt x="3247919" y="1094791"/>
                      </a:lnTo>
                      <a:lnTo>
                        <a:pt x="3239909" y="1130839"/>
                      </a:lnTo>
                      <a:lnTo>
                        <a:pt x="3205498" y="1138470"/>
                      </a:lnTo>
                      <a:lnTo>
                        <a:pt x="3198578" y="1170009"/>
                      </a:lnTo>
                      <a:lnTo>
                        <a:pt x="3165307" y="1198582"/>
                      </a:lnTo>
                      <a:lnTo>
                        <a:pt x="3156772" y="1177484"/>
                      </a:lnTo>
                      <a:lnTo>
                        <a:pt x="3146888" y="1132205"/>
                      </a:lnTo>
                      <a:lnTo>
                        <a:pt x="3134004" y="1061586"/>
                      </a:lnTo>
                      <a:lnTo>
                        <a:pt x="3145101" y="1016420"/>
                      </a:lnTo>
                      <a:lnTo>
                        <a:pt x="3164577" y="996713"/>
                      </a:lnTo>
                      <a:lnTo>
                        <a:pt x="3165782" y="981162"/>
                      </a:lnTo>
                      <a:lnTo>
                        <a:pt x="3201652" y="973680"/>
                      </a:lnTo>
                      <a:lnTo>
                        <a:pt x="3242885" y="931107"/>
                      </a:lnTo>
                      <a:lnTo>
                        <a:pt x="3282620" y="895730"/>
                      </a:lnTo>
                      <a:lnTo>
                        <a:pt x="3324114" y="867882"/>
                      </a:lnTo>
                      <a:lnTo>
                        <a:pt x="3342670" y="817799"/>
                      </a:lnTo>
                      <a:lnTo>
                        <a:pt x="3314621" y="820828"/>
                      </a:lnTo>
                      <a:lnTo>
                        <a:pt x="3300759" y="850194"/>
                      </a:lnTo>
                      <a:lnTo>
                        <a:pt x="3242211" y="888739"/>
                      </a:lnTo>
                      <a:lnTo>
                        <a:pt x="3223303" y="845534"/>
                      </a:lnTo>
                      <a:lnTo>
                        <a:pt x="3163712" y="857549"/>
                      </a:lnTo>
                      <a:lnTo>
                        <a:pt x="3105945" y="915920"/>
                      </a:lnTo>
                      <a:lnTo>
                        <a:pt x="3125005" y="936897"/>
                      </a:lnTo>
                      <a:lnTo>
                        <a:pt x="3073486" y="945769"/>
                      </a:lnTo>
                      <a:lnTo>
                        <a:pt x="3037797" y="949258"/>
                      </a:lnTo>
                      <a:lnTo>
                        <a:pt x="3039469" y="924640"/>
                      </a:lnTo>
                      <a:lnTo>
                        <a:pt x="3003589" y="919438"/>
                      </a:lnTo>
                      <a:lnTo>
                        <a:pt x="2974991" y="936232"/>
                      </a:lnTo>
                      <a:lnTo>
                        <a:pt x="2904413" y="930370"/>
                      </a:lnTo>
                      <a:lnTo>
                        <a:pt x="2828485" y="940468"/>
                      </a:lnTo>
                      <a:lnTo>
                        <a:pt x="2753713" y="1005870"/>
                      </a:lnTo>
                      <a:lnTo>
                        <a:pt x="2665253" y="1082505"/>
                      </a:lnTo>
                      <a:lnTo>
                        <a:pt x="2701620" y="1086531"/>
                      </a:lnTo>
                      <a:lnTo>
                        <a:pt x="2712971" y="1106437"/>
                      </a:lnTo>
                      <a:lnTo>
                        <a:pt x="2735390" y="1113464"/>
                      </a:lnTo>
                      <a:lnTo>
                        <a:pt x="2750161" y="1097645"/>
                      </a:lnTo>
                      <a:lnTo>
                        <a:pt x="2775481" y="1099705"/>
                      </a:lnTo>
                      <a:lnTo>
                        <a:pt x="2808808" y="1134378"/>
                      </a:lnTo>
                      <a:lnTo>
                        <a:pt x="2809590" y="1160859"/>
                      </a:lnTo>
                      <a:lnTo>
                        <a:pt x="2791544" y="1191601"/>
                      </a:lnTo>
                      <a:lnTo>
                        <a:pt x="2789597" y="1227858"/>
                      </a:lnTo>
                      <a:lnTo>
                        <a:pt x="2779184" y="1275618"/>
                      </a:lnTo>
                      <a:lnTo>
                        <a:pt x="2744393" y="1318111"/>
                      </a:lnTo>
                      <a:lnTo>
                        <a:pt x="2736660" y="1338188"/>
                      </a:lnTo>
                      <a:lnTo>
                        <a:pt x="2705328" y="1371661"/>
                      </a:lnTo>
                      <a:lnTo>
                        <a:pt x="2674237" y="1404458"/>
                      </a:lnTo>
                      <a:lnTo>
                        <a:pt x="2659326" y="1421097"/>
                      </a:lnTo>
                      <a:lnTo>
                        <a:pt x="2628567" y="1437527"/>
                      </a:lnTo>
                      <a:lnTo>
                        <a:pt x="2614012" y="1437890"/>
                      </a:lnTo>
                      <a:lnTo>
                        <a:pt x="2599512" y="1424286"/>
                      </a:lnTo>
                      <a:lnTo>
                        <a:pt x="2568530" y="1444743"/>
                      </a:lnTo>
                      <a:lnTo>
                        <a:pt x="2564932" y="1453998"/>
                      </a:lnTo>
                      <a:lnTo>
                        <a:pt x="2561700" y="1449134"/>
                      </a:lnTo>
                      <a:lnTo>
                        <a:pt x="2561559" y="1434970"/>
                      </a:lnTo>
                      <a:lnTo>
                        <a:pt x="2573350" y="1434216"/>
                      </a:lnTo>
                      <a:lnTo>
                        <a:pt x="2576671" y="1400995"/>
                      </a:lnTo>
                      <a:lnTo>
                        <a:pt x="2570592" y="1376672"/>
                      </a:lnTo>
                      <a:lnTo>
                        <a:pt x="2590402" y="1366580"/>
                      </a:lnTo>
                      <a:lnTo>
                        <a:pt x="2618418" y="1371644"/>
                      </a:lnTo>
                      <a:lnTo>
                        <a:pt x="2633941" y="1343707"/>
                      </a:lnTo>
                      <a:lnTo>
                        <a:pt x="2641851" y="1311903"/>
                      </a:lnTo>
                      <a:lnTo>
                        <a:pt x="2650818" y="1301195"/>
                      </a:lnTo>
                      <a:lnTo>
                        <a:pt x="2662948" y="1274684"/>
                      </a:lnTo>
                      <a:lnTo>
                        <a:pt x="2624799" y="1283399"/>
                      </a:lnTo>
                      <a:lnTo>
                        <a:pt x="2604788" y="1295016"/>
                      </a:lnTo>
                      <a:lnTo>
                        <a:pt x="2569716" y="1294982"/>
                      </a:lnTo>
                      <a:lnTo>
                        <a:pt x="2560368" y="1267228"/>
                      </a:lnTo>
                      <a:lnTo>
                        <a:pt x="2533027" y="1246032"/>
                      </a:lnTo>
                      <a:lnTo>
                        <a:pt x="2492854" y="1236444"/>
                      </a:lnTo>
                      <a:lnTo>
                        <a:pt x="2484314" y="1206841"/>
                      </a:lnTo>
                      <a:lnTo>
                        <a:pt x="2476275" y="1188105"/>
                      </a:lnTo>
                      <a:lnTo>
                        <a:pt x="2467624" y="1174891"/>
                      </a:lnTo>
                      <a:lnTo>
                        <a:pt x="2453359" y="1143647"/>
                      </a:lnTo>
                      <a:lnTo>
                        <a:pt x="2433089" y="1132140"/>
                      </a:lnTo>
                      <a:lnTo>
                        <a:pt x="2398540" y="1122796"/>
                      </a:lnTo>
                      <a:lnTo>
                        <a:pt x="2367938" y="1123647"/>
                      </a:lnTo>
                      <a:lnTo>
                        <a:pt x="2339255" y="1129308"/>
                      </a:lnTo>
                      <a:lnTo>
                        <a:pt x="2320189" y="1144860"/>
                      </a:lnTo>
                      <a:lnTo>
                        <a:pt x="2332854" y="1152255"/>
                      </a:lnTo>
                      <a:lnTo>
                        <a:pt x="2333140" y="1169348"/>
                      </a:lnTo>
                      <a:lnTo>
                        <a:pt x="2320303" y="1179219"/>
                      </a:lnTo>
                      <a:lnTo>
                        <a:pt x="2299467" y="1211605"/>
                      </a:lnTo>
                      <a:lnTo>
                        <a:pt x="2299677" y="1224921"/>
                      </a:lnTo>
                      <a:lnTo>
                        <a:pt x="2267148" y="1243924"/>
                      </a:lnTo>
                      <a:lnTo>
                        <a:pt x="2239438" y="1232587"/>
                      </a:lnTo>
                      <a:lnTo>
                        <a:pt x="2211898" y="1235094"/>
                      </a:lnTo>
                      <a:lnTo>
                        <a:pt x="2199813" y="1225001"/>
                      </a:lnTo>
                      <a:lnTo>
                        <a:pt x="2185971" y="1221738"/>
                      </a:lnTo>
                      <a:lnTo>
                        <a:pt x="2152162" y="1242947"/>
                      </a:lnTo>
                      <a:lnTo>
                        <a:pt x="2121773" y="1247906"/>
                      </a:lnTo>
                      <a:lnTo>
                        <a:pt x="2100555" y="1255310"/>
                      </a:lnTo>
                      <a:lnTo>
                        <a:pt x="2071481" y="1250448"/>
                      </a:lnTo>
                      <a:lnTo>
                        <a:pt x="2050076" y="1250759"/>
                      </a:lnTo>
                      <a:lnTo>
                        <a:pt x="2036066" y="1235439"/>
                      </a:lnTo>
                      <a:lnTo>
                        <a:pt x="2013459" y="1220952"/>
                      </a:lnTo>
                      <a:lnTo>
                        <a:pt x="1990326" y="1216967"/>
                      </a:lnTo>
                      <a:lnTo>
                        <a:pt x="1961125" y="1220921"/>
                      </a:lnTo>
                      <a:lnTo>
                        <a:pt x="1939312" y="1226518"/>
                      </a:lnTo>
                      <a:lnTo>
                        <a:pt x="1906519" y="1213800"/>
                      </a:lnTo>
                      <a:lnTo>
                        <a:pt x="1902118" y="1190981"/>
                      </a:lnTo>
                      <a:lnTo>
                        <a:pt x="1874978" y="1183110"/>
                      </a:lnTo>
                      <a:lnTo>
                        <a:pt x="1854025" y="1179512"/>
                      </a:lnTo>
                      <a:lnTo>
                        <a:pt x="1828167" y="1166778"/>
                      </a:lnTo>
                      <a:lnTo>
                        <a:pt x="1804260" y="1198584"/>
                      </a:lnTo>
                      <a:lnTo>
                        <a:pt x="1813631" y="1216471"/>
                      </a:lnTo>
                      <a:lnTo>
                        <a:pt x="1791195" y="1237472"/>
                      </a:lnTo>
                      <a:lnTo>
                        <a:pt x="1757824" y="1229910"/>
                      </a:lnTo>
                      <a:lnTo>
                        <a:pt x="1734785" y="1228826"/>
                      </a:lnTo>
                      <a:lnTo>
                        <a:pt x="1719357" y="1214710"/>
                      </a:lnTo>
                      <a:lnTo>
                        <a:pt x="1695274" y="1214263"/>
                      </a:lnTo>
                      <a:lnTo>
                        <a:pt x="1675203" y="1204944"/>
                      </a:lnTo>
                      <a:lnTo>
                        <a:pt x="1640094" y="1219213"/>
                      </a:lnTo>
                      <a:lnTo>
                        <a:pt x="1596050" y="1245136"/>
                      </a:lnTo>
                      <a:lnTo>
                        <a:pt x="1571714" y="1250321"/>
                      </a:lnTo>
                      <a:lnTo>
                        <a:pt x="1562681" y="1252777"/>
                      </a:lnTo>
                      <a:lnTo>
                        <a:pt x="1550433" y="1234448"/>
                      </a:lnTo>
                      <a:lnTo>
                        <a:pt x="1520701" y="1238469"/>
                      </a:lnTo>
                      <a:lnTo>
                        <a:pt x="1510874" y="1225694"/>
                      </a:lnTo>
                      <a:lnTo>
                        <a:pt x="1494735" y="1219830"/>
                      </a:lnTo>
                      <a:lnTo>
                        <a:pt x="1483626" y="1202294"/>
                      </a:lnTo>
                      <a:lnTo>
                        <a:pt x="1470882" y="1196809"/>
                      </a:lnTo>
                      <a:lnTo>
                        <a:pt x="1437712" y="1204640"/>
                      </a:lnTo>
                      <a:lnTo>
                        <a:pt x="1405914" y="1187050"/>
                      </a:lnTo>
                      <a:lnTo>
                        <a:pt x="1393614" y="1203040"/>
                      </a:lnTo>
                      <a:lnTo>
                        <a:pt x="1342033" y="1124505"/>
                      </a:lnTo>
                      <a:lnTo>
                        <a:pt x="1312585" y="1100108"/>
                      </a:lnTo>
                      <a:lnTo>
                        <a:pt x="1321032" y="1090136"/>
                      </a:lnTo>
                      <a:lnTo>
                        <a:pt x="1263180" y="1120026"/>
                      </a:lnTo>
                      <a:lnTo>
                        <a:pt x="1241041" y="1121820"/>
                      </a:lnTo>
                      <a:lnTo>
                        <a:pt x="1242953" y="1104591"/>
                      </a:lnTo>
                      <a:lnTo>
                        <a:pt x="1213306" y="1093763"/>
                      </a:lnTo>
                      <a:lnTo>
                        <a:pt x="1189208" y="1101495"/>
                      </a:lnTo>
                      <a:lnTo>
                        <a:pt x="1181939" y="1068391"/>
                      </a:lnTo>
                      <a:lnTo>
                        <a:pt x="1140458" y="1061449"/>
                      </a:lnTo>
                      <a:lnTo>
                        <a:pt x="1119705" y="1074794"/>
                      </a:lnTo>
                      <a:lnTo>
                        <a:pt x="1061947" y="1086605"/>
                      </a:lnTo>
                      <a:lnTo>
                        <a:pt x="1050675" y="1094476"/>
                      </a:lnTo>
                      <a:lnTo>
                        <a:pt x="964301" y="1105521"/>
                      </a:lnTo>
                      <a:lnTo>
                        <a:pt x="953716" y="1116304"/>
                      </a:lnTo>
                      <a:lnTo>
                        <a:pt x="970380" y="1137804"/>
                      </a:lnTo>
                      <a:lnTo>
                        <a:pt x="948221" y="1145916"/>
                      </a:lnTo>
                      <a:lnTo>
                        <a:pt x="952544" y="1154387"/>
                      </a:lnTo>
                      <a:lnTo>
                        <a:pt x="930390" y="1169462"/>
                      </a:lnTo>
                      <a:lnTo>
                        <a:pt x="967795" y="1190592"/>
                      </a:lnTo>
                      <a:lnTo>
                        <a:pt x="962011" y="1205039"/>
                      </a:lnTo>
                      <a:lnTo>
                        <a:pt x="929589" y="1203727"/>
                      </a:lnTo>
                      <a:lnTo>
                        <a:pt x="922883" y="1212742"/>
                      </a:lnTo>
                      <a:lnTo>
                        <a:pt x="893361" y="1196978"/>
                      </a:lnTo>
                      <a:lnTo>
                        <a:pt x="856767" y="1197591"/>
                      </a:lnTo>
                      <a:lnTo>
                        <a:pt x="832275" y="1210428"/>
                      </a:lnTo>
                      <a:lnTo>
                        <a:pt x="804944" y="1198119"/>
                      </a:lnTo>
                      <a:lnTo>
                        <a:pt x="754066" y="1176910"/>
                      </a:lnTo>
                      <a:lnTo>
                        <a:pt x="718010" y="1177706"/>
                      </a:lnTo>
                      <a:lnTo>
                        <a:pt x="670361" y="1210931"/>
                      </a:lnTo>
                      <a:lnTo>
                        <a:pt x="667486" y="1233002"/>
                      </a:lnTo>
                      <a:lnTo>
                        <a:pt x="643749" y="1215493"/>
                      </a:lnTo>
                      <a:lnTo>
                        <a:pt x="625332" y="1248563"/>
                      </a:lnTo>
                      <a:lnTo>
                        <a:pt x="632073" y="1254656"/>
                      </a:lnTo>
                      <a:lnTo>
                        <a:pt x="618749" y="1277173"/>
                      </a:lnTo>
                      <a:lnTo>
                        <a:pt x="638342" y="1297164"/>
                      </a:lnTo>
                      <a:lnTo>
                        <a:pt x="655470" y="1296344"/>
                      </a:lnTo>
                      <a:lnTo>
                        <a:pt x="670184" y="1315896"/>
                      </a:lnTo>
                      <a:lnTo>
                        <a:pt x="667842" y="1330859"/>
                      </a:lnTo>
                      <a:lnTo>
                        <a:pt x="679565" y="1335544"/>
                      </a:lnTo>
                      <a:lnTo>
                        <a:pt x="669046" y="1352658"/>
                      </a:lnTo>
                      <a:lnTo>
                        <a:pt x="646667" y="1357396"/>
                      </a:lnTo>
                      <a:lnTo>
                        <a:pt x="623725" y="1386886"/>
                      </a:lnTo>
                      <a:lnTo>
                        <a:pt x="644706" y="1413731"/>
                      </a:lnTo>
                      <a:lnTo>
                        <a:pt x="642434" y="1432633"/>
                      </a:lnTo>
                      <a:lnTo>
                        <a:pt x="667637" y="1465393"/>
                      </a:lnTo>
                      <a:lnTo>
                        <a:pt x="653854" y="1476522"/>
                      </a:lnTo>
                      <a:lnTo>
                        <a:pt x="649893" y="1483526"/>
                      </a:lnTo>
                      <a:lnTo>
                        <a:pt x="639682" y="1481647"/>
                      </a:lnTo>
                      <a:lnTo>
                        <a:pt x="623819" y="1464888"/>
                      </a:lnTo>
                      <a:lnTo>
                        <a:pt x="617330" y="1463960"/>
                      </a:lnTo>
                      <a:lnTo>
                        <a:pt x="602821" y="1457538"/>
                      </a:lnTo>
                      <a:lnTo>
                        <a:pt x="595755" y="1446135"/>
                      </a:lnTo>
                      <a:lnTo>
                        <a:pt x="574227" y="1440304"/>
                      </a:lnTo>
                      <a:lnTo>
                        <a:pt x="560229" y="1444682"/>
                      </a:lnTo>
                      <a:lnTo>
                        <a:pt x="556185" y="1439499"/>
                      </a:lnTo>
                      <a:lnTo>
                        <a:pt x="524756" y="1426089"/>
                      </a:lnTo>
                      <a:lnTo>
                        <a:pt x="490773" y="1421547"/>
                      </a:lnTo>
                      <a:lnTo>
                        <a:pt x="471263" y="1416743"/>
                      </a:lnTo>
                      <a:lnTo>
                        <a:pt x="468448" y="1420063"/>
                      </a:lnTo>
                      <a:lnTo>
                        <a:pt x="439017" y="1396227"/>
                      </a:lnTo>
                      <a:lnTo>
                        <a:pt x="412683" y="1385522"/>
                      </a:lnTo>
                      <a:lnTo>
                        <a:pt x="392747" y="1368768"/>
                      </a:lnTo>
                      <a:lnTo>
                        <a:pt x="409545" y="1364193"/>
                      </a:lnTo>
                      <a:lnTo>
                        <a:pt x="428698" y="1340128"/>
                      </a:lnTo>
                      <a:lnTo>
                        <a:pt x="415790" y="1328668"/>
                      </a:lnTo>
                      <a:lnTo>
                        <a:pt x="449812" y="1316796"/>
                      </a:lnTo>
                      <a:lnTo>
                        <a:pt x="449202" y="1310417"/>
                      </a:lnTo>
                      <a:lnTo>
                        <a:pt x="428481" y="1315122"/>
                      </a:lnTo>
                      <a:lnTo>
                        <a:pt x="429210" y="1302134"/>
                      </a:lnTo>
                      <a:lnTo>
                        <a:pt x="441108" y="1293939"/>
                      </a:lnTo>
                      <a:lnTo>
                        <a:pt x="463445" y="1291782"/>
                      </a:lnTo>
                      <a:lnTo>
                        <a:pt x="467077" y="1281953"/>
                      </a:lnTo>
                      <a:lnTo>
                        <a:pt x="461976" y="1265620"/>
                      </a:lnTo>
                      <a:lnTo>
                        <a:pt x="471351" y="1250015"/>
                      </a:lnTo>
                      <a:lnTo>
                        <a:pt x="471080" y="1241224"/>
                      </a:lnTo>
                      <a:lnTo>
                        <a:pt x="437055" y="1231445"/>
                      </a:lnTo>
                      <a:lnTo>
                        <a:pt x="423567" y="1231771"/>
                      </a:lnTo>
                      <a:lnTo>
                        <a:pt x="409321" y="1217635"/>
                      </a:lnTo>
                      <a:lnTo>
                        <a:pt x="391609" y="1222424"/>
                      </a:lnTo>
                      <a:lnTo>
                        <a:pt x="362293" y="1211779"/>
                      </a:lnTo>
                      <a:lnTo>
                        <a:pt x="362796" y="1205803"/>
                      </a:lnTo>
                      <a:lnTo>
                        <a:pt x="354585" y="1192582"/>
                      </a:lnTo>
                      <a:lnTo>
                        <a:pt x="336180" y="1191101"/>
                      </a:lnTo>
                      <a:lnTo>
                        <a:pt x="334267" y="1181589"/>
                      </a:lnTo>
                      <a:lnTo>
                        <a:pt x="340033" y="1175364"/>
                      </a:lnTo>
                      <a:lnTo>
                        <a:pt x="325282" y="1157876"/>
                      </a:lnTo>
                      <a:lnTo>
                        <a:pt x="301347" y="1160869"/>
                      </a:lnTo>
                      <a:lnTo>
                        <a:pt x="294337" y="1159313"/>
                      </a:lnTo>
                      <a:lnTo>
                        <a:pt x="288506" y="1166349"/>
                      </a:lnTo>
                      <a:lnTo>
                        <a:pt x="279885" y="1165100"/>
                      </a:lnTo>
                      <a:lnTo>
                        <a:pt x="274208" y="1145229"/>
                      </a:lnTo>
                      <a:lnTo>
                        <a:pt x="268787" y="1134865"/>
                      </a:lnTo>
                      <a:lnTo>
                        <a:pt x="273229" y="1131940"/>
                      </a:lnTo>
                      <a:lnTo>
                        <a:pt x="291854" y="1133027"/>
                      </a:lnTo>
                      <a:lnTo>
                        <a:pt x="300836" y="1126170"/>
                      </a:lnTo>
                      <a:lnTo>
                        <a:pt x="294187" y="1117783"/>
                      </a:lnTo>
                      <a:lnTo>
                        <a:pt x="278622" y="1112232"/>
                      </a:lnTo>
                      <a:lnTo>
                        <a:pt x="280011" y="1106522"/>
                      </a:lnTo>
                      <a:lnTo>
                        <a:pt x="270617" y="1100741"/>
                      </a:lnTo>
                      <a:lnTo>
                        <a:pt x="256146" y="1079876"/>
                      </a:lnTo>
                      <a:lnTo>
                        <a:pt x="261092" y="1071225"/>
                      </a:lnTo>
                      <a:lnTo>
                        <a:pt x="258832" y="1056097"/>
                      </a:lnTo>
                      <a:lnTo>
                        <a:pt x="236266" y="1048374"/>
                      </a:lnTo>
                      <a:lnTo>
                        <a:pt x="224154" y="1052243"/>
                      </a:lnTo>
                      <a:lnTo>
                        <a:pt x="220875" y="1044191"/>
                      </a:lnTo>
                      <a:lnTo>
                        <a:pt x="196573" y="1036027"/>
                      </a:lnTo>
                      <a:lnTo>
                        <a:pt x="189154" y="1016703"/>
                      </a:lnTo>
                      <a:lnTo>
                        <a:pt x="187186" y="1000704"/>
                      </a:lnTo>
                      <a:lnTo>
                        <a:pt x="176064" y="993068"/>
                      </a:lnTo>
                      <a:lnTo>
                        <a:pt x="185955" y="982502"/>
                      </a:lnTo>
                      <a:lnTo>
                        <a:pt x="179110" y="951164"/>
                      </a:lnTo>
                      <a:lnTo>
                        <a:pt x="195534" y="931583"/>
                      </a:lnTo>
                      <a:lnTo>
                        <a:pt x="192059" y="925618"/>
                      </a:lnTo>
                      <a:lnTo>
                        <a:pt x="218294" y="906626"/>
                      </a:lnTo>
                      <a:lnTo>
                        <a:pt x="194110" y="890155"/>
                      </a:lnTo>
                      <a:lnTo>
                        <a:pt x="243533" y="845319"/>
                      </a:lnTo>
                      <a:lnTo>
                        <a:pt x="264974" y="824722"/>
                      </a:lnTo>
                      <a:lnTo>
                        <a:pt x="273655" y="806373"/>
                      </a:lnTo>
                      <a:lnTo>
                        <a:pt x="239488" y="781474"/>
                      </a:lnTo>
                      <a:lnTo>
                        <a:pt x="248924" y="757519"/>
                      </a:lnTo>
                      <a:lnTo>
                        <a:pt x="228144" y="729825"/>
                      </a:lnTo>
                      <a:lnTo>
                        <a:pt x="243683" y="697463"/>
                      </a:lnTo>
                      <a:lnTo>
                        <a:pt x="216837" y="653700"/>
                      </a:lnTo>
                      <a:lnTo>
                        <a:pt x="238139" y="624190"/>
                      </a:lnTo>
                      <a:lnTo>
                        <a:pt x="202788" y="597752"/>
                      </a:lnTo>
                      <a:lnTo>
                        <a:pt x="206158" y="569594"/>
                      </a:lnTo>
                      <a:lnTo>
                        <a:pt x="224800" y="565859"/>
                      </a:lnTo>
                      <a:lnTo>
                        <a:pt x="264076" y="549515"/>
                      </a:lnTo>
                      <a:lnTo>
                        <a:pt x="287889" y="535236"/>
                      </a:lnTo>
                      <a:lnTo>
                        <a:pt x="325808" y="559988"/>
                      </a:lnTo>
                      <a:lnTo>
                        <a:pt x="389020" y="569649"/>
                      </a:lnTo>
                      <a:lnTo>
                        <a:pt x="476234" y="614940"/>
                      </a:lnTo>
                      <a:lnTo>
                        <a:pt x="493951" y="633675"/>
                      </a:lnTo>
                      <a:lnTo>
                        <a:pt x="495476" y="659625"/>
                      </a:lnTo>
                      <a:lnTo>
                        <a:pt x="469852" y="679882"/>
                      </a:lnTo>
                      <a:lnTo>
                        <a:pt x="432161" y="690087"/>
                      </a:lnTo>
                      <a:lnTo>
                        <a:pt x="329114" y="660863"/>
                      </a:lnTo>
                      <a:lnTo>
                        <a:pt x="312165" y="665778"/>
                      </a:lnTo>
                      <a:lnTo>
                        <a:pt x="349798" y="693878"/>
                      </a:lnTo>
                      <a:lnTo>
                        <a:pt x="351270" y="711483"/>
                      </a:lnTo>
                      <a:lnTo>
                        <a:pt x="352778" y="749745"/>
                      </a:lnTo>
                      <a:lnTo>
                        <a:pt x="382494" y="761029"/>
                      </a:lnTo>
                      <a:lnTo>
                        <a:pt x="400532" y="770589"/>
                      </a:lnTo>
                      <a:lnTo>
                        <a:pt x="403516" y="752698"/>
                      </a:lnTo>
                      <a:lnTo>
                        <a:pt x="389611" y="736714"/>
                      </a:lnTo>
                      <a:lnTo>
                        <a:pt x="404302" y="722525"/>
                      </a:lnTo>
                      <a:lnTo>
                        <a:pt x="460102" y="745792"/>
                      </a:lnTo>
                      <a:lnTo>
                        <a:pt x="479541" y="736714"/>
                      </a:lnTo>
                      <a:lnTo>
                        <a:pt x="464006" y="709192"/>
                      </a:lnTo>
                      <a:lnTo>
                        <a:pt x="517800" y="671807"/>
                      </a:lnTo>
                      <a:lnTo>
                        <a:pt x="539105" y="674026"/>
                      </a:lnTo>
                      <a:lnTo>
                        <a:pt x="560657" y="687430"/>
                      </a:lnTo>
                      <a:lnTo>
                        <a:pt x="574103" y="660990"/>
                      </a:lnTo>
                      <a:lnTo>
                        <a:pt x="554855" y="637778"/>
                      </a:lnTo>
                      <a:lnTo>
                        <a:pt x="566156" y="614223"/>
                      </a:lnTo>
                      <a:lnTo>
                        <a:pt x="549187" y="589501"/>
                      </a:lnTo>
                      <a:lnTo>
                        <a:pt x="613753" y="602324"/>
                      </a:lnTo>
                      <a:lnTo>
                        <a:pt x="626941" y="624518"/>
                      </a:lnTo>
                      <a:lnTo>
                        <a:pt x="597715" y="629378"/>
                      </a:lnTo>
                      <a:lnTo>
                        <a:pt x="597873" y="651143"/>
                      </a:lnTo>
                      <a:lnTo>
                        <a:pt x="616042" y="664420"/>
                      </a:lnTo>
                      <a:lnTo>
                        <a:pt x="651705" y="656020"/>
                      </a:lnTo>
                      <a:lnTo>
                        <a:pt x="657351" y="631113"/>
                      </a:lnTo>
                      <a:lnTo>
                        <a:pt x="705568" y="612314"/>
                      </a:lnTo>
                      <a:lnTo>
                        <a:pt x="786121" y="577976"/>
                      </a:lnTo>
                      <a:lnTo>
                        <a:pt x="803532" y="579960"/>
                      </a:lnTo>
                      <a:lnTo>
                        <a:pt x="780776" y="604264"/>
                      </a:lnTo>
                      <a:lnTo>
                        <a:pt x="809408" y="608411"/>
                      </a:lnTo>
                      <a:lnTo>
                        <a:pt x="825945" y="594793"/>
                      </a:lnTo>
                      <a:lnTo>
                        <a:pt x="869210" y="593688"/>
                      </a:lnTo>
                      <a:lnTo>
                        <a:pt x="903487" y="577030"/>
                      </a:lnTo>
                      <a:lnTo>
                        <a:pt x="929788" y="601191"/>
                      </a:lnTo>
                      <a:lnTo>
                        <a:pt x="956019" y="574613"/>
                      </a:lnTo>
                      <a:lnTo>
                        <a:pt x="931833" y="551074"/>
                      </a:lnTo>
                      <a:lnTo>
                        <a:pt x="943835" y="537540"/>
                      </a:lnTo>
                      <a:lnTo>
                        <a:pt x="1012022" y="549954"/>
                      </a:lnTo>
                      <a:lnTo>
                        <a:pt x="1043971" y="562696"/>
                      </a:lnTo>
                      <a:lnTo>
                        <a:pt x="1127623" y="608597"/>
                      </a:lnTo>
                      <a:lnTo>
                        <a:pt x="1143055" y="587702"/>
                      </a:lnTo>
                      <a:lnTo>
                        <a:pt x="1119597" y="566369"/>
                      </a:lnTo>
                      <a:lnTo>
                        <a:pt x="1118923" y="557746"/>
                      </a:lnTo>
                      <a:lnTo>
                        <a:pt x="1091105" y="553744"/>
                      </a:lnTo>
                      <a:lnTo>
                        <a:pt x="1098715" y="534297"/>
                      </a:lnTo>
                      <a:lnTo>
                        <a:pt x="1086369" y="501878"/>
                      </a:lnTo>
                      <a:lnTo>
                        <a:pt x="1085671" y="488423"/>
                      </a:lnTo>
                      <a:lnTo>
                        <a:pt x="1128267" y="449851"/>
                      </a:lnTo>
                      <a:lnTo>
                        <a:pt x="1143417" y="410359"/>
                      </a:lnTo>
                      <a:lnTo>
                        <a:pt x="1160582" y="401708"/>
                      </a:lnTo>
                      <a:lnTo>
                        <a:pt x="1221694" y="413300"/>
                      </a:lnTo>
                      <a:lnTo>
                        <a:pt x="1226506" y="437528"/>
                      </a:lnTo>
                      <a:lnTo>
                        <a:pt x="1204626" y="472328"/>
                      </a:lnTo>
                      <a:lnTo>
                        <a:pt x="1218984" y="485839"/>
                      </a:lnTo>
                      <a:lnTo>
                        <a:pt x="1226411" y="515146"/>
                      </a:lnTo>
                      <a:lnTo>
                        <a:pt x="1221167" y="571373"/>
                      </a:lnTo>
                      <a:lnTo>
                        <a:pt x="1246631" y="596023"/>
                      </a:lnTo>
                      <a:lnTo>
                        <a:pt x="1236724" y="622529"/>
                      </a:lnTo>
                      <a:lnTo>
                        <a:pt x="1191512" y="677816"/>
                      </a:lnTo>
                      <a:lnTo>
                        <a:pt x="1217896" y="683466"/>
                      </a:lnTo>
                      <a:lnTo>
                        <a:pt x="1227078" y="669632"/>
                      </a:lnTo>
                      <a:lnTo>
                        <a:pt x="1252474" y="659707"/>
                      </a:lnTo>
                      <a:lnTo>
                        <a:pt x="1258603" y="640446"/>
                      </a:lnTo>
                      <a:lnTo>
                        <a:pt x="1278580" y="621738"/>
                      </a:lnTo>
                      <a:lnTo>
                        <a:pt x="1265129" y="599174"/>
                      </a:lnTo>
                      <a:lnTo>
                        <a:pt x="1275899" y="572654"/>
                      </a:lnTo>
                      <a:lnTo>
                        <a:pt x="1250659" y="569324"/>
                      </a:lnTo>
                      <a:lnTo>
                        <a:pt x="1245108" y="546669"/>
                      </a:lnTo>
                      <a:lnTo>
                        <a:pt x="1263526" y="505107"/>
                      </a:lnTo>
                      <a:lnTo>
                        <a:pt x="1233548" y="470703"/>
                      </a:lnTo>
                      <a:lnTo>
                        <a:pt x="1274860" y="441804"/>
                      </a:lnTo>
                      <a:lnTo>
                        <a:pt x="1269515" y="410845"/>
                      </a:lnTo>
                      <a:lnTo>
                        <a:pt x="1281028" y="409849"/>
                      </a:lnTo>
                      <a:lnTo>
                        <a:pt x="1293157" y="434041"/>
                      </a:lnTo>
                      <a:lnTo>
                        <a:pt x="1284051" y="475448"/>
                      </a:lnTo>
                      <a:lnTo>
                        <a:pt x="1308752" y="483190"/>
                      </a:lnTo>
                      <a:lnTo>
                        <a:pt x="1298227" y="452452"/>
                      </a:lnTo>
                      <a:lnTo>
                        <a:pt x="1336856" y="435488"/>
                      </a:lnTo>
                      <a:lnTo>
                        <a:pt x="1384761" y="433193"/>
                      </a:lnTo>
                      <a:lnTo>
                        <a:pt x="1427418" y="457772"/>
                      </a:lnTo>
                      <a:lnTo>
                        <a:pt x="1406890" y="421761"/>
                      </a:lnTo>
                      <a:lnTo>
                        <a:pt x="1404591" y="374703"/>
                      </a:lnTo>
                      <a:lnTo>
                        <a:pt x="1444730" y="365660"/>
                      </a:lnTo>
                      <a:lnTo>
                        <a:pt x="1500249" y="367639"/>
                      </a:lnTo>
                      <a:lnTo>
                        <a:pt x="1550271" y="361752"/>
                      </a:lnTo>
                      <a:lnTo>
                        <a:pt x="1531510" y="338075"/>
                      </a:lnTo>
                      <a:lnTo>
                        <a:pt x="1558223" y="307909"/>
                      </a:lnTo>
                      <a:lnTo>
                        <a:pt x="1584742" y="306636"/>
                      </a:lnTo>
                      <a:lnTo>
                        <a:pt x="1629622" y="283515"/>
                      </a:lnTo>
                      <a:lnTo>
                        <a:pt x="1690573" y="277252"/>
                      </a:lnTo>
                      <a:lnTo>
                        <a:pt x="1698275" y="264323"/>
                      </a:lnTo>
                      <a:lnTo>
                        <a:pt x="1758885" y="259922"/>
                      </a:lnTo>
                      <a:lnTo>
                        <a:pt x="1777771" y="270552"/>
                      </a:lnTo>
                      <a:lnTo>
                        <a:pt x="1829577" y="245294"/>
                      </a:lnTo>
                      <a:lnTo>
                        <a:pt x="1871983" y="246089"/>
                      </a:lnTo>
                      <a:lnTo>
                        <a:pt x="1878345" y="225332"/>
                      </a:lnTo>
                      <a:lnTo>
                        <a:pt x="1900401" y="204634"/>
                      </a:lnTo>
                      <a:close/>
                      <a:moveTo>
                        <a:pt x="1902605" y="101148"/>
                      </a:moveTo>
                      <a:lnTo>
                        <a:pt x="1919952" y="104512"/>
                      </a:lnTo>
                      <a:lnTo>
                        <a:pt x="1978457" y="133586"/>
                      </a:lnTo>
                      <a:lnTo>
                        <a:pt x="1971603" y="154117"/>
                      </a:lnTo>
                      <a:lnTo>
                        <a:pt x="1841478" y="173402"/>
                      </a:lnTo>
                      <a:lnTo>
                        <a:pt x="1883645" y="106950"/>
                      </a:lnTo>
                      <a:close/>
                      <a:moveTo>
                        <a:pt x="701231" y="18017"/>
                      </a:moveTo>
                      <a:lnTo>
                        <a:pt x="735467" y="29832"/>
                      </a:lnTo>
                      <a:lnTo>
                        <a:pt x="726539" y="38005"/>
                      </a:lnTo>
                      <a:lnTo>
                        <a:pt x="695551" y="45045"/>
                      </a:lnTo>
                      <a:lnTo>
                        <a:pt x="674793" y="49083"/>
                      </a:lnTo>
                      <a:lnTo>
                        <a:pt x="671574" y="57788"/>
                      </a:lnTo>
                      <a:lnTo>
                        <a:pt x="644594" y="66515"/>
                      </a:lnTo>
                      <a:lnTo>
                        <a:pt x="619589" y="53986"/>
                      </a:lnTo>
                      <a:lnTo>
                        <a:pt x="632738" y="37355"/>
                      </a:lnTo>
                      <a:lnTo>
                        <a:pt x="581367" y="35728"/>
                      </a:lnTo>
                      <a:lnTo>
                        <a:pt x="626429" y="25948"/>
                      </a:lnTo>
                      <a:lnTo>
                        <a:pt x="661499" y="25297"/>
                      </a:lnTo>
                      <a:lnTo>
                        <a:pt x="666216" y="39754"/>
                      </a:lnTo>
                      <a:lnTo>
                        <a:pt x="679474" y="26914"/>
                      </a:lnTo>
                      <a:close/>
                      <a:moveTo>
                        <a:pt x="1760752" y="0"/>
                      </a:moveTo>
                      <a:lnTo>
                        <a:pt x="1805601" y="27291"/>
                      </a:lnTo>
                      <a:lnTo>
                        <a:pt x="1858755" y="78592"/>
                      </a:lnTo>
                      <a:lnTo>
                        <a:pt x="1853057" y="125054"/>
                      </a:lnTo>
                      <a:lnTo>
                        <a:pt x="1802695" y="131408"/>
                      </a:lnTo>
                      <a:lnTo>
                        <a:pt x="1738401" y="116676"/>
                      </a:lnTo>
                      <a:lnTo>
                        <a:pt x="1700091" y="97004"/>
                      </a:lnTo>
                      <a:lnTo>
                        <a:pt x="1682375" y="59464"/>
                      </a:lnTo>
                      <a:lnTo>
                        <a:pt x="1650882" y="48982"/>
                      </a:lnTo>
                      <a:lnTo>
                        <a:pt x="1710819" y="12291"/>
                      </a:lnTo>
                      <a:close/>
                    </a:path>
                  </a:pathLst>
                </a:custGeom>
                <a:solidFill>
                  <a:schemeClr val="accent1"/>
                </a:solidFill>
                <a:ln cap="rnd" w="3175">
                  <a:solidFill>
                    <a:srgbClr val="009fdf">
                      <a:lumMod val="60000"/>
                      <a:lumOff val="40000"/>
                    </a:srgbClr>
                  </a:solidFill>
                </a:ln>
              </p:spPr>
              <p:style>
                <a:lnRef idx="2">
                  <a:schemeClr val="accent1">
                    <a:shade val="50000"/>
                  </a:schemeClr>
                </a:lnRef>
                <a:fillRef idx="1">
                  <a:schemeClr val="accent1"/>
                </a:fillRef>
                <a:effectRef idx="0">
                  <a:schemeClr val="accent1"/>
                </a:effectRef>
                <a:fontRef idx="minor"/>
              </p:style>
              <p:txBody>
                <a:bodyPr numCol="1" spcCol="0" horzOverflow="overflow" lIns="72000" rIns="72000" tIns="72000" bIns="72000" anchor="ctr">
                  <a:noAutofit/>
                </a:bodyPr>
                <a:p>
                  <a:pPr algn="ctr" defTabSz="457200">
                    <a:lnSpc>
                      <a:spcPct val="100000"/>
                    </a:lnSpc>
                    <a:tabLst>
                      <a:tab algn="l" pos="0"/>
                    </a:tabLst>
                  </a:pPr>
                  <a:endParaRPr b="0" lang="de-DE" sz="1600" spc="-1" strike="noStrike">
                    <a:solidFill>
                      <a:srgbClr val="000000"/>
                    </a:solidFill>
                    <a:latin typeface="Arial"/>
                    <a:ea typeface="Arial"/>
                  </a:endParaRPr>
                </a:p>
              </p:txBody>
            </p:sp>
            <p:sp>
              <p:nvSpPr>
                <p:cNvPr id="498" name="Freeform 137"/>
                <p:cNvSpPr/>
                <p:nvPr/>
              </p:nvSpPr>
              <p:spPr>
                <a:xfrm>
                  <a:off x="8037000" y="4202640"/>
                  <a:ext cx="41040" cy="40680"/>
                </a:xfrm>
                <a:custGeom>
                  <a:avLst/>
                  <a:gdLst/>
                  <a:ahLst/>
                  <a:rect l="l" t="t" r="r" b="b"/>
                  <a:pathLst>
                    <a:path w="41347" h="41179">
                      <a:moveTo>
                        <a:pt x="32181" y="0"/>
                      </a:moveTo>
                      <a:lnTo>
                        <a:pt x="41346" y="13027"/>
                      </a:lnTo>
                      <a:lnTo>
                        <a:pt x="40011" y="26612"/>
                      </a:lnTo>
                      <a:lnTo>
                        <a:pt x="33349" y="29536"/>
                      </a:lnTo>
                      <a:lnTo>
                        <a:pt x="21084" y="28027"/>
                      </a:lnTo>
                      <a:lnTo>
                        <a:pt x="14016" y="41178"/>
                      </a:lnTo>
                      <a:lnTo>
                        <a:pt x="0" y="39362"/>
                      </a:lnTo>
                      <a:lnTo>
                        <a:pt x="2136" y="26727"/>
                      </a:lnTo>
                      <a:lnTo>
                        <a:pt x="5306" y="24946"/>
                      </a:lnTo>
                      <a:lnTo>
                        <a:pt x="6162" y="11206"/>
                      </a:lnTo>
                      <a:lnTo>
                        <a:pt x="12800" y="4770"/>
                      </a:lnTo>
                      <a:lnTo>
                        <a:pt x="18387" y="7126"/>
                      </a:lnTo>
                      <a:close/>
                    </a:path>
                  </a:pathLst>
                </a:custGeom>
                <a:solidFill>
                  <a:schemeClr val="accent1">
                    <a:lumMod val="20000"/>
                    <a:lumOff val="80000"/>
                  </a:schemeClr>
                </a:solidFill>
                <a:ln cap="rnd" w="3175">
                  <a:solidFill>
                    <a:srgbClr val="009fdf">
                      <a:lumMod val="60000"/>
                      <a:lumOff val="40000"/>
                    </a:srgbClr>
                  </a:solidFill>
                </a:ln>
              </p:spPr>
              <p:style>
                <a:lnRef idx="2">
                  <a:schemeClr val="accent1">
                    <a:shade val="50000"/>
                  </a:schemeClr>
                </a:lnRef>
                <a:fillRef idx="1">
                  <a:schemeClr val="accent1"/>
                </a:fillRef>
                <a:effectRef idx="0">
                  <a:schemeClr val="accent1"/>
                </a:effectRef>
                <a:fontRef idx="minor"/>
              </p:style>
              <p:txBody>
                <a:bodyPr numCol="1" spcCol="0" horzOverflow="overflow" lIns="72000" rIns="72000" tIns="20160" bIns="20160" anchor="ctr">
                  <a:noAutofit/>
                </a:bodyPr>
                <a:p>
                  <a:pPr algn="ctr" defTabSz="457200">
                    <a:lnSpc>
                      <a:spcPct val="100000"/>
                    </a:lnSpc>
                    <a:tabLst>
                      <a:tab algn="l" pos="0"/>
                    </a:tabLst>
                  </a:pPr>
                  <a:endParaRPr b="0" lang="de-DE" sz="1600" spc="-1" strike="noStrike">
                    <a:solidFill>
                      <a:srgbClr val="000000"/>
                    </a:solidFill>
                    <a:latin typeface="Arial"/>
                    <a:ea typeface="Arial"/>
                  </a:endParaRPr>
                </a:p>
              </p:txBody>
            </p:sp>
            <p:sp>
              <p:nvSpPr>
                <p:cNvPr id="499" name="Freeform 138"/>
                <p:cNvSpPr/>
                <p:nvPr/>
              </p:nvSpPr>
              <p:spPr>
                <a:xfrm>
                  <a:off x="6975000" y="3522960"/>
                  <a:ext cx="192960" cy="162360"/>
                </a:xfrm>
                <a:custGeom>
                  <a:avLst/>
                  <a:gdLst/>
                  <a:ahLst/>
                  <a:rect l="l" t="t" r="r" b="b"/>
                  <a:pathLst>
                    <a:path w="193856" h="163040">
                      <a:moveTo>
                        <a:pt x="190860" y="13329"/>
                      </a:moveTo>
                      <a:lnTo>
                        <a:pt x="190330" y="0"/>
                      </a:lnTo>
                      <a:lnTo>
                        <a:pt x="193845" y="0"/>
                      </a:lnTo>
                      <a:lnTo>
                        <a:pt x="193855" y="1668"/>
                      </a:lnTo>
                      <a:lnTo>
                        <a:pt x="193410" y="6491"/>
                      </a:lnTo>
                      <a:lnTo>
                        <a:pt x="193343" y="44021"/>
                      </a:lnTo>
                      <a:lnTo>
                        <a:pt x="117583" y="42730"/>
                      </a:lnTo>
                      <a:lnTo>
                        <a:pt x="118326" y="105478"/>
                      </a:lnTo>
                      <a:lnTo>
                        <a:pt x="96698" y="107665"/>
                      </a:lnTo>
                      <a:lnTo>
                        <a:pt x="91054" y="120162"/>
                      </a:lnTo>
                      <a:lnTo>
                        <a:pt x="95431" y="155142"/>
                      </a:lnTo>
                      <a:lnTo>
                        <a:pt x="5037" y="154991"/>
                      </a:lnTo>
                      <a:lnTo>
                        <a:pt x="0" y="163039"/>
                      </a:lnTo>
                      <a:lnTo>
                        <a:pt x="992" y="152841"/>
                      </a:lnTo>
                      <a:lnTo>
                        <a:pt x="1395" y="152880"/>
                      </a:lnTo>
                      <a:lnTo>
                        <a:pt x="53378" y="150950"/>
                      </a:lnTo>
                      <a:lnTo>
                        <a:pt x="56151" y="142236"/>
                      </a:lnTo>
                      <a:lnTo>
                        <a:pt x="65607" y="131354"/>
                      </a:lnTo>
                      <a:lnTo>
                        <a:pt x="73226" y="97762"/>
                      </a:lnTo>
                      <a:lnTo>
                        <a:pt x="105314" y="71356"/>
                      </a:lnTo>
                      <a:lnTo>
                        <a:pt x="116168" y="40323"/>
                      </a:lnTo>
                      <a:lnTo>
                        <a:pt x="123381" y="38514"/>
                      </a:lnTo>
                      <a:lnTo>
                        <a:pt x="130899" y="19220"/>
                      </a:lnTo>
                      <a:lnTo>
                        <a:pt x="150318" y="16555"/>
                      </a:lnTo>
                      <a:lnTo>
                        <a:pt x="158670" y="19777"/>
                      </a:lnTo>
                      <a:lnTo>
                        <a:pt x="169152" y="19777"/>
                      </a:lnTo>
                      <a:lnTo>
                        <a:pt x="176591" y="14130"/>
                      </a:lnTo>
                      <a:close/>
                    </a:path>
                  </a:pathLst>
                </a:custGeom>
                <a:solidFill>
                  <a:schemeClr val="accent1">
                    <a:lumMod val="20000"/>
                    <a:lumOff val="80000"/>
                  </a:schemeClr>
                </a:solidFill>
                <a:ln cap="rnd" w="3175">
                  <a:solidFill>
                    <a:srgbClr val="009fdf">
                      <a:lumMod val="60000"/>
                      <a:lumOff val="40000"/>
                    </a:srgbClr>
                  </a:solidFill>
                </a:ln>
              </p:spPr>
              <p:style>
                <a:lnRef idx="2">
                  <a:schemeClr val="accent1">
                    <a:shade val="50000"/>
                  </a:schemeClr>
                </a:lnRef>
                <a:fillRef idx="1">
                  <a:schemeClr val="accent1"/>
                </a:fillRef>
                <a:effectRef idx="0">
                  <a:schemeClr val="accent1"/>
                </a:effectRef>
                <a:fontRef idx="minor"/>
              </p:style>
              <p:txBody>
                <a:bodyPr numCol="1" spcCol="0" horzOverflow="overflow" lIns="72000" rIns="72000" tIns="72000" bIns="72000" anchor="ctr">
                  <a:noAutofit/>
                </a:bodyPr>
                <a:p>
                  <a:pPr algn="ctr" defTabSz="457200">
                    <a:lnSpc>
                      <a:spcPct val="100000"/>
                    </a:lnSpc>
                    <a:tabLst>
                      <a:tab algn="l" pos="0"/>
                    </a:tabLst>
                  </a:pPr>
                  <a:endParaRPr b="0" lang="de-DE" sz="1600" spc="-1" strike="noStrike">
                    <a:solidFill>
                      <a:srgbClr val="000000"/>
                    </a:solidFill>
                    <a:latin typeface="Arial"/>
                    <a:ea typeface="Arial"/>
                  </a:endParaRPr>
                </a:p>
              </p:txBody>
            </p:sp>
            <p:sp>
              <p:nvSpPr>
                <p:cNvPr id="500" name="Freeform 139"/>
                <p:cNvSpPr/>
                <p:nvPr/>
              </p:nvSpPr>
              <p:spPr>
                <a:xfrm>
                  <a:off x="8165880" y="3409200"/>
                  <a:ext cx="484200" cy="387000"/>
                </a:xfrm>
                <a:custGeom>
                  <a:avLst/>
                  <a:gdLst/>
                  <a:ahLst/>
                  <a:rect l="l" t="t" r="r" b="b"/>
                  <a:pathLst>
                    <a:path w="485529" h="387975">
                      <a:moveTo>
                        <a:pt x="188054" y="387974"/>
                      </a:moveTo>
                      <a:lnTo>
                        <a:pt x="185059" y="377855"/>
                      </a:lnTo>
                      <a:lnTo>
                        <a:pt x="178097" y="370704"/>
                      </a:lnTo>
                      <a:lnTo>
                        <a:pt x="176318" y="361222"/>
                      </a:lnTo>
                      <a:lnTo>
                        <a:pt x="164395" y="352693"/>
                      </a:lnTo>
                      <a:lnTo>
                        <a:pt x="152093" y="332690"/>
                      </a:lnTo>
                      <a:lnTo>
                        <a:pt x="145582" y="313193"/>
                      </a:lnTo>
                      <a:lnTo>
                        <a:pt x="129616" y="296679"/>
                      </a:lnTo>
                      <a:lnTo>
                        <a:pt x="119322" y="292732"/>
                      </a:lnTo>
                      <a:lnTo>
                        <a:pt x="104035" y="269770"/>
                      </a:lnTo>
                      <a:lnTo>
                        <a:pt x="101364" y="252967"/>
                      </a:lnTo>
                      <a:lnTo>
                        <a:pt x="102348" y="238593"/>
                      </a:lnTo>
                      <a:lnTo>
                        <a:pt x="89108" y="211604"/>
                      </a:lnTo>
                      <a:lnTo>
                        <a:pt x="78285" y="202070"/>
                      </a:lnTo>
                      <a:lnTo>
                        <a:pt x="65815" y="197011"/>
                      </a:lnTo>
                      <a:lnTo>
                        <a:pt x="58225" y="182967"/>
                      </a:lnTo>
                      <a:lnTo>
                        <a:pt x="59487" y="177415"/>
                      </a:lnTo>
                      <a:lnTo>
                        <a:pt x="53073" y="164658"/>
                      </a:lnTo>
                      <a:lnTo>
                        <a:pt x="46332" y="159153"/>
                      </a:lnTo>
                      <a:lnTo>
                        <a:pt x="37320" y="140765"/>
                      </a:lnTo>
                      <a:lnTo>
                        <a:pt x="23263" y="120748"/>
                      </a:lnTo>
                      <a:lnTo>
                        <a:pt x="11491" y="103628"/>
                      </a:lnTo>
                      <a:lnTo>
                        <a:pt x="0" y="103748"/>
                      </a:lnTo>
                      <a:lnTo>
                        <a:pt x="3587" y="90018"/>
                      </a:lnTo>
                      <a:lnTo>
                        <a:pt x="4613" y="81238"/>
                      </a:lnTo>
                      <a:lnTo>
                        <a:pt x="7471" y="71206"/>
                      </a:lnTo>
                      <a:lnTo>
                        <a:pt x="33160" y="75208"/>
                      </a:lnTo>
                      <a:lnTo>
                        <a:pt x="43138" y="67462"/>
                      </a:lnTo>
                      <a:lnTo>
                        <a:pt x="48662" y="58383"/>
                      </a:lnTo>
                      <a:lnTo>
                        <a:pt x="66275" y="54885"/>
                      </a:lnTo>
                      <a:lnTo>
                        <a:pt x="70074" y="46414"/>
                      </a:lnTo>
                      <a:lnTo>
                        <a:pt x="77708" y="42112"/>
                      </a:lnTo>
                      <a:lnTo>
                        <a:pt x="54702" y="16685"/>
                      </a:lnTo>
                      <a:lnTo>
                        <a:pt x="100930" y="3862"/>
                      </a:lnTo>
                      <a:lnTo>
                        <a:pt x="105329" y="0"/>
                      </a:lnTo>
                      <a:lnTo>
                        <a:pt x="133133" y="6938"/>
                      </a:lnTo>
                      <a:lnTo>
                        <a:pt x="167525" y="24800"/>
                      </a:lnTo>
                      <a:lnTo>
                        <a:pt x="232607" y="75675"/>
                      </a:lnTo>
                      <a:lnTo>
                        <a:pt x="275523" y="77683"/>
                      </a:lnTo>
                      <a:lnTo>
                        <a:pt x="296092" y="80107"/>
                      </a:lnTo>
                      <a:lnTo>
                        <a:pt x="301840" y="92056"/>
                      </a:lnTo>
                      <a:lnTo>
                        <a:pt x="318165" y="91406"/>
                      </a:lnTo>
                      <a:lnTo>
                        <a:pt x="327202" y="112952"/>
                      </a:lnTo>
                      <a:lnTo>
                        <a:pt x="338558" y="118641"/>
                      </a:lnTo>
                      <a:lnTo>
                        <a:pt x="342514" y="127374"/>
                      </a:lnTo>
                      <a:lnTo>
                        <a:pt x="358245" y="137803"/>
                      </a:lnTo>
                      <a:lnTo>
                        <a:pt x="359642" y="148019"/>
                      </a:lnTo>
                      <a:lnTo>
                        <a:pt x="357342" y="156247"/>
                      </a:lnTo>
                      <a:lnTo>
                        <a:pt x="360263" y="164532"/>
                      </a:lnTo>
                      <a:lnTo>
                        <a:pt x="366900" y="171432"/>
                      </a:lnTo>
                      <a:lnTo>
                        <a:pt x="369974" y="179494"/>
                      </a:lnTo>
                      <a:lnTo>
                        <a:pt x="373426" y="185513"/>
                      </a:lnTo>
                      <a:lnTo>
                        <a:pt x="380404" y="190378"/>
                      </a:lnTo>
                      <a:lnTo>
                        <a:pt x="386802" y="188636"/>
                      </a:lnTo>
                      <a:lnTo>
                        <a:pt x="391186" y="197990"/>
                      </a:lnTo>
                      <a:lnTo>
                        <a:pt x="392067" y="203647"/>
                      </a:lnTo>
                      <a:lnTo>
                        <a:pt x="400908" y="228350"/>
                      </a:lnTo>
                      <a:lnTo>
                        <a:pt x="470297" y="240601"/>
                      </a:lnTo>
                      <a:lnTo>
                        <a:pt x="474949" y="235468"/>
                      </a:lnTo>
                      <a:lnTo>
                        <a:pt x="485528" y="252649"/>
                      </a:lnTo>
                      <a:lnTo>
                        <a:pt x="470139" y="300875"/>
                      </a:lnTo>
                      <a:lnTo>
                        <a:pt x="400892" y="324840"/>
                      </a:lnTo>
                      <a:lnTo>
                        <a:pt x="334337" y="334002"/>
                      </a:lnTo>
                      <a:lnTo>
                        <a:pt x="312793" y="344742"/>
                      </a:lnTo>
                      <a:lnTo>
                        <a:pt x="296251" y="369733"/>
                      </a:lnTo>
                      <a:lnTo>
                        <a:pt x="285478" y="373692"/>
                      </a:lnTo>
                      <a:lnTo>
                        <a:pt x="279707" y="365772"/>
                      </a:lnTo>
                      <a:lnTo>
                        <a:pt x="270859" y="366962"/>
                      </a:lnTo>
                      <a:lnTo>
                        <a:pt x="248546" y="364584"/>
                      </a:lnTo>
                      <a:lnTo>
                        <a:pt x="244314" y="362206"/>
                      </a:lnTo>
                      <a:lnTo>
                        <a:pt x="217675" y="362752"/>
                      </a:lnTo>
                      <a:lnTo>
                        <a:pt x="211418" y="364901"/>
                      </a:lnTo>
                      <a:lnTo>
                        <a:pt x="201937" y="358717"/>
                      </a:lnTo>
                      <a:lnTo>
                        <a:pt x="195821" y="370404"/>
                      </a:lnTo>
                      <a:lnTo>
                        <a:pt x="198188" y="380411"/>
                      </a:lnTo>
                      <a:close/>
                    </a:path>
                  </a:pathLst>
                </a:custGeom>
                <a:solidFill>
                  <a:schemeClr val="accent1">
                    <a:lumMod val="20000"/>
                    <a:lumOff val="80000"/>
                  </a:schemeClr>
                </a:solidFill>
                <a:ln cap="rnd" w="3175">
                  <a:solidFill>
                    <a:srgbClr val="009fdf">
                      <a:lumMod val="60000"/>
                      <a:lumOff val="40000"/>
                    </a:srgbClr>
                  </a:solidFill>
                </a:ln>
              </p:spPr>
              <p:style>
                <a:lnRef idx="2">
                  <a:schemeClr val="accent1">
                    <a:shade val="50000"/>
                  </a:schemeClr>
                </a:lnRef>
                <a:fillRef idx="1">
                  <a:schemeClr val="accent1"/>
                </a:fillRef>
                <a:effectRef idx="0">
                  <a:schemeClr val="accent1"/>
                </a:effectRef>
                <a:fontRef idx="minor"/>
              </p:style>
              <p:txBody>
                <a:bodyPr numCol="1" spcCol="0" horzOverflow="overflow" lIns="72000" rIns="72000" tIns="72000" bIns="72000" anchor="ctr">
                  <a:noAutofit/>
                </a:bodyPr>
                <a:p>
                  <a:pPr algn="ctr" defTabSz="457200">
                    <a:lnSpc>
                      <a:spcPct val="100000"/>
                    </a:lnSpc>
                    <a:tabLst>
                      <a:tab algn="l" pos="0"/>
                    </a:tabLst>
                  </a:pPr>
                  <a:endParaRPr b="0" lang="de-DE" sz="1600" spc="-1" strike="noStrike">
                    <a:solidFill>
                      <a:srgbClr val="000000"/>
                    </a:solidFill>
                    <a:latin typeface="Arial"/>
                    <a:ea typeface="Arial"/>
                  </a:endParaRPr>
                </a:p>
              </p:txBody>
            </p:sp>
            <p:sp>
              <p:nvSpPr>
                <p:cNvPr id="501" name="Freeform 140"/>
                <p:cNvSpPr/>
                <p:nvPr/>
              </p:nvSpPr>
              <p:spPr>
                <a:xfrm>
                  <a:off x="7873560" y="3661560"/>
                  <a:ext cx="379080" cy="315720"/>
                </a:xfrm>
                <a:custGeom>
                  <a:avLst/>
                  <a:gdLst/>
                  <a:ahLst/>
                  <a:rect l="l" t="t" r="r" b="b"/>
                  <a:pathLst>
                    <a:path w="380248" h="316551">
                      <a:moveTo>
                        <a:pt x="277606" y="296899"/>
                      </a:moveTo>
                      <a:lnTo>
                        <a:pt x="274410" y="296438"/>
                      </a:lnTo>
                      <a:lnTo>
                        <a:pt x="274807" y="284840"/>
                      </a:lnTo>
                      <a:lnTo>
                        <a:pt x="272032" y="276834"/>
                      </a:lnTo>
                      <a:lnTo>
                        <a:pt x="260144" y="267621"/>
                      </a:lnTo>
                      <a:lnTo>
                        <a:pt x="257370" y="250776"/>
                      </a:lnTo>
                      <a:lnTo>
                        <a:pt x="260144" y="233502"/>
                      </a:lnTo>
                      <a:lnTo>
                        <a:pt x="249445" y="231894"/>
                      </a:lnTo>
                      <a:lnTo>
                        <a:pt x="247860" y="237120"/>
                      </a:lnTo>
                      <a:lnTo>
                        <a:pt x="233991" y="238326"/>
                      </a:lnTo>
                      <a:lnTo>
                        <a:pt x="239539" y="245155"/>
                      </a:lnTo>
                      <a:lnTo>
                        <a:pt x="241520" y="259201"/>
                      </a:lnTo>
                      <a:lnTo>
                        <a:pt x="228839" y="272028"/>
                      </a:lnTo>
                      <a:lnTo>
                        <a:pt x="217347" y="288841"/>
                      </a:lnTo>
                      <a:lnTo>
                        <a:pt x="205459" y="291241"/>
                      </a:lnTo>
                      <a:lnTo>
                        <a:pt x="186042" y="277635"/>
                      </a:lnTo>
                      <a:lnTo>
                        <a:pt x="177324" y="282439"/>
                      </a:lnTo>
                      <a:lnTo>
                        <a:pt x="174947" y="289241"/>
                      </a:lnTo>
                      <a:lnTo>
                        <a:pt x="163059" y="293640"/>
                      </a:lnTo>
                      <a:lnTo>
                        <a:pt x="162266" y="298437"/>
                      </a:lnTo>
                      <a:lnTo>
                        <a:pt x="139282" y="298437"/>
                      </a:lnTo>
                      <a:lnTo>
                        <a:pt x="136112" y="293640"/>
                      </a:lnTo>
                      <a:lnTo>
                        <a:pt x="119469" y="292840"/>
                      </a:lnTo>
                      <a:lnTo>
                        <a:pt x="111147" y="296838"/>
                      </a:lnTo>
                      <a:lnTo>
                        <a:pt x="104807" y="294839"/>
                      </a:lnTo>
                      <a:lnTo>
                        <a:pt x="92919" y="281238"/>
                      </a:lnTo>
                      <a:lnTo>
                        <a:pt x="88956" y="274832"/>
                      </a:lnTo>
                      <a:lnTo>
                        <a:pt x="72313" y="278035"/>
                      </a:lnTo>
                      <a:lnTo>
                        <a:pt x="65973" y="288841"/>
                      </a:lnTo>
                      <a:lnTo>
                        <a:pt x="60029" y="309624"/>
                      </a:lnTo>
                      <a:lnTo>
                        <a:pt x="52103" y="314016"/>
                      </a:lnTo>
                      <a:lnTo>
                        <a:pt x="45015" y="316550"/>
                      </a:lnTo>
                      <a:lnTo>
                        <a:pt x="43141" y="315467"/>
                      </a:lnTo>
                      <a:lnTo>
                        <a:pt x="35136" y="308769"/>
                      </a:lnTo>
                      <a:lnTo>
                        <a:pt x="33653" y="301537"/>
                      </a:lnTo>
                      <a:lnTo>
                        <a:pt x="37404" y="291846"/>
                      </a:lnTo>
                      <a:lnTo>
                        <a:pt x="37336" y="282338"/>
                      </a:lnTo>
                      <a:lnTo>
                        <a:pt x="24023" y="267752"/>
                      </a:lnTo>
                      <a:lnTo>
                        <a:pt x="21406" y="257758"/>
                      </a:lnTo>
                      <a:lnTo>
                        <a:pt x="21684" y="252098"/>
                      </a:lnTo>
                      <a:lnTo>
                        <a:pt x="13200" y="245205"/>
                      </a:lnTo>
                      <a:lnTo>
                        <a:pt x="12945" y="231607"/>
                      </a:lnTo>
                      <a:lnTo>
                        <a:pt x="8106" y="222565"/>
                      </a:lnTo>
                      <a:lnTo>
                        <a:pt x="0" y="223922"/>
                      </a:lnTo>
                      <a:lnTo>
                        <a:pt x="2326" y="215308"/>
                      </a:lnTo>
                      <a:lnTo>
                        <a:pt x="8304" y="205521"/>
                      </a:lnTo>
                      <a:lnTo>
                        <a:pt x="5689" y="195786"/>
                      </a:lnTo>
                      <a:lnTo>
                        <a:pt x="13277" y="188570"/>
                      </a:lnTo>
                      <a:lnTo>
                        <a:pt x="8464" y="183069"/>
                      </a:lnTo>
                      <a:lnTo>
                        <a:pt x="14568" y="168514"/>
                      </a:lnTo>
                      <a:lnTo>
                        <a:pt x="25109" y="151118"/>
                      </a:lnTo>
                      <a:lnTo>
                        <a:pt x="45013" y="152771"/>
                      </a:lnTo>
                      <a:lnTo>
                        <a:pt x="43876" y="58291"/>
                      </a:lnTo>
                      <a:lnTo>
                        <a:pt x="44161" y="48225"/>
                      </a:lnTo>
                      <a:lnTo>
                        <a:pt x="70706" y="48152"/>
                      </a:lnTo>
                      <a:lnTo>
                        <a:pt x="70706" y="0"/>
                      </a:lnTo>
                      <a:lnTo>
                        <a:pt x="163499" y="0"/>
                      </a:lnTo>
                      <a:lnTo>
                        <a:pt x="253059" y="0"/>
                      </a:lnTo>
                      <a:lnTo>
                        <a:pt x="344611" y="0"/>
                      </a:lnTo>
                      <a:lnTo>
                        <a:pt x="352055" y="23709"/>
                      </a:lnTo>
                      <a:lnTo>
                        <a:pt x="346992" y="28082"/>
                      </a:lnTo>
                      <a:lnTo>
                        <a:pt x="350346" y="52835"/>
                      </a:lnTo>
                      <a:lnTo>
                        <a:pt x="358819" y="81415"/>
                      </a:lnTo>
                      <a:lnTo>
                        <a:pt x="367613" y="87294"/>
                      </a:lnTo>
                      <a:lnTo>
                        <a:pt x="380247" y="96106"/>
                      </a:lnTo>
                      <a:lnTo>
                        <a:pt x="368565" y="109695"/>
                      </a:lnTo>
                      <a:lnTo>
                        <a:pt x="351564" y="113604"/>
                      </a:lnTo>
                      <a:lnTo>
                        <a:pt x="344295" y="120887"/>
                      </a:lnTo>
                      <a:lnTo>
                        <a:pt x="342018" y="136653"/>
                      </a:lnTo>
                      <a:lnTo>
                        <a:pt x="332077" y="171387"/>
                      </a:lnTo>
                      <a:lnTo>
                        <a:pt x="334530" y="180825"/>
                      </a:lnTo>
                      <a:lnTo>
                        <a:pt x="330853" y="201032"/>
                      </a:lnTo>
                      <a:lnTo>
                        <a:pt x="321468" y="224154"/>
                      </a:lnTo>
                      <a:lnTo>
                        <a:pt x="307546" y="235761"/>
                      </a:lnTo>
                      <a:lnTo>
                        <a:pt x="297647" y="253632"/>
                      </a:lnTo>
                      <a:lnTo>
                        <a:pt x="295327" y="263183"/>
                      </a:lnTo>
                      <a:lnTo>
                        <a:pt x="284393" y="269722"/>
                      </a:lnTo>
                      <a:lnTo>
                        <a:pt x="277565" y="294121"/>
                      </a:lnTo>
                      <a:close/>
                    </a:path>
                  </a:pathLst>
                </a:custGeom>
                <a:solidFill>
                  <a:schemeClr val="accent1"/>
                </a:solidFill>
                <a:ln cap="rnd" w="3175">
                  <a:solidFill>
                    <a:srgbClr val="009fdf">
                      <a:lumMod val="60000"/>
                      <a:lumOff val="40000"/>
                    </a:srgbClr>
                  </a:solidFill>
                </a:ln>
              </p:spPr>
              <p:style>
                <a:lnRef idx="2">
                  <a:schemeClr val="accent1">
                    <a:shade val="50000"/>
                  </a:schemeClr>
                </a:lnRef>
                <a:fillRef idx="1">
                  <a:schemeClr val="accent1"/>
                </a:fillRef>
                <a:effectRef idx="0">
                  <a:schemeClr val="accent1"/>
                </a:effectRef>
                <a:fontRef idx="minor"/>
              </p:style>
              <p:txBody>
                <a:bodyPr numCol="1" spcCol="0" horzOverflow="overflow" lIns="72000" rIns="72000" tIns="72000" bIns="72000" anchor="ctr">
                  <a:noAutofit/>
                </a:bodyPr>
                <a:p>
                  <a:pPr algn="ctr" defTabSz="457200">
                    <a:lnSpc>
                      <a:spcPct val="100000"/>
                    </a:lnSpc>
                    <a:tabLst>
                      <a:tab algn="l" pos="0"/>
                    </a:tabLst>
                  </a:pPr>
                  <a:endParaRPr b="0" lang="de-DE" sz="1600" spc="-1" strike="noStrike">
                    <a:solidFill>
                      <a:srgbClr val="000000"/>
                    </a:solidFill>
                    <a:latin typeface="Arial"/>
                    <a:ea typeface="Arial"/>
                  </a:endParaRPr>
                </a:p>
              </p:txBody>
            </p:sp>
            <p:sp>
              <p:nvSpPr>
                <p:cNvPr id="502" name="Freeform 141"/>
                <p:cNvSpPr/>
                <p:nvPr/>
              </p:nvSpPr>
              <p:spPr>
                <a:xfrm>
                  <a:off x="7918560" y="3892680"/>
                  <a:ext cx="262440" cy="202320"/>
                </a:xfrm>
                <a:custGeom>
                  <a:avLst/>
                  <a:gdLst/>
                  <a:ahLst/>
                  <a:rect l="l" t="t" r="r" b="b"/>
                  <a:pathLst>
                    <a:path w="263398" h="203072">
                      <a:moveTo>
                        <a:pt x="232591" y="65005"/>
                      </a:moveTo>
                      <a:lnTo>
                        <a:pt x="232858" y="83149"/>
                      </a:lnTo>
                      <a:lnTo>
                        <a:pt x="229408" y="90249"/>
                      </a:lnTo>
                      <a:lnTo>
                        <a:pt x="217157" y="90820"/>
                      </a:lnTo>
                      <a:lnTo>
                        <a:pt x="209295" y="104052"/>
                      </a:lnTo>
                      <a:lnTo>
                        <a:pt x="223470" y="105715"/>
                      </a:lnTo>
                      <a:lnTo>
                        <a:pt x="235169" y="117027"/>
                      </a:lnTo>
                      <a:lnTo>
                        <a:pt x="239213" y="126301"/>
                      </a:lnTo>
                      <a:lnTo>
                        <a:pt x="249755" y="131677"/>
                      </a:lnTo>
                      <a:lnTo>
                        <a:pt x="263397" y="156886"/>
                      </a:lnTo>
                      <a:lnTo>
                        <a:pt x="247751" y="172135"/>
                      </a:lnTo>
                      <a:lnTo>
                        <a:pt x="233551" y="185948"/>
                      </a:lnTo>
                      <a:lnTo>
                        <a:pt x="219355" y="196580"/>
                      </a:lnTo>
                      <a:lnTo>
                        <a:pt x="203115" y="196527"/>
                      </a:lnTo>
                      <a:lnTo>
                        <a:pt x="184533" y="201936"/>
                      </a:lnTo>
                      <a:lnTo>
                        <a:pt x="169856" y="196768"/>
                      </a:lnTo>
                      <a:lnTo>
                        <a:pt x="160352" y="203071"/>
                      </a:lnTo>
                      <a:lnTo>
                        <a:pt x="140031" y="187710"/>
                      </a:lnTo>
                      <a:lnTo>
                        <a:pt x="134549" y="177833"/>
                      </a:lnTo>
                      <a:lnTo>
                        <a:pt x="121694" y="182725"/>
                      </a:lnTo>
                      <a:lnTo>
                        <a:pt x="111021" y="181203"/>
                      </a:lnTo>
                      <a:lnTo>
                        <a:pt x="104842" y="185087"/>
                      </a:lnTo>
                      <a:lnTo>
                        <a:pt x="94477" y="182282"/>
                      </a:lnTo>
                      <a:lnTo>
                        <a:pt x="80495" y="163184"/>
                      </a:lnTo>
                      <a:lnTo>
                        <a:pt x="76783" y="155845"/>
                      </a:lnTo>
                      <a:lnTo>
                        <a:pt x="59528" y="146680"/>
                      </a:lnTo>
                      <a:lnTo>
                        <a:pt x="53700" y="132780"/>
                      </a:lnTo>
                      <a:lnTo>
                        <a:pt x="44080" y="122748"/>
                      </a:lnTo>
                      <a:lnTo>
                        <a:pt x="28557" y="110665"/>
                      </a:lnTo>
                      <a:lnTo>
                        <a:pt x="28344" y="103120"/>
                      </a:lnTo>
                      <a:lnTo>
                        <a:pt x="15705" y="93734"/>
                      </a:lnTo>
                      <a:lnTo>
                        <a:pt x="0" y="84656"/>
                      </a:lnTo>
                      <a:lnTo>
                        <a:pt x="7088" y="82122"/>
                      </a:lnTo>
                      <a:lnTo>
                        <a:pt x="15014" y="77730"/>
                      </a:lnTo>
                      <a:lnTo>
                        <a:pt x="20958" y="56947"/>
                      </a:lnTo>
                      <a:lnTo>
                        <a:pt x="27298" y="46141"/>
                      </a:lnTo>
                      <a:lnTo>
                        <a:pt x="43941" y="42938"/>
                      </a:lnTo>
                      <a:lnTo>
                        <a:pt x="47904" y="49344"/>
                      </a:lnTo>
                      <a:lnTo>
                        <a:pt x="59792" y="62945"/>
                      </a:lnTo>
                      <a:lnTo>
                        <a:pt x="66132" y="64944"/>
                      </a:lnTo>
                      <a:lnTo>
                        <a:pt x="74454" y="60946"/>
                      </a:lnTo>
                      <a:lnTo>
                        <a:pt x="91097" y="61746"/>
                      </a:lnTo>
                      <a:lnTo>
                        <a:pt x="94267" y="66543"/>
                      </a:lnTo>
                      <a:lnTo>
                        <a:pt x="117251" y="66543"/>
                      </a:lnTo>
                      <a:lnTo>
                        <a:pt x="118044" y="61746"/>
                      </a:lnTo>
                      <a:lnTo>
                        <a:pt x="129932" y="57347"/>
                      </a:lnTo>
                      <a:lnTo>
                        <a:pt x="132309" y="50545"/>
                      </a:lnTo>
                      <a:lnTo>
                        <a:pt x="141027" y="45741"/>
                      </a:lnTo>
                      <a:lnTo>
                        <a:pt x="160444" y="59347"/>
                      </a:lnTo>
                      <a:lnTo>
                        <a:pt x="172332" y="56947"/>
                      </a:lnTo>
                      <a:lnTo>
                        <a:pt x="183824" y="40134"/>
                      </a:lnTo>
                      <a:lnTo>
                        <a:pt x="196505" y="27307"/>
                      </a:lnTo>
                      <a:lnTo>
                        <a:pt x="194524" y="13261"/>
                      </a:lnTo>
                      <a:lnTo>
                        <a:pt x="188976" y="6432"/>
                      </a:lnTo>
                      <a:lnTo>
                        <a:pt x="202845" y="5226"/>
                      </a:lnTo>
                      <a:lnTo>
                        <a:pt x="204430" y="0"/>
                      </a:lnTo>
                      <a:lnTo>
                        <a:pt x="215129" y="1608"/>
                      </a:lnTo>
                      <a:lnTo>
                        <a:pt x="212355" y="18882"/>
                      </a:lnTo>
                      <a:lnTo>
                        <a:pt x="215129" y="35727"/>
                      </a:lnTo>
                      <a:lnTo>
                        <a:pt x="227017" y="44940"/>
                      </a:lnTo>
                      <a:lnTo>
                        <a:pt x="229792" y="52946"/>
                      </a:lnTo>
                      <a:lnTo>
                        <a:pt x="229395" y="64544"/>
                      </a:lnTo>
                      <a:close/>
                    </a:path>
                  </a:pathLst>
                </a:custGeom>
                <a:solidFill>
                  <a:schemeClr val="accent1">
                    <a:lumMod val="20000"/>
                    <a:lumOff val="80000"/>
                  </a:schemeClr>
                </a:solidFill>
                <a:ln cap="rnd" w="3175">
                  <a:solidFill>
                    <a:srgbClr val="009fdf">
                      <a:lumMod val="60000"/>
                      <a:lumOff val="40000"/>
                    </a:srgbClr>
                  </a:solidFill>
                </a:ln>
              </p:spPr>
              <p:style>
                <a:lnRef idx="2">
                  <a:schemeClr val="accent1">
                    <a:shade val="50000"/>
                  </a:schemeClr>
                </a:lnRef>
                <a:fillRef idx="1">
                  <a:schemeClr val="accent1"/>
                </a:fillRef>
                <a:effectRef idx="0">
                  <a:schemeClr val="accent1"/>
                </a:effectRef>
                <a:fontRef idx="minor"/>
              </p:style>
              <p:txBody>
                <a:bodyPr numCol="1" spcCol="0" horzOverflow="overflow" lIns="72000" rIns="72000" tIns="72000" bIns="72000" anchor="ctr">
                  <a:noAutofit/>
                </a:bodyPr>
                <a:p>
                  <a:pPr algn="ctr" defTabSz="457200">
                    <a:lnSpc>
                      <a:spcPct val="100000"/>
                    </a:lnSpc>
                    <a:tabLst>
                      <a:tab algn="l" pos="0"/>
                    </a:tabLst>
                  </a:pPr>
                  <a:endParaRPr b="0" lang="de-DE" sz="1600" spc="-1" strike="noStrike">
                    <a:solidFill>
                      <a:srgbClr val="000000"/>
                    </a:solidFill>
                    <a:latin typeface="Arial"/>
                    <a:ea typeface="Arial"/>
                  </a:endParaRPr>
                </a:p>
              </p:txBody>
            </p:sp>
            <p:sp>
              <p:nvSpPr>
                <p:cNvPr id="503" name="Freeform 142"/>
                <p:cNvSpPr/>
                <p:nvPr/>
              </p:nvSpPr>
              <p:spPr>
                <a:xfrm>
                  <a:off x="6962040" y="3790440"/>
                  <a:ext cx="141480" cy="100080"/>
                </a:xfrm>
                <a:custGeom>
                  <a:avLst/>
                  <a:gdLst/>
                  <a:ahLst/>
                  <a:rect l="l" t="t" r="r" b="b"/>
                  <a:pathLst>
                    <a:path w="142125" h="100535">
                      <a:moveTo>
                        <a:pt x="21036" y="70899"/>
                      </a:moveTo>
                      <a:lnTo>
                        <a:pt x="11517" y="52580"/>
                      </a:lnTo>
                      <a:lnTo>
                        <a:pt x="0" y="44189"/>
                      </a:lnTo>
                      <a:lnTo>
                        <a:pt x="10154" y="39709"/>
                      </a:lnTo>
                      <a:lnTo>
                        <a:pt x="21337" y="23128"/>
                      </a:lnTo>
                      <a:lnTo>
                        <a:pt x="26821" y="10978"/>
                      </a:lnTo>
                      <a:lnTo>
                        <a:pt x="34725" y="3381"/>
                      </a:lnTo>
                      <a:lnTo>
                        <a:pt x="46197" y="5427"/>
                      </a:lnTo>
                      <a:lnTo>
                        <a:pt x="57460" y="260"/>
                      </a:lnTo>
                      <a:lnTo>
                        <a:pt x="70349" y="0"/>
                      </a:lnTo>
                      <a:lnTo>
                        <a:pt x="81379" y="6968"/>
                      </a:lnTo>
                      <a:lnTo>
                        <a:pt x="96701" y="13243"/>
                      </a:lnTo>
                      <a:lnTo>
                        <a:pt x="110668" y="30639"/>
                      </a:lnTo>
                      <a:lnTo>
                        <a:pt x="125900" y="46846"/>
                      </a:lnTo>
                      <a:lnTo>
                        <a:pt x="126959" y="61497"/>
                      </a:lnTo>
                      <a:lnTo>
                        <a:pt x="131510" y="74962"/>
                      </a:lnTo>
                      <a:lnTo>
                        <a:pt x="140150" y="81558"/>
                      </a:lnTo>
                      <a:lnTo>
                        <a:pt x="142124" y="90632"/>
                      </a:lnTo>
                      <a:lnTo>
                        <a:pt x="141061" y="97935"/>
                      </a:lnTo>
                      <a:lnTo>
                        <a:pt x="137729" y="99257"/>
                      </a:lnTo>
                      <a:lnTo>
                        <a:pt x="125143" y="97404"/>
                      </a:lnTo>
                      <a:lnTo>
                        <a:pt x="123411" y="100010"/>
                      </a:lnTo>
                      <a:lnTo>
                        <a:pt x="118322" y="100534"/>
                      </a:lnTo>
                      <a:lnTo>
                        <a:pt x="101731" y="94821"/>
                      </a:lnTo>
                      <a:lnTo>
                        <a:pt x="90590" y="94579"/>
                      </a:lnTo>
                      <a:lnTo>
                        <a:pt x="47933" y="93594"/>
                      </a:lnTo>
                      <a:lnTo>
                        <a:pt x="41745" y="96234"/>
                      </a:lnTo>
                      <a:lnTo>
                        <a:pt x="34101" y="95479"/>
                      </a:lnTo>
                      <a:lnTo>
                        <a:pt x="21873" y="99298"/>
                      </a:lnTo>
                      <a:lnTo>
                        <a:pt x="18086" y="81319"/>
                      </a:lnTo>
                      <a:lnTo>
                        <a:pt x="39097" y="81814"/>
                      </a:lnTo>
                      <a:lnTo>
                        <a:pt x="44643" y="78525"/>
                      </a:lnTo>
                      <a:lnTo>
                        <a:pt x="48779" y="78332"/>
                      </a:lnTo>
                      <a:lnTo>
                        <a:pt x="57335" y="72907"/>
                      </a:lnTo>
                      <a:lnTo>
                        <a:pt x="67236" y="77871"/>
                      </a:lnTo>
                      <a:lnTo>
                        <a:pt x="77266" y="78285"/>
                      </a:lnTo>
                      <a:lnTo>
                        <a:pt x="87255" y="73012"/>
                      </a:lnTo>
                      <a:lnTo>
                        <a:pt x="82591" y="66218"/>
                      </a:lnTo>
                      <a:lnTo>
                        <a:pt x="74981" y="70177"/>
                      </a:lnTo>
                      <a:lnTo>
                        <a:pt x="67817" y="70067"/>
                      </a:lnTo>
                      <a:lnTo>
                        <a:pt x="58707" y="64279"/>
                      </a:lnTo>
                      <a:lnTo>
                        <a:pt x="51389" y="64658"/>
                      </a:lnTo>
                      <a:lnTo>
                        <a:pt x="46176" y="70226"/>
                      </a:lnTo>
                      <a:close/>
                    </a:path>
                  </a:pathLst>
                </a:custGeom>
                <a:solidFill>
                  <a:schemeClr val="accent1">
                    <a:lumMod val="20000"/>
                    <a:lumOff val="80000"/>
                  </a:schemeClr>
                </a:solidFill>
                <a:ln cap="rnd" w="3175">
                  <a:solidFill>
                    <a:srgbClr val="009fdf">
                      <a:lumMod val="60000"/>
                      <a:lumOff val="40000"/>
                    </a:srgbClr>
                  </a:solidFill>
                </a:ln>
              </p:spPr>
              <p:style>
                <a:lnRef idx="2">
                  <a:schemeClr val="accent1">
                    <a:shade val="50000"/>
                  </a:schemeClr>
                </a:lnRef>
                <a:fillRef idx="1">
                  <a:schemeClr val="accent1"/>
                </a:fillRef>
                <a:effectRef idx="0">
                  <a:schemeClr val="accent1"/>
                </a:effectRef>
                <a:fontRef idx="minor"/>
              </p:style>
              <p:txBody>
                <a:bodyPr numCol="1" spcCol="0" horzOverflow="overflow" lIns="72000" rIns="72000" tIns="50040" bIns="50040" anchor="ctr">
                  <a:noAutofit/>
                </a:bodyPr>
                <a:p>
                  <a:pPr algn="ctr" defTabSz="457200">
                    <a:lnSpc>
                      <a:spcPct val="100000"/>
                    </a:lnSpc>
                    <a:tabLst>
                      <a:tab algn="l" pos="0"/>
                    </a:tabLst>
                  </a:pPr>
                  <a:endParaRPr b="0" lang="de-DE" sz="1600" spc="-1" strike="noStrike">
                    <a:solidFill>
                      <a:srgbClr val="000000"/>
                    </a:solidFill>
                    <a:latin typeface="Arial"/>
                    <a:ea typeface="Arial"/>
                  </a:endParaRPr>
                </a:p>
              </p:txBody>
            </p:sp>
            <p:sp>
              <p:nvSpPr>
                <p:cNvPr id="504" name="Freeform 143"/>
                <p:cNvSpPr/>
                <p:nvPr/>
              </p:nvSpPr>
              <p:spPr>
                <a:xfrm>
                  <a:off x="10973160" y="4328640"/>
                  <a:ext cx="135720" cy="97920"/>
                </a:xfrm>
                <a:custGeom>
                  <a:avLst/>
                  <a:gdLst>
                    <a:gd name="textAreaLeft" fmla="*/ 0 w 135720"/>
                    <a:gd name="textAreaRight" fmla="*/ 136080 w 135720"/>
                    <a:gd name="textAreaTop" fmla="*/ 0 h 97920"/>
                    <a:gd name="textAreaBottom" fmla="*/ 98280 h 97920"/>
                  </a:gdLst>
                  <a:ahLst/>
                  <a:rect l="textAreaLeft" t="textAreaTop" r="textAreaRight" b="textAreaBottom"/>
                  <a:pathLst>
                    <a:path w="136356" h="98312">
                      <a:moveTo>
                        <a:pt x="111453" y="83808"/>
                      </a:moveTo>
                      <a:lnTo>
                        <a:pt x="125247" y="89451"/>
                      </a:lnTo>
                      <a:lnTo>
                        <a:pt x="129901" y="90291"/>
                      </a:lnTo>
                      <a:lnTo>
                        <a:pt x="136356" y="98312"/>
                      </a:lnTo>
                      <a:lnTo>
                        <a:pt x="120230" y="98164"/>
                      </a:lnTo>
                      <a:close/>
                      <a:moveTo>
                        <a:pt x="74132" y="61400"/>
                      </a:moveTo>
                      <a:lnTo>
                        <a:pt x="89367" y="65063"/>
                      </a:lnTo>
                      <a:lnTo>
                        <a:pt x="96881" y="69950"/>
                      </a:lnTo>
                      <a:lnTo>
                        <a:pt x="100660" y="76073"/>
                      </a:lnTo>
                      <a:lnTo>
                        <a:pt x="91666" y="76592"/>
                      </a:lnTo>
                      <a:lnTo>
                        <a:pt x="77514" y="74234"/>
                      </a:lnTo>
                      <a:lnTo>
                        <a:pt x="72679" y="70645"/>
                      </a:lnTo>
                      <a:close/>
                      <a:moveTo>
                        <a:pt x="94377" y="39935"/>
                      </a:moveTo>
                      <a:lnTo>
                        <a:pt x="102225" y="39935"/>
                      </a:lnTo>
                      <a:lnTo>
                        <a:pt x="110534" y="58539"/>
                      </a:lnTo>
                      <a:lnTo>
                        <a:pt x="119767" y="69714"/>
                      </a:lnTo>
                      <a:lnTo>
                        <a:pt x="116291" y="74008"/>
                      </a:lnTo>
                      <a:lnTo>
                        <a:pt x="99184" y="53828"/>
                      </a:lnTo>
                      <a:close/>
                      <a:moveTo>
                        <a:pt x="43132" y="16714"/>
                      </a:moveTo>
                      <a:lnTo>
                        <a:pt x="53752" y="22284"/>
                      </a:lnTo>
                      <a:lnTo>
                        <a:pt x="72679" y="32965"/>
                      </a:lnTo>
                      <a:lnTo>
                        <a:pt x="78104" y="40337"/>
                      </a:lnTo>
                      <a:lnTo>
                        <a:pt x="79082" y="45009"/>
                      </a:lnTo>
                      <a:lnTo>
                        <a:pt x="60991" y="35153"/>
                      </a:lnTo>
                      <a:lnTo>
                        <a:pt x="48353" y="26807"/>
                      </a:lnTo>
                      <a:lnTo>
                        <a:pt x="39697" y="19078"/>
                      </a:lnTo>
                      <a:close/>
                      <a:moveTo>
                        <a:pt x="1188" y="0"/>
                      </a:moveTo>
                      <a:lnTo>
                        <a:pt x="14972" y="9792"/>
                      </a:lnTo>
                      <a:lnTo>
                        <a:pt x="24169" y="17359"/>
                      </a:lnTo>
                      <a:lnTo>
                        <a:pt x="19575" y="18681"/>
                      </a:lnTo>
                      <a:lnTo>
                        <a:pt x="9479" y="13393"/>
                      </a:lnTo>
                      <a:lnTo>
                        <a:pt x="0" y="3863"/>
                      </a:lnTo>
                      <a:close/>
                    </a:path>
                  </a:pathLst>
                </a:custGeom>
                <a:solidFill>
                  <a:schemeClr val="accent1"/>
                </a:solidFill>
                <a:ln cap="rnd" w="3175">
                  <a:solidFill>
                    <a:srgbClr val="009fdf">
                      <a:lumMod val="60000"/>
                      <a:lumOff val="40000"/>
                    </a:srgbClr>
                  </a:solidFill>
                </a:ln>
              </p:spPr>
              <p:style>
                <a:lnRef idx="2">
                  <a:schemeClr val="accent1">
                    <a:shade val="50000"/>
                  </a:schemeClr>
                </a:lnRef>
                <a:fillRef idx="1">
                  <a:schemeClr val="accent1"/>
                </a:fillRef>
                <a:effectRef idx="0">
                  <a:schemeClr val="accent1"/>
                </a:effectRef>
                <a:fontRef idx="minor"/>
              </p:style>
              <p:txBody>
                <a:bodyPr numCol="1" spcCol="0" horzOverflow="overflow" lIns="72000" rIns="72000" tIns="48960" bIns="48960" anchor="ctr">
                  <a:noAutofit/>
                </a:bodyPr>
                <a:p>
                  <a:pPr algn="ctr" defTabSz="457200">
                    <a:lnSpc>
                      <a:spcPct val="100000"/>
                    </a:lnSpc>
                    <a:tabLst>
                      <a:tab algn="l" pos="0"/>
                    </a:tabLst>
                  </a:pPr>
                  <a:endParaRPr b="0" lang="de-DE" sz="1600" spc="-1" strike="noStrike">
                    <a:solidFill>
                      <a:srgbClr val="000000"/>
                    </a:solidFill>
                    <a:latin typeface="Arial"/>
                    <a:ea typeface="Arial"/>
                  </a:endParaRPr>
                </a:p>
              </p:txBody>
            </p:sp>
            <p:sp>
              <p:nvSpPr>
                <p:cNvPr id="505" name="Freeform 144"/>
                <p:cNvSpPr/>
                <p:nvPr/>
              </p:nvSpPr>
              <p:spPr>
                <a:xfrm>
                  <a:off x="7063200" y="3944160"/>
                  <a:ext cx="69120" cy="75240"/>
                </a:xfrm>
                <a:custGeom>
                  <a:avLst/>
                  <a:gdLst/>
                  <a:ahLst/>
                  <a:rect l="l" t="t" r="r" b="b"/>
                  <a:pathLst>
                    <a:path w="69629" h="75805">
                      <a:moveTo>
                        <a:pt x="41728" y="75804"/>
                      </a:moveTo>
                      <a:lnTo>
                        <a:pt x="35509" y="74084"/>
                      </a:lnTo>
                      <a:lnTo>
                        <a:pt x="18892" y="64739"/>
                      </a:lnTo>
                      <a:lnTo>
                        <a:pt x="6867" y="52305"/>
                      </a:lnTo>
                      <a:lnTo>
                        <a:pt x="2828" y="43820"/>
                      </a:lnTo>
                      <a:lnTo>
                        <a:pt x="0" y="26638"/>
                      </a:lnTo>
                      <a:lnTo>
                        <a:pt x="12340" y="16407"/>
                      </a:lnTo>
                      <a:lnTo>
                        <a:pt x="15000" y="9945"/>
                      </a:lnTo>
                      <a:lnTo>
                        <a:pt x="18942" y="4921"/>
                      </a:lnTo>
                      <a:lnTo>
                        <a:pt x="25303" y="4391"/>
                      </a:lnTo>
                      <a:lnTo>
                        <a:pt x="30683" y="0"/>
                      </a:lnTo>
                      <a:lnTo>
                        <a:pt x="49144" y="26"/>
                      </a:lnTo>
                      <a:lnTo>
                        <a:pt x="55569" y="8360"/>
                      </a:lnTo>
                      <a:lnTo>
                        <a:pt x="60572" y="18148"/>
                      </a:lnTo>
                      <a:lnTo>
                        <a:pt x="59825" y="24913"/>
                      </a:lnTo>
                      <a:lnTo>
                        <a:pt x="63529" y="30999"/>
                      </a:lnTo>
                      <a:lnTo>
                        <a:pt x="63271" y="39523"/>
                      </a:lnTo>
                      <a:lnTo>
                        <a:pt x="69628" y="38191"/>
                      </a:lnTo>
                      <a:lnTo>
                        <a:pt x="58883" y="49035"/>
                      </a:lnTo>
                      <a:lnTo>
                        <a:pt x="48470" y="61636"/>
                      </a:lnTo>
                      <a:lnTo>
                        <a:pt x="47244" y="68384"/>
                      </a:lnTo>
                      <a:close/>
                    </a:path>
                  </a:pathLst>
                </a:custGeom>
                <a:solidFill>
                  <a:schemeClr val="accent1">
                    <a:lumMod val="20000"/>
                    <a:lumOff val="80000"/>
                  </a:schemeClr>
                </a:solidFill>
                <a:ln cap="rnd" w="3175">
                  <a:solidFill>
                    <a:srgbClr val="009fdf">
                      <a:lumMod val="60000"/>
                      <a:lumOff val="40000"/>
                    </a:srgbClr>
                  </a:solidFill>
                </a:ln>
              </p:spPr>
              <p:style>
                <a:lnRef idx="2">
                  <a:schemeClr val="accent1">
                    <a:shade val="50000"/>
                  </a:schemeClr>
                </a:lnRef>
                <a:fillRef idx="1">
                  <a:schemeClr val="accent1"/>
                </a:fillRef>
                <a:effectRef idx="0">
                  <a:schemeClr val="accent1"/>
                </a:effectRef>
                <a:fontRef idx="minor"/>
              </p:style>
              <p:txBody>
                <a:bodyPr numCol="1" spcCol="0" horzOverflow="overflow" lIns="72000" rIns="72000" tIns="37440" bIns="37440" anchor="ctr">
                  <a:noAutofit/>
                </a:bodyPr>
                <a:p>
                  <a:pPr algn="ctr" defTabSz="457200">
                    <a:lnSpc>
                      <a:spcPct val="100000"/>
                    </a:lnSpc>
                    <a:tabLst>
                      <a:tab algn="l" pos="0"/>
                    </a:tabLst>
                  </a:pPr>
                  <a:endParaRPr b="0" lang="de-DE" sz="1600" spc="-1" strike="noStrike">
                    <a:solidFill>
                      <a:srgbClr val="000000"/>
                    </a:solidFill>
                    <a:latin typeface="Arial"/>
                    <a:ea typeface="Arial"/>
                  </a:endParaRPr>
                </a:p>
              </p:txBody>
            </p:sp>
            <p:sp>
              <p:nvSpPr>
                <p:cNvPr id="506" name="Freeform 145"/>
                <p:cNvSpPr/>
                <p:nvPr/>
              </p:nvSpPr>
              <p:spPr>
                <a:xfrm>
                  <a:off x="8348760" y="3911040"/>
                  <a:ext cx="146880" cy="80280"/>
                </a:xfrm>
                <a:custGeom>
                  <a:avLst/>
                  <a:gdLst/>
                  <a:ahLst/>
                  <a:rect l="l" t="t" r="r" b="b"/>
                  <a:pathLst>
                    <a:path w="147487" h="80739">
                      <a:moveTo>
                        <a:pt x="147253" y="46904"/>
                      </a:moveTo>
                      <a:lnTo>
                        <a:pt x="136834" y="61196"/>
                      </a:lnTo>
                      <a:lnTo>
                        <a:pt x="120738" y="80595"/>
                      </a:lnTo>
                      <a:lnTo>
                        <a:pt x="101324" y="80738"/>
                      </a:lnTo>
                      <a:lnTo>
                        <a:pt x="25853" y="53147"/>
                      </a:lnTo>
                      <a:lnTo>
                        <a:pt x="17040" y="44838"/>
                      </a:lnTo>
                      <a:lnTo>
                        <a:pt x="8526" y="33620"/>
                      </a:lnTo>
                      <a:lnTo>
                        <a:pt x="0" y="20777"/>
                      </a:lnTo>
                      <a:lnTo>
                        <a:pt x="5035" y="12506"/>
                      </a:lnTo>
                      <a:lnTo>
                        <a:pt x="13540" y="0"/>
                      </a:lnTo>
                      <a:lnTo>
                        <a:pt x="21050" y="4309"/>
                      </a:lnTo>
                      <a:lnTo>
                        <a:pt x="25574" y="13970"/>
                      </a:lnTo>
                      <a:lnTo>
                        <a:pt x="35987" y="23741"/>
                      </a:lnTo>
                      <a:lnTo>
                        <a:pt x="47447" y="23819"/>
                      </a:lnTo>
                      <a:lnTo>
                        <a:pt x="69207" y="17849"/>
                      </a:lnTo>
                      <a:lnTo>
                        <a:pt x="94331" y="15082"/>
                      </a:lnTo>
                      <a:lnTo>
                        <a:pt x="114650" y="7826"/>
                      </a:lnTo>
                      <a:lnTo>
                        <a:pt x="126097" y="6287"/>
                      </a:lnTo>
                      <a:lnTo>
                        <a:pt x="134342" y="2024"/>
                      </a:lnTo>
                      <a:lnTo>
                        <a:pt x="147486" y="1202"/>
                      </a:lnTo>
                      <a:lnTo>
                        <a:pt x="147343" y="1585"/>
                      </a:lnTo>
                      <a:lnTo>
                        <a:pt x="147262" y="11211"/>
                      </a:lnTo>
                      <a:lnTo>
                        <a:pt x="147256" y="34749"/>
                      </a:lnTo>
                      <a:close/>
                    </a:path>
                  </a:pathLst>
                </a:custGeom>
                <a:solidFill>
                  <a:schemeClr val="accent1">
                    <a:lumMod val="20000"/>
                    <a:lumOff val="80000"/>
                  </a:schemeClr>
                </a:solidFill>
                <a:ln cap="rnd" w="3175">
                  <a:solidFill>
                    <a:srgbClr val="009fdf">
                      <a:lumMod val="60000"/>
                      <a:lumOff val="40000"/>
                    </a:srgbClr>
                  </a:solidFill>
                </a:ln>
              </p:spPr>
              <p:style>
                <a:lnRef idx="2">
                  <a:schemeClr val="accent1">
                    <a:shade val="50000"/>
                  </a:schemeClr>
                </a:lnRef>
                <a:fillRef idx="1">
                  <a:schemeClr val="accent1"/>
                </a:fillRef>
                <a:effectRef idx="0">
                  <a:schemeClr val="accent1"/>
                </a:effectRef>
                <a:fontRef idx="minor"/>
              </p:style>
              <p:txBody>
                <a:bodyPr numCol="1" spcCol="0" horzOverflow="overflow" lIns="72000" rIns="72000" tIns="39960" bIns="39960" anchor="ctr">
                  <a:noAutofit/>
                </a:bodyPr>
                <a:p>
                  <a:pPr algn="ctr" defTabSz="457200">
                    <a:lnSpc>
                      <a:spcPct val="100000"/>
                    </a:lnSpc>
                    <a:tabLst>
                      <a:tab algn="l" pos="0"/>
                    </a:tabLst>
                  </a:pPr>
                  <a:endParaRPr b="0" lang="de-DE" sz="1600" spc="-1" strike="noStrike">
                    <a:solidFill>
                      <a:srgbClr val="000000"/>
                    </a:solidFill>
                    <a:latin typeface="Arial"/>
                    <a:ea typeface="Arial"/>
                  </a:endParaRPr>
                </a:p>
              </p:txBody>
            </p:sp>
            <p:sp>
              <p:nvSpPr>
                <p:cNvPr id="507" name="Freeform 146"/>
                <p:cNvSpPr/>
                <p:nvPr/>
              </p:nvSpPr>
              <p:spPr>
                <a:xfrm>
                  <a:off x="8312400" y="3898080"/>
                  <a:ext cx="233640" cy="316800"/>
                </a:xfrm>
                <a:custGeom>
                  <a:avLst/>
                  <a:gdLst/>
                  <a:ahLst/>
                  <a:rect l="l" t="t" r="r" b="b"/>
                  <a:pathLst>
                    <a:path w="234355" h="317733">
                      <a:moveTo>
                        <a:pt x="201917" y="10430"/>
                      </a:moveTo>
                      <a:lnTo>
                        <a:pt x="214155" y="8076"/>
                      </a:lnTo>
                      <a:lnTo>
                        <a:pt x="225078" y="64"/>
                      </a:lnTo>
                      <a:lnTo>
                        <a:pt x="233831" y="0"/>
                      </a:lnTo>
                      <a:lnTo>
                        <a:pt x="234354" y="6471"/>
                      </a:lnTo>
                      <a:lnTo>
                        <a:pt x="232223" y="20071"/>
                      </a:lnTo>
                      <a:lnTo>
                        <a:pt x="232310" y="32345"/>
                      </a:lnTo>
                      <a:lnTo>
                        <a:pt x="227436" y="40772"/>
                      </a:lnTo>
                      <a:lnTo>
                        <a:pt x="220932" y="65957"/>
                      </a:lnTo>
                      <a:lnTo>
                        <a:pt x="209818" y="91929"/>
                      </a:lnTo>
                      <a:lnTo>
                        <a:pt x="195548" y="121568"/>
                      </a:lnTo>
                      <a:lnTo>
                        <a:pt x="175740" y="155519"/>
                      </a:lnTo>
                      <a:lnTo>
                        <a:pt x="156033" y="181423"/>
                      </a:lnTo>
                      <a:lnTo>
                        <a:pt x="128887" y="212949"/>
                      </a:lnTo>
                      <a:lnTo>
                        <a:pt x="105786" y="231646"/>
                      </a:lnTo>
                      <a:lnTo>
                        <a:pt x="71258" y="254572"/>
                      </a:lnTo>
                      <a:lnTo>
                        <a:pt x="49741" y="272130"/>
                      </a:lnTo>
                      <a:lnTo>
                        <a:pt x="24479" y="300092"/>
                      </a:lnTo>
                      <a:lnTo>
                        <a:pt x="19156" y="312265"/>
                      </a:lnTo>
                      <a:lnTo>
                        <a:pt x="13944" y="317732"/>
                      </a:lnTo>
                      <a:lnTo>
                        <a:pt x="275" y="298687"/>
                      </a:lnTo>
                      <a:lnTo>
                        <a:pt x="0" y="214584"/>
                      </a:lnTo>
                      <a:lnTo>
                        <a:pt x="20175" y="188370"/>
                      </a:lnTo>
                      <a:lnTo>
                        <a:pt x="26489" y="181082"/>
                      </a:lnTo>
                      <a:lnTo>
                        <a:pt x="41286" y="180656"/>
                      </a:lnTo>
                      <a:lnTo>
                        <a:pt x="61857" y="164350"/>
                      </a:lnTo>
                      <a:lnTo>
                        <a:pt x="91928" y="163330"/>
                      </a:lnTo>
                      <a:lnTo>
                        <a:pt x="157155" y="93758"/>
                      </a:lnTo>
                      <a:lnTo>
                        <a:pt x="173251" y="74359"/>
                      </a:lnTo>
                      <a:lnTo>
                        <a:pt x="183670" y="60067"/>
                      </a:lnTo>
                      <a:lnTo>
                        <a:pt x="183673" y="47912"/>
                      </a:lnTo>
                      <a:lnTo>
                        <a:pt x="183679" y="24374"/>
                      </a:lnTo>
                      <a:lnTo>
                        <a:pt x="183760" y="14748"/>
                      </a:lnTo>
                      <a:lnTo>
                        <a:pt x="183903" y="14365"/>
                      </a:lnTo>
                      <a:lnTo>
                        <a:pt x="191279" y="13905"/>
                      </a:lnTo>
                      <a:close/>
                    </a:path>
                  </a:pathLst>
                </a:custGeom>
                <a:solidFill>
                  <a:schemeClr val="accent1">
                    <a:lumMod val="20000"/>
                    <a:lumOff val="80000"/>
                  </a:schemeClr>
                </a:solidFill>
                <a:ln cap="rnd" w="3175">
                  <a:solidFill>
                    <a:srgbClr val="009fdf">
                      <a:lumMod val="60000"/>
                      <a:lumOff val="40000"/>
                    </a:srgbClr>
                  </a:solidFill>
                </a:ln>
              </p:spPr>
              <p:style>
                <a:lnRef idx="2">
                  <a:schemeClr val="accent1">
                    <a:shade val="50000"/>
                  </a:schemeClr>
                </a:lnRef>
                <a:fillRef idx="1">
                  <a:schemeClr val="accent1"/>
                </a:fillRef>
                <a:effectRef idx="0">
                  <a:schemeClr val="accent1"/>
                </a:effectRef>
                <a:fontRef idx="minor"/>
              </p:style>
              <p:txBody>
                <a:bodyPr numCol="1" spcCol="0" horzOverflow="overflow" lIns="72000" rIns="72000" tIns="72000" bIns="72000" anchor="ctr">
                  <a:noAutofit/>
                </a:bodyPr>
                <a:p>
                  <a:pPr algn="ctr" defTabSz="457200">
                    <a:lnSpc>
                      <a:spcPct val="100000"/>
                    </a:lnSpc>
                    <a:tabLst>
                      <a:tab algn="l" pos="0"/>
                    </a:tabLst>
                  </a:pPr>
                  <a:endParaRPr b="0" lang="de-DE" sz="1600" spc="-1" strike="noStrike">
                    <a:solidFill>
                      <a:srgbClr val="000000"/>
                    </a:solidFill>
                    <a:latin typeface="Arial"/>
                    <a:ea typeface="Arial"/>
                  </a:endParaRPr>
                </a:p>
              </p:txBody>
            </p:sp>
            <p:sp>
              <p:nvSpPr>
                <p:cNvPr id="508" name="Freeform 147"/>
                <p:cNvSpPr/>
                <p:nvPr/>
              </p:nvSpPr>
              <p:spPr>
                <a:xfrm>
                  <a:off x="7801920" y="3030480"/>
                  <a:ext cx="95400" cy="110520"/>
                </a:xfrm>
                <a:custGeom>
                  <a:avLst/>
                  <a:gdLst/>
                  <a:ahLst/>
                  <a:rect l="l" t="t" r="r" b="b"/>
                  <a:pathLst>
                    <a:path w="95937" h="111173">
                      <a:moveTo>
                        <a:pt x="47192" y="21728"/>
                      </a:moveTo>
                      <a:lnTo>
                        <a:pt x="61255" y="28459"/>
                      </a:lnTo>
                      <a:lnTo>
                        <a:pt x="63067" y="40218"/>
                      </a:lnTo>
                      <a:lnTo>
                        <a:pt x="76526" y="48476"/>
                      </a:lnTo>
                      <a:lnTo>
                        <a:pt x="83772" y="42108"/>
                      </a:lnTo>
                      <a:lnTo>
                        <a:pt x="89466" y="45648"/>
                      </a:lnTo>
                      <a:lnTo>
                        <a:pt x="84118" y="50439"/>
                      </a:lnTo>
                      <a:lnTo>
                        <a:pt x="88345" y="55379"/>
                      </a:lnTo>
                      <a:lnTo>
                        <a:pt x="82650" y="61794"/>
                      </a:lnTo>
                      <a:lnTo>
                        <a:pt x="84721" y="72094"/>
                      </a:lnTo>
                      <a:lnTo>
                        <a:pt x="95936" y="84219"/>
                      </a:lnTo>
                      <a:lnTo>
                        <a:pt x="87137" y="92970"/>
                      </a:lnTo>
                      <a:lnTo>
                        <a:pt x="83254" y="101850"/>
                      </a:lnTo>
                      <a:lnTo>
                        <a:pt x="85757" y="105163"/>
                      </a:lnTo>
                      <a:lnTo>
                        <a:pt x="81960" y="109087"/>
                      </a:lnTo>
                      <a:lnTo>
                        <a:pt x="71262" y="109549"/>
                      </a:lnTo>
                      <a:lnTo>
                        <a:pt x="63404" y="111172"/>
                      </a:lnTo>
                      <a:lnTo>
                        <a:pt x="62635" y="109088"/>
                      </a:lnTo>
                      <a:lnTo>
                        <a:pt x="65396" y="105779"/>
                      </a:lnTo>
                      <a:lnTo>
                        <a:pt x="67984" y="98996"/>
                      </a:lnTo>
                      <a:lnTo>
                        <a:pt x="64705" y="99150"/>
                      </a:lnTo>
                      <a:lnTo>
                        <a:pt x="60219" y="93975"/>
                      </a:lnTo>
                      <a:lnTo>
                        <a:pt x="56423" y="92661"/>
                      </a:lnTo>
                      <a:lnTo>
                        <a:pt x="53404" y="88211"/>
                      </a:lnTo>
                      <a:lnTo>
                        <a:pt x="49090" y="86467"/>
                      </a:lnTo>
                      <a:lnTo>
                        <a:pt x="45811" y="82512"/>
                      </a:lnTo>
                      <a:lnTo>
                        <a:pt x="41670" y="84064"/>
                      </a:lnTo>
                      <a:lnTo>
                        <a:pt x="38478" y="93357"/>
                      </a:lnTo>
                      <a:lnTo>
                        <a:pt x="32957" y="95366"/>
                      </a:lnTo>
                      <a:lnTo>
                        <a:pt x="34854" y="92970"/>
                      </a:lnTo>
                      <a:lnTo>
                        <a:pt x="26055" y="87165"/>
                      </a:lnTo>
                      <a:lnTo>
                        <a:pt x="18470" y="84146"/>
                      </a:lnTo>
                      <a:lnTo>
                        <a:pt x="15098" y="80261"/>
                      </a:lnTo>
                      <a:lnTo>
                        <a:pt x="8972" y="75441"/>
                      </a:lnTo>
                      <a:lnTo>
                        <a:pt x="14408" y="74197"/>
                      </a:lnTo>
                      <a:lnTo>
                        <a:pt x="17773" y="60935"/>
                      </a:lnTo>
                      <a:lnTo>
                        <a:pt x="6643" y="50046"/>
                      </a:lnTo>
                      <a:lnTo>
                        <a:pt x="12423" y="37539"/>
                      </a:lnTo>
                      <a:lnTo>
                        <a:pt x="4055" y="37618"/>
                      </a:lnTo>
                      <a:lnTo>
                        <a:pt x="12941" y="26877"/>
                      </a:lnTo>
                      <a:lnTo>
                        <a:pt x="5608" y="18714"/>
                      </a:lnTo>
                      <a:lnTo>
                        <a:pt x="0" y="7580"/>
                      </a:lnTo>
                      <a:lnTo>
                        <a:pt x="17687" y="0"/>
                      </a:lnTo>
                      <a:lnTo>
                        <a:pt x="32094" y="1278"/>
                      </a:lnTo>
                      <a:lnTo>
                        <a:pt x="44604" y="12596"/>
                      </a:lnTo>
                      <a:close/>
                    </a:path>
                  </a:pathLst>
                </a:custGeom>
                <a:solidFill>
                  <a:schemeClr val="accent1"/>
                </a:solidFill>
                <a:ln cap="rnd" w="3175">
                  <a:solidFill>
                    <a:srgbClr val="009fdf">
                      <a:lumMod val="60000"/>
                      <a:lumOff val="40000"/>
                    </a:srgbClr>
                  </a:solidFill>
                </a:ln>
              </p:spPr>
              <p:style>
                <a:lnRef idx="2">
                  <a:schemeClr val="accent1">
                    <a:shade val="50000"/>
                  </a:schemeClr>
                </a:lnRef>
                <a:fillRef idx="1">
                  <a:schemeClr val="accent1"/>
                </a:fillRef>
                <a:effectRef idx="0">
                  <a:schemeClr val="accent1"/>
                </a:effectRef>
                <a:fontRef idx="minor"/>
              </p:style>
              <p:txBody>
                <a:bodyPr numCol="1" spcCol="0" horzOverflow="overflow" lIns="72000" rIns="72000" tIns="55080" bIns="55080" anchor="ctr">
                  <a:noAutofit/>
                </a:bodyPr>
                <a:p>
                  <a:pPr algn="ctr" defTabSz="457200">
                    <a:lnSpc>
                      <a:spcPct val="100000"/>
                    </a:lnSpc>
                    <a:tabLst>
                      <a:tab algn="l" pos="0"/>
                    </a:tabLst>
                  </a:pPr>
                  <a:endParaRPr b="0" lang="de-DE" sz="1600" spc="-1" strike="noStrike">
                    <a:solidFill>
                      <a:srgbClr val="000000"/>
                    </a:solidFill>
                    <a:latin typeface="Arial"/>
                    <a:ea typeface="Arial"/>
                  </a:endParaRPr>
                </a:p>
              </p:txBody>
            </p:sp>
            <p:sp>
              <p:nvSpPr>
                <p:cNvPr id="509" name="Freeform 148"/>
                <p:cNvSpPr/>
                <p:nvPr/>
              </p:nvSpPr>
              <p:spPr>
                <a:xfrm>
                  <a:off x="7756920" y="2930400"/>
                  <a:ext cx="130320" cy="53280"/>
                </a:xfrm>
                <a:custGeom>
                  <a:avLst/>
                  <a:gdLst/>
                  <a:ahLst/>
                  <a:rect l="l" t="t" r="r" b="b"/>
                  <a:pathLst>
                    <a:path w="131067" h="53806">
                      <a:moveTo>
                        <a:pt x="45545" y="2258"/>
                      </a:moveTo>
                      <a:lnTo>
                        <a:pt x="46848" y="4066"/>
                      </a:lnTo>
                      <a:lnTo>
                        <a:pt x="56338" y="0"/>
                      </a:lnTo>
                      <a:lnTo>
                        <a:pt x="67979" y="10605"/>
                      </a:lnTo>
                      <a:lnTo>
                        <a:pt x="81617" y="4197"/>
                      </a:lnTo>
                      <a:lnTo>
                        <a:pt x="92514" y="7269"/>
                      </a:lnTo>
                      <a:lnTo>
                        <a:pt x="109131" y="3040"/>
                      </a:lnTo>
                      <a:lnTo>
                        <a:pt x="131066" y="14525"/>
                      </a:lnTo>
                      <a:lnTo>
                        <a:pt x="124666" y="22276"/>
                      </a:lnTo>
                      <a:lnTo>
                        <a:pt x="120159" y="34233"/>
                      </a:lnTo>
                      <a:lnTo>
                        <a:pt x="115234" y="37259"/>
                      </a:lnTo>
                      <a:lnTo>
                        <a:pt x="90514" y="28261"/>
                      </a:lnTo>
                      <a:lnTo>
                        <a:pt x="82949" y="30069"/>
                      </a:lnTo>
                      <a:lnTo>
                        <a:pt x="77536" y="37034"/>
                      </a:lnTo>
                      <a:lnTo>
                        <a:pt x="66697" y="40723"/>
                      </a:lnTo>
                      <a:lnTo>
                        <a:pt x="64201" y="38835"/>
                      </a:lnTo>
                      <a:lnTo>
                        <a:pt x="52960" y="43417"/>
                      </a:lnTo>
                      <a:lnTo>
                        <a:pt x="43788" y="44290"/>
                      </a:lnTo>
                      <a:lnTo>
                        <a:pt x="41930" y="50204"/>
                      </a:lnTo>
                      <a:lnTo>
                        <a:pt x="22555" y="53805"/>
                      </a:lnTo>
                      <a:lnTo>
                        <a:pt x="14045" y="50600"/>
                      </a:lnTo>
                      <a:lnTo>
                        <a:pt x="2301" y="43059"/>
                      </a:lnTo>
                      <a:lnTo>
                        <a:pt x="0" y="32820"/>
                      </a:lnTo>
                      <a:lnTo>
                        <a:pt x="1853" y="29058"/>
                      </a:lnTo>
                      <a:lnTo>
                        <a:pt x="5124" y="22527"/>
                      </a:lnTo>
                      <a:lnTo>
                        <a:pt x="15350" y="23030"/>
                      </a:lnTo>
                      <a:lnTo>
                        <a:pt x="23232" y="19954"/>
                      </a:lnTo>
                      <a:lnTo>
                        <a:pt x="23856" y="17185"/>
                      </a:lnTo>
                      <a:lnTo>
                        <a:pt x="28276" y="15770"/>
                      </a:lnTo>
                      <a:lnTo>
                        <a:pt x="29788" y="8981"/>
                      </a:lnTo>
                      <a:lnTo>
                        <a:pt x="35086" y="7681"/>
                      </a:lnTo>
                      <a:lnTo>
                        <a:pt x="38663" y="2294"/>
                      </a:lnTo>
                      <a:close/>
                    </a:path>
                  </a:pathLst>
                </a:custGeom>
                <a:solidFill>
                  <a:schemeClr val="accent1"/>
                </a:solidFill>
                <a:ln cap="rnd" w="3175">
                  <a:solidFill>
                    <a:srgbClr val="009fdf">
                      <a:lumMod val="60000"/>
                      <a:lumOff val="40000"/>
                    </a:srgbClr>
                  </a:solidFill>
                </a:ln>
              </p:spPr>
              <p:style>
                <a:lnRef idx="2">
                  <a:schemeClr val="accent1">
                    <a:shade val="50000"/>
                  </a:schemeClr>
                </a:lnRef>
                <a:fillRef idx="1">
                  <a:schemeClr val="accent1"/>
                </a:fillRef>
                <a:effectRef idx="0">
                  <a:schemeClr val="accent1"/>
                </a:effectRef>
                <a:fontRef idx="minor"/>
              </p:style>
              <p:txBody>
                <a:bodyPr numCol="1" spcCol="0" horzOverflow="overflow" lIns="72000" rIns="72000" tIns="26640" bIns="26640" anchor="ctr">
                  <a:noAutofit/>
                </a:bodyPr>
                <a:p>
                  <a:pPr algn="ctr" defTabSz="457200">
                    <a:lnSpc>
                      <a:spcPct val="100000"/>
                    </a:lnSpc>
                    <a:tabLst>
                      <a:tab algn="l" pos="0"/>
                    </a:tabLst>
                  </a:pPr>
                  <a:endParaRPr b="0" lang="de-DE" sz="1600" spc="-1" strike="noStrike">
                    <a:solidFill>
                      <a:srgbClr val="000000"/>
                    </a:solidFill>
                    <a:latin typeface="Arial"/>
                    <a:ea typeface="Arial"/>
                  </a:endParaRPr>
                </a:p>
              </p:txBody>
            </p:sp>
            <p:sp>
              <p:nvSpPr>
                <p:cNvPr id="510" name="Freeform 149"/>
                <p:cNvSpPr/>
                <p:nvPr/>
              </p:nvSpPr>
              <p:spPr>
                <a:xfrm>
                  <a:off x="7683840" y="3010680"/>
                  <a:ext cx="65520" cy="39960"/>
                </a:xfrm>
                <a:custGeom>
                  <a:avLst/>
                  <a:gdLst/>
                  <a:ahLst/>
                  <a:rect l="l" t="t" r="r" b="b"/>
                  <a:pathLst>
                    <a:path w="66173" h="40426">
                      <a:moveTo>
                        <a:pt x="2502" y="9961"/>
                      </a:moveTo>
                      <a:lnTo>
                        <a:pt x="21568" y="12206"/>
                      </a:lnTo>
                      <a:lnTo>
                        <a:pt x="33216" y="5628"/>
                      </a:lnTo>
                      <a:lnTo>
                        <a:pt x="53404" y="4904"/>
                      </a:lnTo>
                      <a:lnTo>
                        <a:pt x="57804" y="0"/>
                      </a:lnTo>
                      <a:lnTo>
                        <a:pt x="61687" y="321"/>
                      </a:lnTo>
                      <a:lnTo>
                        <a:pt x="66172" y="10122"/>
                      </a:lnTo>
                      <a:lnTo>
                        <a:pt x="47796" y="17809"/>
                      </a:lnTo>
                      <a:lnTo>
                        <a:pt x="45552" y="29459"/>
                      </a:lnTo>
                      <a:lnTo>
                        <a:pt x="37529" y="32403"/>
                      </a:lnTo>
                      <a:lnTo>
                        <a:pt x="37615" y="40425"/>
                      </a:lnTo>
                      <a:lnTo>
                        <a:pt x="28557" y="39870"/>
                      </a:lnTo>
                      <a:lnTo>
                        <a:pt x="20706" y="35186"/>
                      </a:lnTo>
                      <a:lnTo>
                        <a:pt x="16478" y="40028"/>
                      </a:lnTo>
                      <a:lnTo>
                        <a:pt x="392" y="39049"/>
                      </a:lnTo>
                      <a:lnTo>
                        <a:pt x="5529" y="36447"/>
                      </a:lnTo>
                      <a:lnTo>
                        <a:pt x="0" y="24198"/>
                      </a:lnTo>
                      <a:close/>
                    </a:path>
                  </a:pathLst>
                </a:custGeom>
                <a:solidFill>
                  <a:schemeClr val="accent1"/>
                </a:solidFill>
                <a:ln cap="rnd" w="3175">
                  <a:solidFill>
                    <a:srgbClr val="009fdf">
                      <a:lumMod val="60000"/>
                      <a:lumOff val="40000"/>
                    </a:srgbClr>
                  </a:solidFill>
                </a:ln>
              </p:spPr>
              <p:style>
                <a:lnRef idx="2">
                  <a:schemeClr val="accent1">
                    <a:shade val="50000"/>
                  </a:schemeClr>
                </a:lnRef>
                <a:fillRef idx="1">
                  <a:schemeClr val="accent1"/>
                </a:fillRef>
                <a:effectRef idx="0">
                  <a:schemeClr val="accent1"/>
                </a:effectRef>
                <a:fontRef idx="minor"/>
              </p:style>
              <p:txBody>
                <a:bodyPr numCol="1" spcCol="0" horzOverflow="overflow" lIns="72000" rIns="72000" tIns="19800" bIns="19800" anchor="ctr">
                  <a:noAutofit/>
                </a:bodyPr>
                <a:p>
                  <a:pPr algn="ctr" defTabSz="457200">
                    <a:lnSpc>
                      <a:spcPct val="100000"/>
                    </a:lnSpc>
                    <a:tabLst>
                      <a:tab algn="l" pos="0"/>
                    </a:tabLst>
                  </a:pPr>
                  <a:endParaRPr b="0" lang="de-DE" sz="1600" spc="-1" strike="noStrike">
                    <a:solidFill>
                      <a:srgbClr val="000000"/>
                    </a:solidFill>
                    <a:latin typeface="Arial"/>
                    <a:ea typeface="Arial"/>
                  </a:endParaRPr>
                </a:p>
              </p:txBody>
            </p:sp>
            <p:sp>
              <p:nvSpPr>
                <p:cNvPr id="511" name="Freeform 150"/>
                <p:cNvSpPr/>
                <p:nvPr/>
              </p:nvSpPr>
              <p:spPr>
                <a:xfrm>
                  <a:off x="7622280" y="2257560"/>
                  <a:ext cx="296280" cy="492840"/>
                </a:xfrm>
                <a:custGeom>
                  <a:avLst/>
                  <a:gdLst/>
                  <a:ahLst/>
                  <a:rect l="l" t="t" r="r" b="b"/>
                  <a:pathLst>
                    <a:path w="297213" h="494295">
                      <a:moveTo>
                        <a:pt x="257506" y="132676"/>
                      </a:moveTo>
                      <a:lnTo>
                        <a:pt x="235123" y="159012"/>
                      </a:lnTo>
                      <a:lnTo>
                        <a:pt x="238727" y="181860"/>
                      </a:lnTo>
                      <a:lnTo>
                        <a:pt x="202008" y="211485"/>
                      </a:lnTo>
                      <a:lnTo>
                        <a:pt x="157433" y="242729"/>
                      </a:lnTo>
                      <a:lnTo>
                        <a:pt x="140624" y="292923"/>
                      </a:lnTo>
                      <a:lnTo>
                        <a:pt x="157054" y="317610"/>
                      </a:lnTo>
                      <a:lnTo>
                        <a:pt x="179129" y="336852"/>
                      </a:lnTo>
                      <a:lnTo>
                        <a:pt x="157928" y="375482"/>
                      </a:lnTo>
                      <a:lnTo>
                        <a:pt x="133921" y="383411"/>
                      </a:lnTo>
                      <a:lnTo>
                        <a:pt x="125116" y="439506"/>
                      </a:lnTo>
                      <a:lnTo>
                        <a:pt x="112006" y="470226"/>
                      </a:lnTo>
                      <a:lnTo>
                        <a:pt x="84005" y="467078"/>
                      </a:lnTo>
                      <a:lnTo>
                        <a:pt x="70941" y="492808"/>
                      </a:lnTo>
                      <a:lnTo>
                        <a:pt x="44215" y="494294"/>
                      </a:lnTo>
                      <a:lnTo>
                        <a:pt x="36880" y="463611"/>
                      </a:lnTo>
                      <a:lnTo>
                        <a:pt x="17556" y="426240"/>
                      </a:lnTo>
                      <a:lnTo>
                        <a:pt x="0" y="378794"/>
                      </a:lnTo>
                      <a:lnTo>
                        <a:pt x="10177" y="359174"/>
                      </a:lnTo>
                      <a:lnTo>
                        <a:pt x="29384" y="335608"/>
                      </a:lnTo>
                      <a:lnTo>
                        <a:pt x="37019" y="294600"/>
                      </a:lnTo>
                      <a:lnTo>
                        <a:pt x="22267" y="276683"/>
                      </a:lnTo>
                      <a:lnTo>
                        <a:pt x="20848" y="229021"/>
                      </a:lnTo>
                      <a:lnTo>
                        <a:pt x="35837" y="194710"/>
                      </a:lnTo>
                      <a:lnTo>
                        <a:pt x="58735" y="195340"/>
                      </a:lnTo>
                      <a:lnTo>
                        <a:pt x="66767" y="180678"/>
                      </a:lnTo>
                      <a:lnTo>
                        <a:pt x="58360" y="167958"/>
                      </a:lnTo>
                      <a:lnTo>
                        <a:pt x="94201" y="114740"/>
                      </a:lnTo>
                      <a:lnTo>
                        <a:pt x="117290" y="71821"/>
                      </a:lnTo>
                      <a:lnTo>
                        <a:pt x="132529" y="43795"/>
                      </a:lnTo>
                      <a:lnTo>
                        <a:pt x="154696" y="43929"/>
                      </a:lnTo>
                      <a:lnTo>
                        <a:pt x="160805" y="21724"/>
                      </a:lnTo>
                      <a:lnTo>
                        <a:pt x="204309" y="28137"/>
                      </a:lnTo>
                      <a:lnTo>
                        <a:pt x="207695" y="1666"/>
                      </a:lnTo>
                      <a:lnTo>
                        <a:pt x="222014" y="0"/>
                      </a:lnTo>
                      <a:lnTo>
                        <a:pt x="252782" y="19740"/>
                      </a:lnTo>
                      <a:lnTo>
                        <a:pt x="288813" y="46883"/>
                      </a:lnTo>
                      <a:lnTo>
                        <a:pt x="289422" y="106979"/>
                      </a:lnTo>
                      <a:lnTo>
                        <a:pt x="297212" y="121891"/>
                      </a:lnTo>
                      <a:close/>
                    </a:path>
                  </a:pathLst>
                </a:custGeom>
                <a:solidFill>
                  <a:schemeClr val="accent1"/>
                </a:solidFill>
                <a:ln cap="rnd" w="3175">
                  <a:solidFill>
                    <a:srgbClr val="009fdf">
                      <a:lumMod val="60000"/>
                      <a:lumOff val="40000"/>
                    </a:srgbClr>
                  </a:solidFill>
                </a:ln>
              </p:spPr>
              <p:style>
                <a:lnRef idx="2">
                  <a:schemeClr val="accent1">
                    <a:shade val="50000"/>
                  </a:schemeClr>
                </a:lnRef>
                <a:fillRef idx="1">
                  <a:schemeClr val="accent1"/>
                </a:fillRef>
                <a:effectRef idx="0">
                  <a:schemeClr val="accent1"/>
                </a:effectRef>
                <a:fontRef idx="minor"/>
              </p:style>
              <p:txBody>
                <a:bodyPr numCol="1" spcCol="0" horzOverflow="overflow" lIns="72000" rIns="72000" tIns="72000" bIns="72000" anchor="ctr">
                  <a:noAutofit/>
                </a:bodyPr>
                <a:p>
                  <a:pPr algn="ctr" defTabSz="457200">
                    <a:lnSpc>
                      <a:spcPct val="100000"/>
                    </a:lnSpc>
                    <a:tabLst>
                      <a:tab algn="l" pos="0"/>
                    </a:tabLst>
                  </a:pPr>
                  <a:endParaRPr b="0" lang="de-DE" sz="1600" spc="-1" strike="noStrike">
                    <a:solidFill>
                      <a:srgbClr val="000000"/>
                    </a:solidFill>
                    <a:latin typeface="Arial"/>
                    <a:ea typeface="Arial"/>
                  </a:endParaRPr>
                </a:p>
              </p:txBody>
            </p:sp>
            <p:sp>
              <p:nvSpPr>
                <p:cNvPr id="512" name="Freeform 151"/>
                <p:cNvSpPr/>
                <p:nvPr/>
              </p:nvSpPr>
              <p:spPr>
                <a:xfrm>
                  <a:off x="8074800" y="4780440"/>
                  <a:ext cx="31680" cy="39960"/>
                </a:xfrm>
                <a:custGeom>
                  <a:avLst/>
                  <a:gdLst/>
                  <a:ahLst/>
                  <a:rect l="l" t="t" r="r" b="b"/>
                  <a:pathLst>
                    <a:path w="32202" h="40246">
                      <a:moveTo>
                        <a:pt x="32201" y="26538"/>
                      </a:moveTo>
                      <a:lnTo>
                        <a:pt x="27502" y="37561"/>
                      </a:lnTo>
                      <a:lnTo>
                        <a:pt x="13992" y="40245"/>
                      </a:lnTo>
                      <a:lnTo>
                        <a:pt x="216" y="26787"/>
                      </a:lnTo>
                      <a:lnTo>
                        <a:pt x="0" y="18223"/>
                      </a:lnTo>
                      <a:lnTo>
                        <a:pt x="6303" y="8942"/>
                      </a:lnTo>
                      <a:lnTo>
                        <a:pt x="8482" y="1757"/>
                      </a:lnTo>
                      <a:lnTo>
                        <a:pt x="15155" y="0"/>
                      </a:lnTo>
                      <a:lnTo>
                        <a:pt x="26802" y="4516"/>
                      </a:lnTo>
                      <a:lnTo>
                        <a:pt x="30219" y="15593"/>
                      </a:lnTo>
                      <a:close/>
                    </a:path>
                  </a:pathLst>
                </a:custGeom>
                <a:solidFill>
                  <a:schemeClr val="accent1"/>
                </a:solidFill>
                <a:ln cap="rnd" w="3175">
                  <a:solidFill>
                    <a:srgbClr val="009fdf">
                      <a:lumMod val="60000"/>
                      <a:lumOff val="40000"/>
                    </a:srgbClr>
                  </a:solidFill>
                </a:ln>
              </p:spPr>
              <p:style>
                <a:lnRef idx="2">
                  <a:schemeClr val="accent1">
                    <a:shade val="50000"/>
                  </a:schemeClr>
                </a:lnRef>
                <a:fillRef idx="1">
                  <a:schemeClr val="accent1"/>
                </a:fillRef>
                <a:effectRef idx="0">
                  <a:schemeClr val="accent1"/>
                </a:effectRef>
                <a:fontRef idx="minor"/>
              </p:style>
              <p:txBody>
                <a:bodyPr numCol="1" spcCol="0" horzOverflow="overflow" lIns="72000" rIns="72000" tIns="19800" bIns="19800" anchor="ctr">
                  <a:noAutofit/>
                </a:bodyPr>
                <a:p>
                  <a:pPr algn="ctr" defTabSz="457200">
                    <a:lnSpc>
                      <a:spcPct val="100000"/>
                    </a:lnSpc>
                    <a:tabLst>
                      <a:tab algn="l" pos="0"/>
                    </a:tabLst>
                  </a:pPr>
                  <a:endParaRPr b="0" lang="de-DE" sz="1600" spc="-1" strike="noStrike">
                    <a:solidFill>
                      <a:srgbClr val="000000"/>
                    </a:solidFill>
                    <a:latin typeface="Arial"/>
                    <a:ea typeface="Arial"/>
                  </a:endParaRPr>
                </a:p>
              </p:txBody>
            </p:sp>
            <p:sp>
              <p:nvSpPr>
                <p:cNvPr id="513" name="Freeform 152"/>
                <p:cNvSpPr/>
                <p:nvPr/>
              </p:nvSpPr>
              <p:spPr>
                <a:xfrm>
                  <a:off x="8190720" y="3277440"/>
                  <a:ext cx="152640" cy="127800"/>
                </a:xfrm>
                <a:custGeom>
                  <a:avLst/>
                  <a:gdLst/>
                  <a:ahLst/>
                  <a:rect l="l" t="t" r="r" b="b"/>
                  <a:pathLst>
                    <a:path w="153473" h="128366">
                      <a:moveTo>
                        <a:pt x="71362" y="100929"/>
                      </a:moveTo>
                      <a:lnTo>
                        <a:pt x="26159" y="128365"/>
                      </a:lnTo>
                      <a:lnTo>
                        <a:pt x="442" y="118187"/>
                      </a:lnTo>
                      <a:lnTo>
                        <a:pt x="0" y="118012"/>
                      </a:lnTo>
                      <a:lnTo>
                        <a:pt x="3130" y="114098"/>
                      </a:lnTo>
                      <a:lnTo>
                        <a:pt x="2777" y="103545"/>
                      </a:lnTo>
                      <a:lnTo>
                        <a:pt x="8441" y="89381"/>
                      </a:lnTo>
                      <a:lnTo>
                        <a:pt x="21028" y="79599"/>
                      </a:lnTo>
                      <a:lnTo>
                        <a:pt x="17252" y="69393"/>
                      </a:lnTo>
                      <a:lnTo>
                        <a:pt x="6870" y="68064"/>
                      </a:lnTo>
                      <a:lnTo>
                        <a:pt x="4714" y="48058"/>
                      </a:lnTo>
                      <a:lnTo>
                        <a:pt x="10364" y="37250"/>
                      </a:lnTo>
                      <a:lnTo>
                        <a:pt x="16545" y="31482"/>
                      </a:lnTo>
                      <a:lnTo>
                        <a:pt x="22727" y="25704"/>
                      </a:lnTo>
                      <a:lnTo>
                        <a:pt x="23976" y="10949"/>
                      </a:lnTo>
                      <a:lnTo>
                        <a:pt x="31531" y="16101"/>
                      </a:lnTo>
                      <a:lnTo>
                        <a:pt x="56944" y="8730"/>
                      </a:lnTo>
                      <a:lnTo>
                        <a:pt x="69228" y="13721"/>
                      </a:lnTo>
                      <a:lnTo>
                        <a:pt x="88217" y="13638"/>
                      </a:lnTo>
                      <a:lnTo>
                        <a:pt x="114778" y="3684"/>
                      </a:lnTo>
                      <a:lnTo>
                        <a:pt x="127216" y="4134"/>
                      </a:lnTo>
                      <a:lnTo>
                        <a:pt x="153472" y="0"/>
                      </a:lnTo>
                      <a:lnTo>
                        <a:pt x="141642" y="16556"/>
                      </a:lnTo>
                      <a:lnTo>
                        <a:pt x="129007" y="23087"/>
                      </a:lnTo>
                      <a:lnTo>
                        <a:pt x="131183" y="42329"/>
                      </a:lnTo>
                      <a:lnTo>
                        <a:pt x="122462" y="73940"/>
                      </a:lnTo>
                      <a:close/>
                    </a:path>
                  </a:pathLst>
                </a:custGeom>
                <a:solidFill>
                  <a:schemeClr val="accent1">
                    <a:lumMod val="20000"/>
                    <a:lumOff val="80000"/>
                  </a:schemeClr>
                </a:solidFill>
                <a:ln cap="rnd" w="3175">
                  <a:solidFill>
                    <a:srgbClr val="009fdf">
                      <a:lumMod val="60000"/>
                      <a:lumOff val="40000"/>
                    </a:srgbClr>
                  </a:solidFill>
                </a:ln>
              </p:spPr>
              <p:style>
                <a:lnRef idx="2">
                  <a:schemeClr val="accent1">
                    <a:shade val="50000"/>
                  </a:schemeClr>
                </a:lnRef>
                <a:fillRef idx="1">
                  <a:schemeClr val="accent1"/>
                </a:fillRef>
                <a:effectRef idx="0">
                  <a:schemeClr val="accent1"/>
                </a:effectRef>
                <a:fontRef idx="minor"/>
              </p:style>
              <p:txBody>
                <a:bodyPr numCol="1" spcCol="0" horzOverflow="overflow" lIns="72000" rIns="72000" tIns="63720" bIns="63720" anchor="ctr">
                  <a:noAutofit/>
                </a:bodyPr>
                <a:p>
                  <a:pPr algn="ctr" defTabSz="457200">
                    <a:lnSpc>
                      <a:spcPct val="100000"/>
                    </a:lnSpc>
                    <a:tabLst>
                      <a:tab algn="l" pos="0"/>
                    </a:tabLst>
                  </a:pPr>
                  <a:endParaRPr b="0" lang="de-DE" sz="1600" spc="-1" strike="noStrike">
                    <a:solidFill>
                      <a:srgbClr val="000000"/>
                    </a:solidFill>
                    <a:latin typeface="Arial"/>
                    <a:ea typeface="Arial"/>
                  </a:endParaRPr>
                </a:p>
              </p:txBody>
            </p:sp>
            <p:sp>
              <p:nvSpPr>
                <p:cNvPr id="514" name="Freeform 153"/>
                <p:cNvSpPr/>
                <p:nvPr/>
              </p:nvSpPr>
              <p:spPr>
                <a:xfrm>
                  <a:off x="7680240" y="3627360"/>
                  <a:ext cx="237960" cy="377640"/>
                </a:xfrm>
                <a:custGeom>
                  <a:avLst/>
                  <a:gdLst/>
                  <a:ahLst/>
                  <a:rect l="l" t="t" r="r" b="b"/>
                  <a:pathLst>
                    <a:path w="238826" h="378621">
                      <a:moveTo>
                        <a:pt x="22053" y="251808"/>
                      </a:moveTo>
                      <a:lnTo>
                        <a:pt x="24361" y="240752"/>
                      </a:lnTo>
                      <a:lnTo>
                        <a:pt x="9558" y="240211"/>
                      </a:lnTo>
                      <a:lnTo>
                        <a:pt x="9609" y="225088"/>
                      </a:lnTo>
                      <a:lnTo>
                        <a:pt x="0" y="216367"/>
                      </a:lnTo>
                      <a:lnTo>
                        <a:pt x="9966" y="185279"/>
                      </a:lnTo>
                      <a:lnTo>
                        <a:pt x="39410" y="162948"/>
                      </a:lnTo>
                      <a:lnTo>
                        <a:pt x="40626" y="132030"/>
                      </a:lnTo>
                      <a:lnTo>
                        <a:pt x="49521" y="83500"/>
                      </a:lnTo>
                      <a:lnTo>
                        <a:pt x="54541" y="73157"/>
                      </a:lnTo>
                      <a:lnTo>
                        <a:pt x="44936" y="64907"/>
                      </a:lnTo>
                      <a:lnTo>
                        <a:pt x="44565" y="57242"/>
                      </a:lnTo>
                      <a:lnTo>
                        <a:pt x="35928" y="50967"/>
                      </a:lnTo>
                      <a:lnTo>
                        <a:pt x="30259" y="13309"/>
                      </a:lnTo>
                      <a:lnTo>
                        <a:pt x="53562" y="0"/>
                      </a:lnTo>
                      <a:lnTo>
                        <a:pt x="145626" y="46460"/>
                      </a:lnTo>
                      <a:lnTo>
                        <a:pt x="237688" y="92538"/>
                      </a:lnTo>
                      <a:lnTo>
                        <a:pt x="238825" y="187018"/>
                      </a:lnTo>
                      <a:lnTo>
                        <a:pt x="218921" y="185365"/>
                      </a:lnTo>
                      <a:lnTo>
                        <a:pt x="208380" y="202761"/>
                      </a:lnTo>
                      <a:lnTo>
                        <a:pt x="202276" y="217316"/>
                      </a:lnTo>
                      <a:lnTo>
                        <a:pt x="207089" y="222817"/>
                      </a:lnTo>
                      <a:lnTo>
                        <a:pt x="199501" y="230033"/>
                      </a:lnTo>
                      <a:lnTo>
                        <a:pt x="202116" y="239768"/>
                      </a:lnTo>
                      <a:lnTo>
                        <a:pt x="196138" y="249555"/>
                      </a:lnTo>
                      <a:lnTo>
                        <a:pt x="193812" y="258169"/>
                      </a:lnTo>
                      <a:lnTo>
                        <a:pt x="201918" y="256812"/>
                      </a:lnTo>
                      <a:lnTo>
                        <a:pt x="206757" y="265854"/>
                      </a:lnTo>
                      <a:lnTo>
                        <a:pt x="207012" y="279452"/>
                      </a:lnTo>
                      <a:lnTo>
                        <a:pt x="215496" y="286345"/>
                      </a:lnTo>
                      <a:lnTo>
                        <a:pt x="215218" y="292005"/>
                      </a:lnTo>
                      <a:lnTo>
                        <a:pt x="200605" y="295989"/>
                      </a:lnTo>
                      <a:lnTo>
                        <a:pt x="188895" y="305440"/>
                      </a:lnTo>
                      <a:lnTo>
                        <a:pt x="172208" y="330874"/>
                      </a:lnTo>
                      <a:lnTo>
                        <a:pt x="150483" y="341657"/>
                      </a:lnTo>
                      <a:lnTo>
                        <a:pt x="128192" y="340211"/>
                      </a:lnTo>
                      <a:lnTo>
                        <a:pt x="121683" y="342350"/>
                      </a:lnTo>
                      <a:lnTo>
                        <a:pt x="123968" y="350538"/>
                      </a:lnTo>
                      <a:lnTo>
                        <a:pt x="111931" y="358663"/>
                      </a:lnTo>
                      <a:lnTo>
                        <a:pt x="102130" y="367733"/>
                      </a:lnTo>
                      <a:lnTo>
                        <a:pt x="73070" y="376615"/>
                      </a:lnTo>
                      <a:lnTo>
                        <a:pt x="67304" y="371358"/>
                      </a:lnTo>
                      <a:lnTo>
                        <a:pt x="63481" y="370905"/>
                      </a:lnTo>
                      <a:lnTo>
                        <a:pt x="59227" y="376876"/>
                      </a:lnTo>
                      <a:lnTo>
                        <a:pt x="40142" y="378620"/>
                      </a:lnTo>
                      <a:lnTo>
                        <a:pt x="43758" y="372332"/>
                      </a:lnTo>
                      <a:lnTo>
                        <a:pt x="36481" y="356320"/>
                      </a:lnTo>
                      <a:lnTo>
                        <a:pt x="33230" y="346696"/>
                      </a:lnTo>
                      <a:lnTo>
                        <a:pt x="23177" y="342747"/>
                      </a:lnTo>
                      <a:lnTo>
                        <a:pt x="9552" y="329162"/>
                      </a:lnTo>
                      <a:lnTo>
                        <a:pt x="14567" y="318167"/>
                      </a:lnTo>
                      <a:lnTo>
                        <a:pt x="25086" y="320508"/>
                      </a:lnTo>
                      <a:lnTo>
                        <a:pt x="31599" y="318849"/>
                      </a:lnTo>
                      <a:lnTo>
                        <a:pt x="44491" y="319077"/>
                      </a:lnTo>
                      <a:lnTo>
                        <a:pt x="31927" y="297870"/>
                      </a:lnTo>
                      <a:lnTo>
                        <a:pt x="32772" y="282347"/>
                      </a:lnTo>
                      <a:lnTo>
                        <a:pt x="31230" y="266819"/>
                      </a:lnTo>
                      <a:close/>
                    </a:path>
                  </a:pathLst>
                </a:custGeom>
                <a:solidFill>
                  <a:schemeClr val="accent1">
                    <a:lumMod val="20000"/>
                    <a:lumOff val="80000"/>
                  </a:schemeClr>
                </a:solidFill>
                <a:ln cap="rnd" w="3175">
                  <a:solidFill>
                    <a:srgbClr val="009fdf">
                      <a:lumMod val="60000"/>
                      <a:lumOff val="40000"/>
                    </a:srgbClr>
                  </a:solidFill>
                </a:ln>
              </p:spPr>
              <p:style>
                <a:lnRef idx="2">
                  <a:schemeClr val="accent1">
                    <a:shade val="50000"/>
                  </a:schemeClr>
                </a:lnRef>
                <a:fillRef idx="1">
                  <a:schemeClr val="accent1"/>
                </a:fillRef>
                <a:effectRef idx="0">
                  <a:schemeClr val="accent1"/>
                </a:effectRef>
                <a:fontRef idx="minor"/>
              </p:style>
              <p:txBody>
                <a:bodyPr numCol="1" spcCol="0" horzOverflow="overflow" lIns="72000" rIns="72000" tIns="72000" bIns="72000" anchor="ctr">
                  <a:noAutofit/>
                </a:bodyPr>
                <a:p>
                  <a:pPr algn="ctr" defTabSz="457200">
                    <a:lnSpc>
                      <a:spcPct val="100000"/>
                    </a:lnSpc>
                    <a:tabLst>
                      <a:tab algn="l" pos="0"/>
                    </a:tabLst>
                  </a:pPr>
                  <a:endParaRPr b="0" lang="de-DE" sz="1600" spc="-1" strike="noStrike">
                    <a:solidFill>
                      <a:srgbClr val="000000"/>
                    </a:solidFill>
                    <a:latin typeface="Arial"/>
                    <a:ea typeface="Arial"/>
                  </a:endParaRPr>
                </a:p>
              </p:txBody>
            </p:sp>
            <p:sp>
              <p:nvSpPr>
                <p:cNvPr id="515" name="Freeform 154"/>
                <p:cNvSpPr/>
                <p:nvPr/>
              </p:nvSpPr>
              <p:spPr>
                <a:xfrm>
                  <a:off x="7367040" y="3921480"/>
                  <a:ext cx="43920" cy="117720"/>
                </a:xfrm>
                <a:custGeom>
                  <a:avLst/>
                  <a:gdLst/>
                  <a:ahLst/>
                  <a:rect l="l" t="t" r="r" b="b"/>
                  <a:pathLst>
                    <a:path w="44205" h="118341">
                      <a:moveTo>
                        <a:pt x="44204" y="113398"/>
                      </a:moveTo>
                      <a:lnTo>
                        <a:pt x="25620" y="118340"/>
                      </a:lnTo>
                      <a:lnTo>
                        <a:pt x="20468" y="110205"/>
                      </a:lnTo>
                      <a:lnTo>
                        <a:pt x="14315" y="95499"/>
                      </a:lnTo>
                      <a:lnTo>
                        <a:pt x="12482" y="83960"/>
                      </a:lnTo>
                      <a:lnTo>
                        <a:pt x="17585" y="63043"/>
                      </a:lnTo>
                      <a:lnTo>
                        <a:pt x="11795" y="54564"/>
                      </a:lnTo>
                      <a:lnTo>
                        <a:pt x="9596" y="36233"/>
                      </a:lnTo>
                      <a:lnTo>
                        <a:pt x="9634" y="19311"/>
                      </a:lnTo>
                      <a:lnTo>
                        <a:pt x="0" y="7279"/>
                      </a:lnTo>
                      <a:lnTo>
                        <a:pt x="1699" y="0"/>
                      </a:lnTo>
                      <a:lnTo>
                        <a:pt x="21914" y="498"/>
                      </a:lnTo>
                      <a:lnTo>
                        <a:pt x="18977" y="12790"/>
                      </a:lnTo>
                      <a:lnTo>
                        <a:pt x="26028" y="19675"/>
                      </a:lnTo>
                      <a:lnTo>
                        <a:pt x="34044" y="27838"/>
                      </a:lnTo>
                      <a:lnTo>
                        <a:pt x="34920" y="39269"/>
                      </a:lnTo>
                      <a:lnTo>
                        <a:pt x="39570" y="44064"/>
                      </a:lnTo>
                      <a:lnTo>
                        <a:pt x="38519" y="97408"/>
                      </a:lnTo>
                      <a:close/>
                    </a:path>
                  </a:pathLst>
                </a:custGeom>
                <a:solidFill>
                  <a:schemeClr val="accent1">
                    <a:lumMod val="20000"/>
                    <a:lumOff val="80000"/>
                  </a:schemeClr>
                </a:solidFill>
                <a:ln cap="rnd" w="3175">
                  <a:solidFill>
                    <a:srgbClr val="009fdf">
                      <a:lumMod val="60000"/>
                      <a:lumOff val="40000"/>
                    </a:srgbClr>
                  </a:solidFill>
                </a:ln>
              </p:spPr>
              <p:style>
                <a:lnRef idx="2">
                  <a:schemeClr val="accent1">
                    <a:shade val="50000"/>
                  </a:schemeClr>
                </a:lnRef>
                <a:fillRef idx="1">
                  <a:schemeClr val="accent1"/>
                </a:fillRef>
                <a:effectRef idx="0">
                  <a:schemeClr val="accent1"/>
                </a:effectRef>
                <a:fontRef idx="minor"/>
              </p:style>
              <p:txBody>
                <a:bodyPr numCol="1" spcCol="0" horzOverflow="overflow" lIns="72000" rIns="72000" tIns="58680" bIns="58680" anchor="ctr">
                  <a:noAutofit/>
                </a:bodyPr>
                <a:p>
                  <a:pPr algn="ctr" defTabSz="457200">
                    <a:lnSpc>
                      <a:spcPct val="100000"/>
                    </a:lnSpc>
                    <a:tabLst>
                      <a:tab algn="l" pos="0"/>
                    </a:tabLst>
                  </a:pPr>
                  <a:endParaRPr b="0" lang="de-DE" sz="1600" spc="-1" strike="noStrike">
                    <a:solidFill>
                      <a:srgbClr val="000000"/>
                    </a:solidFill>
                    <a:latin typeface="Arial"/>
                    <a:ea typeface="Arial"/>
                  </a:endParaRPr>
                </a:p>
              </p:txBody>
            </p:sp>
            <p:sp>
              <p:nvSpPr>
                <p:cNvPr id="516" name="Freeform 155"/>
                <p:cNvSpPr/>
                <p:nvPr/>
              </p:nvSpPr>
              <p:spPr>
                <a:xfrm>
                  <a:off x="9611640" y="3699360"/>
                  <a:ext cx="189000" cy="345240"/>
                </a:xfrm>
                <a:custGeom>
                  <a:avLst/>
                  <a:gdLst/>
                  <a:ahLst/>
                  <a:rect l="l" t="t" r="r" b="b"/>
                  <a:pathLst>
                    <a:path w="189582" h="346306">
                      <a:moveTo>
                        <a:pt x="120238" y="195149"/>
                      </a:moveTo>
                      <a:lnTo>
                        <a:pt x="99515" y="184389"/>
                      </a:lnTo>
                      <a:lnTo>
                        <a:pt x="79772" y="184827"/>
                      </a:lnTo>
                      <a:lnTo>
                        <a:pt x="83157" y="166388"/>
                      </a:lnTo>
                      <a:lnTo>
                        <a:pt x="62828" y="166526"/>
                      </a:lnTo>
                      <a:lnTo>
                        <a:pt x="61004" y="192329"/>
                      </a:lnTo>
                      <a:lnTo>
                        <a:pt x="48543" y="226490"/>
                      </a:lnTo>
                      <a:lnTo>
                        <a:pt x="41037" y="247096"/>
                      </a:lnTo>
                      <a:lnTo>
                        <a:pt x="42622" y="263955"/>
                      </a:lnTo>
                      <a:lnTo>
                        <a:pt x="57659" y="264686"/>
                      </a:lnTo>
                      <a:lnTo>
                        <a:pt x="67026" y="285912"/>
                      </a:lnTo>
                      <a:lnTo>
                        <a:pt x="71172" y="306013"/>
                      </a:lnTo>
                      <a:lnTo>
                        <a:pt x="84053" y="319298"/>
                      </a:lnTo>
                      <a:lnTo>
                        <a:pt x="98036" y="321994"/>
                      </a:lnTo>
                      <a:lnTo>
                        <a:pt x="109995" y="334023"/>
                      </a:lnTo>
                      <a:lnTo>
                        <a:pt x="102449" y="343539"/>
                      </a:lnTo>
                      <a:lnTo>
                        <a:pt x="87214" y="346305"/>
                      </a:lnTo>
                      <a:lnTo>
                        <a:pt x="85397" y="334411"/>
                      </a:lnTo>
                      <a:lnTo>
                        <a:pt x="66563" y="324261"/>
                      </a:lnTo>
                      <a:lnTo>
                        <a:pt x="62550" y="328395"/>
                      </a:lnTo>
                      <a:lnTo>
                        <a:pt x="53431" y="319499"/>
                      </a:lnTo>
                      <a:lnTo>
                        <a:pt x="49483" y="308011"/>
                      </a:lnTo>
                      <a:lnTo>
                        <a:pt x="37218" y="294906"/>
                      </a:lnTo>
                      <a:lnTo>
                        <a:pt x="26035" y="283886"/>
                      </a:lnTo>
                      <a:lnTo>
                        <a:pt x="22246" y="297541"/>
                      </a:lnTo>
                      <a:lnTo>
                        <a:pt x="17868" y="284637"/>
                      </a:lnTo>
                      <a:lnTo>
                        <a:pt x="20388" y="270129"/>
                      </a:lnTo>
                      <a:lnTo>
                        <a:pt x="27183" y="247798"/>
                      </a:lnTo>
                      <a:lnTo>
                        <a:pt x="38369" y="223824"/>
                      </a:lnTo>
                      <a:lnTo>
                        <a:pt x="51045" y="202028"/>
                      </a:lnTo>
                      <a:lnTo>
                        <a:pt x="42020" y="180660"/>
                      </a:lnTo>
                      <a:lnTo>
                        <a:pt x="42382" y="169757"/>
                      </a:lnTo>
                      <a:lnTo>
                        <a:pt x="39745" y="156638"/>
                      </a:lnTo>
                      <a:lnTo>
                        <a:pt x="24350" y="137930"/>
                      </a:lnTo>
                      <a:lnTo>
                        <a:pt x="18840" y="126096"/>
                      </a:lnTo>
                      <a:lnTo>
                        <a:pt x="26810" y="121733"/>
                      </a:lnTo>
                      <a:lnTo>
                        <a:pt x="35257" y="101171"/>
                      </a:lnTo>
                      <a:lnTo>
                        <a:pt x="25803" y="85523"/>
                      </a:lnTo>
                      <a:lnTo>
                        <a:pt x="11154" y="68172"/>
                      </a:lnTo>
                      <a:lnTo>
                        <a:pt x="0" y="47259"/>
                      </a:lnTo>
                      <a:lnTo>
                        <a:pt x="9738" y="42922"/>
                      </a:lnTo>
                      <a:lnTo>
                        <a:pt x="20262" y="17045"/>
                      </a:lnTo>
                      <a:lnTo>
                        <a:pt x="36558" y="15971"/>
                      </a:lnTo>
                      <a:lnTo>
                        <a:pt x="50029" y="5560"/>
                      </a:lnTo>
                      <a:lnTo>
                        <a:pt x="63249" y="0"/>
                      </a:lnTo>
                      <a:lnTo>
                        <a:pt x="73241" y="7419"/>
                      </a:lnTo>
                      <a:lnTo>
                        <a:pt x="74566" y="21837"/>
                      </a:lnTo>
                      <a:lnTo>
                        <a:pt x="90163" y="22933"/>
                      </a:lnTo>
                      <a:lnTo>
                        <a:pt x="84483" y="48131"/>
                      </a:lnTo>
                      <a:lnTo>
                        <a:pt x="85029" y="69491"/>
                      </a:lnTo>
                      <a:lnTo>
                        <a:pt x="109359" y="55282"/>
                      </a:lnTo>
                      <a:lnTo>
                        <a:pt x="116269" y="59485"/>
                      </a:lnTo>
                      <a:lnTo>
                        <a:pt x="129789" y="58796"/>
                      </a:lnTo>
                      <a:lnTo>
                        <a:pt x="134440" y="50500"/>
                      </a:lnTo>
                      <a:lnTo>
                        <a:pt x="151897" y="52138"/>
                      </a:lnTo>
                      <a:lnTo>
                        <a:pt x="169451" y="71480"/>
                      </a:lnTo>
                      <a:lnTo>
                        <a:pt x="170891" y="94915"/>
                      </a:lnTo>
                      <a:lnTo>
                        <a:pt x="189581" y="115546"/>
                      </a:lnTo>
                      <a:lnTo>
                        <a:pt x="188549" y="135528"/>
                      </a:lnTo>
                      <a:lnTo>
                        <a:pt x="181034" y="146149"/>
                      </a:lnTo>
                      <a:lnTo>
                        <a:pt x="159398" y="142768"/>
                      </a:lnTo>
                      <a:lnTo>
                        <a:pt x="129551" y="147267"/>
                      </a:lnTo>
                      <a:lnTo>
                        <a:pt x="114772" y="166822"/>
                      </a:lnTo>
                      <a:close/>
                    </a:path>
                  </a:pathLst>
                </a:custGeom>
                <a:solidFill>
                  <a:schemeClr val="accent1"/>
                </a:solidFill>
                <a:ln cap="rnd" w="3175">
                  <a:solidFill>
                    <a:srgbClr val="009fdf">
                      <a:lumMod val="60000"/>
                      <a:lumOff val="40000"/>
                    </a:srgbClr>
                  </a:solidFill>
                </a:ln>
              </p:spPr>
              <p:style>
                <a:lnRef idx="2">
                  <a:schemeClr val="accent1">
                    <a:shade val="50000"/>
                  </a:schemeClr>
                </a:lnRef>
                <a:fillRef idx="1">
                  <a:schemeClr val="accent1"/>
                </a:fillRef>
                <a:effectRef idx="0">
                  <a:schemeClr val="accent1"/>
                </a:effectRef>
                <a:fontRef idx="minor"/>
              </p:style>
              <p:txBody>
                <a:bodyPr numCol="1" spcCol="0" horzOverflow="overflow" lIns="72000" rIns="72000" tIns="72000" bIns="72000" anchor="ctr">
                  <a:noAutofit/>
                </a:bodyPr>
                <a:p>
                  <a:pPr algn="ctr" defTabSz="457200">
                    <a:lnSpc>
                      <a:spcPct val="100000"/>
                    </a:lnSpc>
                    <a:tabLst>
                      <a:tab algn="l" pos="0"/>
                    </a:tabLst>
                  </a:pPr>
                  <a:endParaRPr b="0" lang="de-DE" sz="1600" spc="-1" strike="noStrike">
                    <a:solidFill>
                      <a:srgbClr val="000000"/>
                    </a:solidFill>
                    <a:latin typeface="Arial"/>
                    <a:ea typeface="Arial"/>
                  </a:endParaRPr>
                </a:p>
              </p:txBody>
            </p:sp>
            <p:sp>
              <p:nvSpPr>
                <p:cNvPr id="517" name="Freeform 156"/>
                <p:cNvSpPr/>
                <p:nvPr/>
              </p:nvSpPr>
              <p:spPr>
                <a:xfrm>
                  <a:off x="8921880" y="3176640"/>
                  <a:ext cx="173160" cy="113400"/>
                </a:xfrm>
                <a:custGeom>
                  <a:avLst/>
                  <a:gdLst/>
                  <a:ahLst/>
                  <a:rect l="l" t="t" r="r" b="b"/>
                  <a:pathLst>
                    <a:path w="173993" h="113820">
                      <a:moveTo>
                        <a:pt x="82451" y="19589"/>
                      </a:moveTo>
                      <a:lnTo>
                        <a:pt x="73999" y="27995"/>
                      </a:lnTo>
                      <a:lnTo>
                        <a:pt x="48875" y="23437"/>
                      </a:lnTo>
                      <a:lnTo>
                        <a:pt x="46689" y="39103"/>
                      </a:lnTo>
                      <a:lnTo>
                        <a:pt x="71717" y="37002"/>
                      </a:lnTo>
                      <a:lnTo>
                        <a:pt x="100236" y="45798"/>
                      </a:lnTo>
                      <a:lnTo>
                        <a:pt x="143878" y="41690"/>
                      </a:lnTo>
                      <a:lnTo>
                        <a:pt x="149729" y="66657"/>
                      </a:lnTo>
                      <a:lnTo>
                        <a:pt x="157316" y="63950"/>
                      </a:lnTo>
                      <a:lnTo>
                        <a:pt x="171334" y="70067"/>
                      </a:lnTo>
                      <a:lnTo>
                        <a:pt x="170530" y="80489"/>
                      </a:lnTo>
                      <a:lnTo>
                        <a:pt x="173992" y="95707"/>
                      </a:lnTo>
                      <a:lnTo>
                        <a:pt x="150187" y="95665"/>
                      </a:lnTo>
                      <a:lnTo>
                        <a:pt x="134291" y="93702"/>
                      </a:lnTo>
                      <a:lnTo>
                        <a:pt x="119907" y="105613"/>
                      </a:lnTo>
                      <a:lnTo>
                        <a:pt x="109662" y="108248"/>
                      </a:lnTo>
                      <a:lnTo>
                        <a:pt x="101620" y="113819"/>
                      </a:lnTo>
                      <a:lnTo>
                        <a:pt x="92480" y="105132"/>
                      </a:lnTo>
                      <a:lnTo>
                        <a:pt x="94632" y="82742"/>
                      </a:lnTo>
                      <a:lnTo>
                        <a:pt x="87650" y="81472"/>
                      </a:lnTo>
                      <a:lnTo>
                        <a:pt x="90159" y="73285"/>
                      </a:lnTo>
                      <a:lnTo>
                        <a:pt x="77664" y="67182"/>
                      </a:lnTo>
                      <a:lnTo>
                        <a:pt x="67727" y="76516"/>
                      </a:lnTo>
                      <a:lnTo>
                        <a:pt x="65286" y="87302"/>
                      </a:lnTo>
                      <a:lnTo>
                        <a:pt x="61732" y="91223"/>
                      </a:lnTo>
                      <a:lnTo>
                        <a:pt x="47933" y="90669"/>
                      </a:lnTo>
                      <a:lnTo>
                        <a:pt x="40489" y="102861"/>
                      </a:lnTo>
                      <a:lnTo>
                        <a:pt x="32714" y="97722"/>
                      </a:lnTo>
                      <a:lnTo>
                        <a:pt x="16004" y="106262"/>
                      </a:lnTo>
                      <a:lnTo>
                        <a:pt x="8951" y="103024"/>
                      </a:lnTo>
                      <a:lnTo>
                        <a:pt x="21925" y="76017"/>
                      </a:lnTo>
                      <a:lnTo>
                        <a:pt x="16938" y="56004"/>
                      </a:lnTo>
                      <a:lnTo>
                        <a:pt x="0" y="49564"/>
                      </a:lnTo>
                      <a:lnTo>
                        <a:pt x="5984" y="37645"/>
                      </a:lnTo>
                      <a:lnTo>
                        <a:pt x="25257" y="38920"/>
                      </a:lnTo>
                      <a:lnTo>
                        <a:pt x="36227" y="23901"/>
                      </a:lnTo>
                      <a:lnTo>
                        <a:pt x="43564" y="6373"/>
                      </a:lnTo>
                      <a:lnTo>
                        <a:pt x="74428" y="0"/>
                      </a:lnTo>
                      <a:lnTo>
                        <a:pt x="69616" y="12704"/>
                      </a:lnTo>
                      <a:lnTo>
                        <a:pt x="72923" y="20293"/>
                      </a:lnTo>
                      <a:close/>
                    </a:path>
                  </a:pathLst>
                </a:custGeom>
                <a:solidFill>
                  <a:schemeClr val="accent1">
                    <a:lumMod val="20000"/>
                    <a:lumOff val="80000"/>
                  </a:schemeClr>
                </a:solidFill>
                <a:ln cap="rnd" w="3175">
                  <a:solidFill>
                    <a:srgbClr val="009fdf">
                      <a:lumMod val="60000"/>
                      <a:lumOff val="40000"/>
                    </a:srgbClr>
                  </a:solidFill>
                </a:ln>
              </p:spPr>
              <p:style>
                <a:lnRef idx="2">
                  <a:schemeClr val="accent1">
                    <a:shade val="50000"/>
                  </a:schemeClr>
                </a:lnRef>
                <a:fillRef idx="1">
                  <a:schemeClr val="accent1"/>
                </a:fillRef>
                <a:effectRef idx="0">
                  <a:schemeClr val="accent1"/>
                </a:effectRef>
                <a:fontRef idx="minor"/>
              </p:style>
              <p:txBody>
                <a:bodyPr numCol="1" spcCol="0" horzOverflow="overflow" lIns="72000" rIns="72000" tIns="56520" bIns="56520" anchor="ctr">
                  <a:noAutofit/>
                </a:bodyPr>
                <a:p>
                  <a:pPr algn="ctr" defTabSz="457200">
                    <a:lnSpc>
                      <a:spcPct val="100000"/>
                    </a:lnSpc>
                    <a:tabLst>
                      <a:tab algn="l" pos="0"/>
                    </a:tabLst>
                  </a:pPr>
                  <a:endParaRPr b="0" lang="de-DE" sz="1600" spc="-1" strike="noStrike">
                    <a:solidFill>
                      <a:srgbClr val="000000"/>
                    </a:solidFill>
                    <a:latin typeface="Arial"/>
                    <a:ea typeface="Arial"/>
                  </a:endParaRPr>
                </a:p>
              </p:txBody>
            </p:sp>
            <p:sp>
              <p:nvSpPr>
                <p:cNvPr id="518" name="Freeform 157"/>
                <p:cNvSpPr/>
                <p:nvPr/>
              </p:nvSpPr>
              <p:spPr>
                <a:xfrm>
                  <a:off x="8577720" y="3127320"/>
                  <a:ext cx="323280" cy="201240"/>
                </a:xfrm>
                <a:custGeom>
                  <a:avLst/>
                  <a:gdLst/>
                  <a:ahLst/>
                  <a:rect l="l" t="t" r="r" b="b"/>
                  <a:pathLst>
                    <a:path w="324167" h="202057">
                      <a:moveTo>
                        <a:pt x="201012" y="192103"/>
                      </a:moveTo>
                      <a:lnTo>
                        <a:pt x="198987" y="169924"/>
                      </a:lnTo>
                      <a:lnTo>
                        <a:pt x="181780" y="168978"/>
                      </a:lnTo>
                      <a:lnTo>
                        <a:pt x="155399" y="145473"/>
                      </a:lnTo>
                      <a:lnTo>
                        <a:pt x="136965" y="142560"/>
                      </a:lnTo>
                      <a:lnTo>
                        <a:pt x="111442" y="129018"/>
                      </a:lnTo>
                      <a:lnTo>
                        <a:pt x="95029" y="126550"/>
                      </a:lnTo>
                      <a:lnTo>
                        <a:pt x="84896" y="131536"/>
                      </a:lnTo>
                      <a:lnTo>
                        <a:pt x="69458" y="130761"/>
                      </a:lnTo>
                      <a:lnTo>
                        <a:pt x="53040" y="146020"/>
                      </a:lnTo>
                      <a:lnTo>
                        <a:pt x="32757" y="151170"/>
                      </a:lnTo>
                      <a:lnTo>
                        <a:pt x="28462" y="132312"/>
                      </a:lnTo>
                      <a:lnTo>
                        <a:pt x="31818" y="104220"/>
                      </a:lnTo>
                      <a:lnTo>
                        <a:pt x="13816" y="95076"/>
                      </a:lnTo>
                      <a:lnTo>
                        <a:pt x="19743" y="76499"/>
                      </a:lnTo>
                      <a:lnTo>
                        <a:pt x="4421" y="74910"/>
                      </a:lnTo>
                      <a:lnTo>
                        <a:pt x="9528" y="51876"/>
                      </a:lnTo>
                      <a:lnTo>
                        <a:pt x="31293" y="58602"/>
                      </a:lnTo>
                      <a:lnTo>
                        <a:pt x="51575" y="49832"/>
                      </a:lnTo>
                      <a:lnTo>
                        <a:pt x="34759" y="33313"/>
                      </a:lnTo>
                      <a:lnTo>
                        <a:pt x="28144" y="17485"/>
                      </a:lnTo>
                      <a:lnTo>
                        <a:pt x="9562" y="24554"/>
                      </a:lnTo>
                      <a:lnTo>
                        <a:pt x="7207" y="44767"/>
                      </a:lnTo>
                      <a:lnTo>
                        <a:pt x="0" y="26900"/>
                      </a:lnTo>
                      <a:lnTo>
                        <a:pt x="10198" y="17684"/>
                      </a:lnTo>
                      <a:lnTo>
                        <a:pt x="36400" y="11905"/>
                      </a:lnTo>
                      <a:lnTo>
                        <a:pt x="52003" y="19682"/>
                      </a:lnTo>
                      <a:lnTo>
                        <a:pt x="68158" y="41343"/>
                      </a:lnTo>
                      <a:lnTo>
                        <a:pt x="79998" y="40000"/>
                      </a:lnTo>
                      <a:lnTo>
                        <a:pt x="106040" y="39623"/>
                      </a:lnTo>
                      <a:lnTo>
                        <a:pt x="102250" y="25718"/>
                      </a:lnTo>
                      <a:lnTo>
                        <a:pt x="121970" y="16171"/>
                      </a:lnTo>
                      <a:lnTo>
                        <a:pt x="141417" y="0"/>
                      </a:lnTo>
                      <a:lnTo>
                        <a:pt x="172519" y="14712"/>
                      </a:lnTo>
                      <a:lnTo>
                        <a:pt x="174986" y="36790"/>
                      </a:lnTo>
                      <a:lnTo>
                        <a:pt x="183819" y="42431"/>
                      </a:lnTo>
                      <a:lnTo>
                        <a:pt x="208776" y="41164"/>
                      </a:lnTo>
                      <a:lnTo>
                        <a:pt x="216521" y="46156"/>
                      </a:lnTo>
                      <a:lnTo>
                        <a:pt x="227867" y="74359"/>
                      </a:lnTo>
                      <a:lnTo>
                        <a:pt x="254268" y="93110"/>
                      </a:lnTo>
                      <a:lnTo>
                        <a:pt x="269323" y="105829"/>
                      </a:lnTo>
                      <a:lnTo>
                        <a:pt x="293462" y="119006"/>
                      </a:lnTo>
                      <a:lnTo>
                        <a:pt x="324166" y="130478"/>
                      </a:lnTo>
                      <a:lnTo>
                        <a:pt x="323530" y="146810"/>
                      </a:lnTo>
                      <a:lnTo>
                        <a:pt x="316577" y="145984"/>
                      </a:lnTo>
                      <a:lnTo>
                        <a:pt x="305687" y="138856"/>
                      </a:lnTo>
                      <a:lnTo>
                        <a:pt x="302071" y="148342"/>
                      </a:lnTo>
                      <a:lnTo>
                        <a:pt x="282616" y="153485"/>
                      </a:lnTo>
                      <a:lnTo>
                        <a:pt x="278008" y="174668"/>
                      </a:lnTo>
                      <a:lnTo>
                        <a:pt x="264999" y="182688"/>
                      </a:lnTo>
                      <a:lnTo>
                        <a:pt x="246779" y="186658"/>
                      </a:lnTo>
                      <a:lnTo>
                        <a:pt x="241957" y="198561"/>
                      </a:lnTo>
                      <a:lnTo>
                        <a:pt x="224552" y="202056"/>
                      </a:lnTo>
                      <a:close/>
                    </a:path>
                  </a:pathLst>
                </a:custGeom>
                <a:solidFill>
                  <a:schemeClr val="accent1">
                    <a:lumMod val="20000"/>
                    <a:lumOff val="80000"/>
                  </a:schemeClr>
                </a:solidFill>
                <a:ln cap="rnd" w="3175">
                  <a:solidFill>
                    <a:srgbClr val="009fdf">
                      <a:lumMod val="60000"/>
                      <a:lumOff val="40000"/>
                    </a:srgbClr>
                  </a:solidFill>
                </a:ln>
              </p:spPr>
              <p:style>
                <a:lnRef idx="2">
                  <a:schemeClr val="accent1">
                    <a:shade val="50000"/>
                  </a:schemeClr>
                </a:lnRef>
                <a:fillRef idx="1">
                  <a:schemeClr val="accent1"/>
                </a:fillRef>
                <a:effectRef idx="0">
                  <a:schemeClr val="accent1"/>
                </a:effectRef>
                <a:fontRef idx="minor"/>
              </p:style>
              <p:txBody>
                <a:bodyPr numCol="1" spcCol="0" horzOverflow="overflow" lIns="72000" rIns="72000" tIns="72000" bIns="72000" anchor="ctr">
                  <a:noAutofit/>
                </a:bodyPr>
                <a:p>
                  <a:pPr algn="ctr" defTabSz="457200">
                    <a:lnSpc>
                      <a:spcPct val="100000"/>
                    </a:lnSpc>
                    <a:tabLst>
                      <a:tab algn="l" pos="0"/>
                    </a:tabLst>
                  </a:pPr>
                  <a:endParaRPr b="0" lang="de-DE" sz="1600" spc="-1" strike="noStrike">
                    <a:solidFill>
                      <a:srgbClr val="000000"/>
                    </a:solidFill>
                    <a:latin typeface="Arial"/>
                    <a:ea typeface="Arial"/>
                  </a:endParaRPr>
                </a:p>
              </p:txBody>
            </p:sp>
            <p:sp>
              <p:nvSpPr>
                <p:cNvPr id="519" name="Freeform 158"/>
                <p:cNvSpPr/>
                <p:nvPr/>
              </p:nvSpPr>
              <p:spPr>
                <a:xfrm>
                  <a:off x="10247040" y="4367520"/>
                  <a:ext cx="54000" cy="25560"/>
                </a:xfrm>
                <a:custGeom>
                  <a:avLst/>
                  <a:gdLst/>
                  <a:ahLst/>
                  <a:rect l="l" t="t" r="r" b="b"/>
                  <a:pathLst>
                    <a:path w="54643" h="26048">
                      <a:moveTo>
                        <a:pt x="0" y="14402"/>
                      </a:moveTo>
                      <a:lnTo>
                        <a:pt x="2714" y="8915"/>
                      </a:lnTo>
                      <a:lnTo>
                        <a:pt x="22584" y="3689"/>
                      </a:lnTo>
                      <a:lnTo>
                        <a:pt x="38688" y="2902"/>
                      </a:lnTo>
                      <a:lnTo>
                        <a:pt x="45901" y="0"/>
                      </a:lnTo>
                      <a:lnTo>
                        <a:pt x="54642" y="2881"/>
                      </a:lnTo>
                      <a:lnTo>
                        <a:pt x="46150" y="9179"/>
                      </a:lnTo>
                      <a:lnTo>
                        <a:pt x="22095" y="19362"/>
                      </a:lnTo>
                      <a:lnTo>
                        <a:pt x="2767" y="26047"/>
                      </a:lnTo>
                      <a:lnTo>
                        <a:pt x="2339" y="18989"/>
                      </a:lnTo>
                      <a:close/>
                    </a:path>
                  </a:pathLst>
                </a:custGeom>
                <a:solidFill>
                  <a:schemeClr val="accent1"/>
                </a:solidFill>
                <a:ln cap="rnd" w="3175">
                  <a:solidFill>
                    <a:srgbClr val="009fdf">
                      <a:lumMod val="60000"/>
                      <a:lumOff val="40000"/>
                    </a:srgbClr>
                  </a:solidFill>
                </a:ln>
              </p:spPr>
              <p:style>
                <a:lnRef idx="2">
                  <a:schemeClr val="accent1">
                    <a:shade val="50000"/>
                  </a:schemeClr>
                </a:lnRef>
                <a:fillRef idx="1">
                  <a:schemeClr val="accent1"/>
                </a:fillRef>
                <a:effectRef idx="0">
                  <a:schemeClr val="accent1"/>
                </a:effectRef>
                <a:fontRef idx="minor"/>
              </p:style>
              <p:txBody>
                <a:bodyPr numCol="1" spcCol="0" horzOverflow="overflow" lIns="72000" rIns="72000" tIns="12600" bIns="12600" anchor="ctr">
                  <a:noAutofit/>
                </a:bodyPr>
                <a:p>
                  <a:pPr algn="ctr" defTabSz="457200">
                    <a:lnSpc>
                      <a:spcPct val="100000"/>
                    </a:lnSpc>
                    <a:tabLst>
                      <a:tab algn="l" pos="0"/>
                    </a:tabLst>
                  </a:pPr>
                  <a:endParaRPr b="0" lang="de-DE" sz="1600" spc="-1" strike="noStrike">
                    <a:solidFill>
                      <a:srgbClr val="000000"/>
                    </a:solidFill>
                    <a:latin typeface="Arial"/>
                    <a:ea typeface="Arial"/>
                  </a:endParaRPr>
                </a:p>
              </p:txBody>
            </p:sp>
            <p:sp>
              <p:nvSpPr>
                <p:cNvPr id="520" name="Freeform 159"/>
                <p:cNvSpPr/>
                <p:nvPr/>
              </p:nvSpPr>
              <p:spPr>
                <a:xfrm>
                  <a:off x="7541640" y="3274200"/>
                  <a:ext cx="91080" cy="181800"/>
                </a:xfrm>
                <a:custGeom>
                  <a:avLst/>
                  <a:gdLst/>
                  <a:ahLst/>
                  <a:rect l="l" t="t" r="r" b="b"/>
                  <a:pathLst>
                    <a:path w="91507" h="182659">
                      <a:moveTo>
                        <a:pt x="45188" y="182658"/>
                      </a:moveTo>
                      <a:lnTo>
                        <a:pt x="35342" y="136950"/>
                      </a:lnTo>
                      <a:lnTo>
                        <a:pt x="21112" y="126598"/>
                      </a:lnTo>
                      <a:lnTo>
                        <a:pt x="20912" y="120377"/>
                      </a:lnTo>
                      <a:lnTo>
                        <a:pt x="2034" y="105018"/>
                      </a:lnTo>
                      <a:lnTo>
                        <a:pt x="0" y="85508"/>
                      </a:lnTo>
                      <a:lnTo>
                        <a:pt x="14230" y="70993"/>
                      </a:lnTo>
                      <a:lnTo>
                        <a:pt x="19664" y="49421"/>
                      </a:lnTo>
                      <a:lnTo>
                        <a:pt x="16004" y="24318"/>
                      </a:lnTo>
                      <a:lnTo>
                        <a:pt x="20693" y="10727"/>
                      </a:lnTo>
                      <a:lnTo>
                        <a:pt x="45831" y="0"/>
                      </a:lnTo>
                      <a:lnTo>
                        <a:pt x="61989" y="3193"/>
                      </a:lnTo>
                      <a:lnTo>
                        <a:pt x="61311" y="16623"/>
                      </a:lnTo>
                      <a:lnTo>
                        <a:pt x="80890" y="6859"/>
                      </a:lnTo>
                      <a:lnTo>
                        <a:pt x="82533" y="11958"/>
                      </a:lnTo>
                      <a:lnTo>
                        <a:pt x="70991" y="24931"/>
                      </a:lnTo>
                      <a:lnTo>
                        <a:pt x="70836" y="37132"/>
                      </a:lnTo>
                      <a:lnTo>
                        <a:pt x="78828" y="43668"/>
                      </a:lnTo>
                      <a:lnTo>
                        <a:pt x="75788" y="66339"/>
                      </a:lnTo>
                      <a:lnTo>
                        <a:pt x="60594" y="79441"/>
                      </a:lnTo>
                      <a:lnTo>
                        <a:pt x="64981" y="93593"/>
                      </a:lnTo>
                      <a:lnTo>
                        <a:pt x="76919" y="94033"/>
                      </a:lnTo>
                      <a:lnTo>
                        <a:pt x="82728" y="106330"/>
                      </a:lnTo>
                      <a:lnTo>
                        <a:pt x="91506" y="110365"/>
                      </a:lnTo>
                      <a:lnTo>
                        <a:pt x="90202" y="130125"/>
                      </a:lnTo>
                      <a:lnTo>
                        <a:pt x="78950" y="137484"/>
                      </a:lnTo>
                      <a:lnTo>
                        <a:pt x="71843" y="145681"/>
                      </a:lnTo>
                      <a:lnTo>
                        <a:pt x="55992" y="155515"/>
                      </a:lnTo>
                      <a:lnTo>
                        <a:pt x="58447" y="166060"/>
                      </a:lnTo>
                      <a:lnTo>
                        <a:pt x="56449" y="176787"/>
                      </a:lnTo>
                      <a:close/>
                    </a:path>
                  </a:pathLst>
                </a:custGeom>
                <a:solidFill>
                  <a:schemeClr val="accent1">
                    <a:lumMod val="20000"/>
                    <a:lumOff val="80000"/>
                  </a:schemeClr>
                </a:solidFill>
                <a:ln cap="rnd" w="3175">
                  <a:solidFill>
                    <a:srgbClr val="009fdf">
                      <a:lumMod val="60000"/>
                      <a:lumOff val="40000"/>
                    </a:srgbClr>
                  </a:solidFill>
                </a:ln>
              </p:spPr>
              <p:style>
                <a:lnRef idx="2">
                  <a:schemeClr val="accent1">
                    <a:shade val="50000"/>
                  </a:schemeClr>
                </a:lnRef>
                <a:fillRef idx="1">
                  <a:schemeClr val="accent1"/>
                </a:fillRef>
                <a:effectRef idx="0">
                  <a:schemeClr val="accent1"/>
                </a:effectRef>
                <a:fontRef idx="minor"/>
              </p:style>
              <p:txBody>
                <a:bodyPr numCol="1" spcCol="0" horzOverflow="overflow" lIns="72000" rIns="72000" tIns="72000" bIns="72000" anchor="ctr">
                  <a:noAutofit/>
                </a:bodyPr>
                <a:p>
                  <a:pPr algn="ctr" defTabSz="457200">
                    <a:lnSpc>
                      <a:spcPct val="100000"/>
                    </a:lnSpc>
                    <a:tabLst>
                      <a:tab algn="l" pos="0"/>
                    </a:tabLst>
                  </a:pPr>
                  <a:endParaRPr b="0" lang="de-DE" sz="1600" spc="-1" strike="noStrike">
                    <a:solidFill>
                      <a:srgbClr val="000000"/>
                    </a:solidFill>
                    <a:latin typeface="Arial"/>
                    <a:ea typeface="Arial"/>
                  </a:endParaRPr>
                </a:p>
              </p:txBody>
            </p:sp>
            <p:sp>
              <p:nvSpPr>
                <p:cNvPr id="521" name="Freeform 160"/>
                <p:cNvSpPr/>
                <p:nvPr/>
              </p:nvSpPr>
              <p:spPr>
                <a:xfrm>
                  <a:off x="7968240" y="3144240"/>
                  <a:ext cx="431640" cy="169920"/>
                </a:xfrm>
                <a:custGeom>
                  <a:avLst/>
                  <a:gdLst>
                    <a:gd name="textAreaLeft" fmla="*/ 0 w 431640"/>
                    <a:gd name="textAreaRight" fmla="*/ 432000 w 431640"/>
                    <a:gd name="textAreaTop" fmla="*/ 0 h 169920"/>
                    <a:gd name="textAreaBottom" fmla="*/ 170280 h 169920"/>
                  </a:gdLst>
                  <a:ahLst/>
                  <a:rect l="textAreaLeft" t="textAreaTop" r="textAreaRight" b="textAreaBottom"/>
                  <a:pathLst>
                    <a:path w="432815" h="170618">
                      <a:moveTo>
                        <a:pt x="210614" y="2808"/>
                      </a:moveTo>
                      <a:lnTo>
                        <a:pt x="250903" y="22286"/>
                      </a:lnTo>
                      <a:lnTo>
                        <a:pt x="284016" y="32921"/>
                      </a:lnTo>
                      <a:lnTo>
                        <a:pt x="310906" y="28686"/>
                      </a:lnTo>
                      <a:lnTo>
                        <a:pt x="330776" y="31134"/>
                      </a:lnTo>
                      <a:lnTo>
                        <a:pt x="358029" y="16764"/>
                      </a:lnTo>
                      <a:lnTo>
                        <a:pt x="382623" y="15452"/>
                      </a:lnTo>
                      <a:lnTo>
                        <a:pt x="404856" y="28978"/>
                      </a:lnTo>
                      <a:lnTo>
                        <a:pt x="408778" y="38635"/>
                      </a:lnTo>
                      <a:lnTo>
                        <a:pt x="406557" y="51939"/>
                      </a:lnTo>
                      <a:lnTo>
                        <a:pt x="423721" y="58712"/>
                      </a:lnTo>
                      <a:lnTo>
                        <a:pt x="432815" y="66650"/>
                      </a:lnTo>
                      <a:lnTo>
                        <a:pt x="417008" y="74375"/>
                      </a:lnTo>
                      <a:lnTo>
                        <a:pt x="424214" y="105286"/>
                      </a:lnTo>
                      <a:lnTo>
                        <a:pt x="419698" y="113583"/>
                      </a:lnTo>
                      <a:lnTo>
                        <a:pt x="432323" y="134949"/>
                      </a:lnTo>
                      <a:lnTo>
                        <a:pt x="421261" y="139436"/>
                      </a:lnTo>
                      <a:lnTo>
                        <a:pt x="413154" y="132667"/>
                      </a:lnTo>
                      <a:lnTo>
                        <a:pt x="386306" y="129233"/>
                      </a:lnTo>
                      <a:lnTo>
                        <a:pt x="376391" y="133368"/>
                      </a:lnTo>
                      <a:lnTo>
                        <a:pt x="350135" y="137502"/>
                      </a:lnTo>
                      <a:lnTo>
                        <a:pt x="337697" y="137052"/>
                      </a:lnTo>
                      <a:lnTo>
                        <a:pt x="311136" y="147006"/>
                      </a:lnTo>
                      <a:lnTo>
                        <a:pt x="292147" y="147089"/>
                      </a:lnTo>
                      <a:lnTo>
                        <a:pt x="279863" y="142098"/>
                      </a:lnTo>
                      <a:lnTo>
                        <a:pt x="254450" y="149469"/>
                      </a:lnTo>
                      <a:lnTo>
                        <a:pt x="246895" y="144317"/>
                      </a:lnTo>
                      <a:lnTo>
                        <a:pt x="245646" y="159072"/>
                      </a:lnTo>
                      <a:lnTo>
                        <a:pt x="239464" y="164850"/>
                      </a:lnTo>
                      <a:lnTo>
                        <a:pt x="233283" y="170618"/>
                      </a:lnTo>
                      <a:lnTo>
                        <a:pt x="224796" y="158668"/>
                      </a:lnTo>
                      <a:lnTo>
                        <a:pt x="233538" y="148739"/>
                      </a:lnTo>
                      <a:lnTo>
                        <a:pt x="219460" y="150993"/>
                      </a:lnTo>
                      <a:lnTo>
                        <a:pt x="200154" y="144900"/>
                      </a:lnTo>
                      <a:lnTo>
                        <a:pt x="184281" y="160121"/>
                      </a:lnTo>
                      <a:lnTo>
                        <a:pt x="149248" y="163085"/>
                      </a:lnTo>
                      <a:lnTo>
                        <a:pt x="130561" y="148907"/>
                      </a:lnTo>
                      <a:lnTo>
                        <a:pt x="105678" y="148018"/>
                      </a:lnTo>
                      <a:lnTo>
                        <a:pt x="100357" y="158986"/>
                      </a:lnTo>
                      <a:lnTo>
                        <a:pt x="84404" y="162115"/>
                      </a:lnTo>
                      <a:lnTo>
                        <a:pt x="62082" y="148045"/>
                      </a:lnTo>
                      <a:lnTo>
                        <a:pt x="36882" y="148522"/>
                      </a:lnTo>
                      <a:lnTo>
                        <a:pt x="23208" y="122086"/>
                      </a:lnTo>
                      <a:lnTo>
                        <a:pt x="6344" y="107248"/>
                      </a:lnTo>
                      <a:lnTo>
                        <a:pt x="17574" y="86334"/>
                      </a:lnTo>
                      <a:lnTo>
                        <a:pt x="2941" y="73414"/>
                      </a:lnTo>
                      <a:lnTo>
                        <a:pt x="28545" y="47395"/>
                      </a:lnTo>
                      <a:lnTo>
                        <a:pt x="64091" y="46302"/>
                      </a:lnTo>
                      <a:lnTo>
                        <a:pt x="73787" y="25462"/>
                      </a:lnTo>
                      <a:lnTo>
                        <a:pt x="117781" y="29102"/>
                      </a:lnTo>
                      <a:lnTo>
                        <a:pt x="145528" y="11223"/>
                      </a:lnTo>
                      <a:lnTo>
                        <a:pt x="172426" y="3398"/>
                      </a:lnTo>
                      <a:close/>
                      <a:moveTo>
                        <a:pt x="25215" y="0"/>
                      </a:moveTo>
                      <a:lnTo>
                        <a:pt x="45089" y="3719"/>
                      </a:lnTo>
                      <a:lnTo>
                        <a:pt x="47831" y="14356"/>
                      </a:lnTo>
                      <a:lnTo>
                        <a:pt x="67980" y="23262"/>
                      </a:lnTo>
                      <a:lnTo>
                        <a:pt x="63779" y="29999"/>
                      </a:lnTo>
                      <a:lnTo>
                        <a:pt x="36370" y="31514"/>
                      </a:lnTo>
                      <a:lnTo>
                        <a:pt x="26522" y="39995"/>
                      </a:lnTo>
                      <a:lnTo>
                        <a:pt x="7263" y="54708"/>
                      </a:lnTo>
                      <a:lnTo>
                        <a:pt x="0" y="41988"/>
                      </a:lnTo>
                      <a:lnTo>
                        <a:pt x="313" y="36335"/>
                      </a:lnTo>
                      <a:lnTo>
                        <a:pt x="5799" y="33259"/>
                      </a:lnTo>
                      <a:lnTo>
                        <a:pt x="12945" y="16034"/>
                      </a:lnTo>
                      <a:lnTo>
                        <a:pt x="1701" y="8716"/>
                      </a:lnTo>
                      <a:close/>
                    </a:path>
                  </a:pathLst>
                </a:custGeom>
                <a:solidFill>
                  <a:schemeClr val="accent1"/>
                </a:solidFill>
                <a:ln cap="rnd" w="3175">
                  <a:solidFill>
                    <a:srgbClr val="009fdf">
                      <a:lumMod val="60000"/>
                      <a:lumOff val="40000"/>
                    </a:srgbClr>
                  </a:solidFill>
                </a:ln>
              </p:spPr>
              <p:style>
                <a:lnRef idx="2">
                  <a:schemeClr val="accent1">
                    <a:shade val="50000"/>
                  </a:schemeClr>
                </a:lnRef>
                <a:fillRef idx="1">
                  <a:schemeClr val="accent1"/>
                </a:fillRef>
                <a:effectRef idx="0">
                  <a:schemeClr val="accent1"/>
                </a:effectRef>
                <a:fontRef idx="minor"/>
              </p:style>
              <p:txBody>
                <a:bodyPr numCol="1" spcCol="0" horzOverflow="overflow" lIns="72000" rIns="72000" tIns="72000" bIns="72000" anchor="ctr">
                  <a:noAutofit/>
                </a:bodyPr>
                <a:p>
                  <a:pPr algn="ctr" defTabSz="457200">
                    <a:lnSpc>
                      <a:spcPct val="100000"/>
                    </a:lnSpc>
                    <a:tabLst>
                      <a:tab algn="l" pos="0"/>
                    </a:tabLst>
                  </a:pPr>
                  <a:endParaRPr b="0" lang="de-DE" sz="1600" spc="-1" strike="noStrike">
                    <a:solidFill>
                      <a:srgbClr val="000000"/>
                    </a:solidFill>
                    <a:latin typeface="Arial"/>
                    <a:ea typeface="Arial"/>
                  </a:endParaRPr>
                </a:p>
              </p:txBody>
            </p:sp>
            <p:sp>
              <p:nvSpPr>
                <p:cNvPr id="522" name="Freeform 161"/>
                <p:cNvSpPr/>
                <p:nvPr/>
              </p:nvSpPr>
              <p:spPr>
                <a:xfrm>
                  <a:off x="10135080" y="3581280"/>
                  <a:ext cx="42120" cy="80640"/>
                </a:xfrm>
                <a:custGeom>
                  <a:avLst/>
                  <a:gdLst/>
                  <a:ahLst/>
                  <a:rect l="l" t="t" r="r" b="b"/>
                  <a:pathLst>
                    <a:path w="42590" h="81135">
                      <a:moveTo>
                        <a:pt x="38586" y="22120"/>
                      </a:moveTo>
                      <a:lnTo>
                        <a:pt x="24686" y="61235"/>
                      </a:lnTo>
                      <a:lnTo>
                        <a:pt x="14794" y="81134"/>
                      </a:lnTo>
                      <a:lnTo>
                        <a:pt x="2630" y="60652"/>
                      </a:lnTo>
                      <a:lnTo>
                        <a:pt x="0" y="42601"/>
                      </a:lnTo>
                      <a:lnTo>
                        <a:pt x="13585" y="18588"/>
                      </a:lnTo>
                      <a:lnTo>
                        <a:pt x="32059" y="0"/>
                      </a:lnTo>
                      <a:lnTo>
                        <a:pt x="42589" y="7323"/>
                      </a:lnTo>
                      <a:close/>
                    </a:path>
                  </a:pathLst>
                </a:custGeom>
                <a:solidFill>
                  <a:schemeClr val="accent1"/>
                </a:solidFill>
                <a:ln cap="rnd" w="3175">
                  <a:solidFill>
                    <a:srgbClr val="009fdf">
                      <a:lumMod val="60000"/>
                      <a:lumOff val="40000"/>
                    </a:srgbClr>
                  </a:solidFill>
                </a:ln>
              </p:spPr>
              <p:style>
                <a:lnRef idx="2">
                  <a:schemeClr val="accent1">
                    <a:shade val="50000"/>
                  </a:schemeClr>
                </a:lnRef>
                <a:fillRef idx="1">
                  <a:schemeClr val="accent1"/>
                </a:fillRef>
                <a:effectRef idx="0">
                  <a:schemeClr val="accent1"/>
                </a:effectRef>
                <a:fontRef idx="minor"/>
              </p:style>
              <p:txBody>
                <a:bodyPr numCol="1" spcCol="0" horzOverflow="overflow" lIns="72000" rIns="72000" tIns="40320" bIns="40320" anchor="ctr">
                  <a:noAutofit/>
                </a:bodyPr>
                <a:p>
                  <a:pPr algn="ctr" defTabSz="457200">
                    <a:lnSpc>
                      <a:spcPct val="100000"/>
                    </a:lnSpc>
                    <a:tabLst>
                      <a:tab algn="l" pos="0"/>
                    </a:tabLst>
                  </a:pPr>
                  <a:endParaRPr b="0" lang="de-DE" sz="1600" spc="-1" strike="noStrike">
                    <a:solidFill>
                      <a:srgbClr val="000000"/>
                    </a:solidFill>
                    <a:latin typeface="Arial"/>
                    <a:ea typeface="Arial"/>
                  </a:endParaRPr>
                </a:p>
              </p:txBody>
            </p:sp>
            <p:sp>
              <p:nvSpPr>
                <p:cNvPr id="523" name="Freeform 162"/>
                <p:cNvSpPr/>
                <p:nvPr/>
              </p:nvSpPr>
              <p:spPr>
                <a:xfrm>
                  <a:off x="8044200" y="4198320"/>
                  <a:ext cx="252360" cy="249120"/>
                </a:xfrm>
                <a:custGeom>
                  <a:avLst/>
                  <a:gdLst/>
                  <a:ahLst/>
                  <a:rect l="l" t="t" r="r" b="b"/>
                  <a:pathLst>
                    <a:path w="253370" h="249838">
                      <a:moveTo>
                        <a:pt x="105343" y="0"/>
                      </a:moveTo>
                      <a:lnTo>
                        <a:pt x="109242" y="2535"/>
                      </a:lnTo>
                      <a:lnTo>
                        <a:pt x="192941" y="49580"/>
                      </a:lnTo>
                      <a:lnTo>
                        <a:pt x="194516" y="62985"/>
                      </a:lnTo>
                      <a:lnTo>
                        <a:pt x="227647" y="86100"/>
                      </a:lnTo>
                      <a:lnTo>
                        <a:pt x="216990" y="114620"/>
                      </a:lnTo>
                      <a:lnTo>
                        <a:pt x="218357" y="127750"/>
                      </a:lnTo>
                      <a:lnTo>
                        <a:pt x="233135" y="136197"/>
                      </a:lnTo>
                      <a:lnTo>
                        <a:pt x="233828" y="142227"/>
                      </a:lnTo>
                      <a:lnTo>
                        <a:pt x="227473" y="156241"/>
                      </a:lnTo>
                      <a:lnTo>
                        <a:pt x="228796" y="163299"/>
                      </a:lnTo>
                      <a:lnTo>
                        <a:pt x="227284" y="174399"/>
                      </a:lnTo>
                      <a:lnTo>
                        <a:pt x="235345" y="188978"/>
                      </a:lnTo>
                      <a:lnTo>
                        <a:pt x="244898" y="211945"/>
                      </a:lnTo>
                      <a:lnTo>
                        <a:pt x="253369" y="217045"/>
                      </a:lnTo>
                      <a:lnTo>
                        <a:pt x="235005" y="230576"/>
                      </a:lnTo>
                      <a:lnTo>
                        <a:pt x="209765" y="239648"/>
                      </a:lnTo>
                      <a:lnTo>
                        <a:pt x="195918" y="239264"/>
                      </a:lnTo>
                      <a:lnTo>
                        <a:pt x="187692" y="246277"/>
                      </a:lnTo>
                      <a:lnTo>
                        <a:pt x="171623" y="246880"/>
                      </a:lnTo>
                      <a:lnTo>
                        <a:pt x="165597" y="249837"/>
                      </a:lnTo>
                      <a:lnTo>
                        <a:pt x="137859" y="243247"/>
                      </a:lnTo>
                      <a:lnTo>
                        <a:pt x="120492" y="245138"/>
                      </a:lnTo>
                      <a:lnTo>
                        <a:pt x="114029" y="213381"/>
                      </a:lnTo>
                      <a:lnTo>
                        <a:pt x="106200" y="202513"/>
                      </a:lnTo>
                      <a:lnTo>
                        <a:pt x="101557" y="196073"/>
                      </a:lnTo>
                      <a:lnTo>
                        <a:pt x="78929" y="191730"/>
                      </a:lnTo>
                      <a:lnTo>
                        <a:pt x="65829" y="184744"/>
                      </a:lnTo>
                      <a:lnTo>
                        <a:pt x="51159" y="180829"/>
                      </a:lnTo>
                      <a:lnTo>
                        <a:pt x="41959" y="176934"/>
                      </a:lnTo>
                      <a:lnTo>
                        <a:pt x="32316" y="171016"/>
                      </a:lnTo>
                      <a:lnTo>
                        <a:pt x="19852" y="141763"/>
                      </a:lnTo>
                      <a:lnTo>
                        <a:pt x="6463" y="128778"/>
                      </a:lnTo>
                      <a:lnTo>
                        <a:pt x="1846" y="115339"/>
                      </a:lnTo>
                      <a:lnTo>
                        <a:pt x="4155" y="103298"/>
                      </a:lnTo>
                      <a:lnTo>
                        <a:pt x="0" y="82011"/>
                      </a:lnTo>
                      <a:lnTo>
                        <a:pt x="9545" y="80910"/>
                      </a:lnTo>
                      <a:lnTo>
                        <a:pt x="17920" y="72533"/>
                      </a:lnTo>
                      <a:lnTo>
                        <a:pt x="26904" y="60477"/>
                      </a:lnTo>
                      <a:lnTo>
                        <a:pt x="32598" y="55641"/>
                      </a:lnTo>
                      <a:lnTo>
                        <a:pt x="32385" y="48132"/>
                      </a:lnTo>
                      <a:lnTo>
                        <a:pt x="27415" y="42894"/>
                      </a:lnTo>
                      <a:lnTo>
                        <a:pt x="26076" y="33799"/>
                      </a:lnTo>
                      <a:lnTo>
                        <a:pt x="32739" y="30875"/>
                      </a:lnTo>
                      <a:lnTo>
                        <a:pt x="34074" y="17290"/>
                      </a:lnTo>
                      <a:lnTo>
                        <a:pt x="24909" y="4263"/>
                      </a:lnTo>
                      <a:lnTo>
                        <a:pt x="33005" y="1490"/>
                      </a:lnTo>
                      <a:lnTo>
                        <a:pt x="58311" y="1786"/>
                      </a:lnTo>
                      <a:close/>
                    </a:path>
                  </a:pathLst>
                </a:custGeom>
                <a:solidFill>
                  <a:schemeClr val="accent1">
                    <a:lumMod val="20000"/>
                    <a:lumOff val="80000"/>
                  </a:schemeClr>
                </a:solidFill>
                <a:ln cap="rnd" w="3175">
                  <a:solidFill>
                    <a:srgbClr val="009fdf">
                      <a:lumMod val="60000"/>
                      <a:lumOff val="40000"/>
                    </a:srgbClr>
                  </a:solidFill>
                </a:ln>
              </p:spPr>
              <p:style>
                <a:lnRef idx="2">
                  <a:schemeClr val="accent1">
                    <a:shade val="50000"/>
                  </a:schemeClr>
                </a:lnRef>
                <a:fillRef idx="1">
                  <a:schemeClr val="accent1"/>
                </a:fillRef>
                <a:effectRef idx="0">
                  <a:schemeClr val="accent1"/>
                </a:effectRef>
                <a:fontRef idx="minor"/>
              </p:style>
              <p:txBody>
                <a:bodyPr numCol="1" spcCol="0" horzOverflow="overflow" lIns="72000" rIns="72000" tIns="72000" bIns="72000" anchor="ctr">
                  <a:noAutofit/>
                </a:bodyPr>
                <a:p>
                  <a:pPr algn="ctr" defTabSz="457200">
                    <a:lnSpc>
                      <a:spcPct val="100000"/>
                    </a:lnSpc>
                    <a:tabLst>
                      <a:tab algn="l" pos="0"/>
                    </a:tabLst>
                  </a:pPr>
                  <a:endParaRPr b="0" lang="de-DE" sz="1600" spc="-1" strike="noStrike">
                    <a:solidFill>
                      <a:srgbClr val="000000"/>
                    </a:solidFill>
                    <a:latin typeface="Arial"/>
                    <a:ea typeface="Arial"/>
                  </a:endParaRPr>
                </a:p>
              </p:txBody>
            </p:sp>
            <p:sp>
              <p:nvSpPr>
                <p:cNvPr id="524" name="Freeform 163"/>
                <p:cNvSpPr/>
                <p:nvPr/>
              </p:nvSpPr>
              <p:spPr>
                <a:xfrm>
                  <a:off x="8049600" y="4078440"/>
                  <a:ext cx="125280" cy="130680"/>
                </a:xfrm>
                <a:custGeom>
                  <a:avLst/>
                  <a:gdLst/>
                  <a:ahLst/>
                  <a:rect l="l" t="t" r="r" b="b"/>
                  <a:pathLst>
                    <a:path w="125952" h="131476">
                      <a:moveTo>
                        <a:pt x="52783" y="121872"/>
                      </a:moveTo>
                      <a:lnTo>
                        <a:pt x="27477" y="121576"/>
                      </a:lnTo>
                      <a:lnTo>
                        <a:pt x="19381" y="124349"/>
                      </a:lnTo>
                      <a:lnTo>
                        <a:pt x="5587" y="131475"/>
                      </a:lnTo>
                      <a:lnTo>
                        <a:pt x="0" y="129119"/>
                      </a:lnTo>
                      <a:lnTo>
                        <a:pt x="193" y="111716"/>
                      </a:lnTo>
                      <a:lnTo>
                        <a:pt x="5540" y="102895"/>
                      </a:lnTo>
                      <a:lnTo>
                        <a:pt x="6839" y="84367"/>
                      </a:lnTo>
                      <a:lnTo>
                        <a:pt x="11695" y="73635"/>
                      </a:lnTo>
                      <a:lnTo>
                        <a:pt x="20521" y="61595"/>
                      </a:lnTo>
                      <a:lnTo>
                        <a:pt x="29388" y="55463"/>
                      </a:lnTo>
                      <a:lnTo>
                        <a:pt x="36809" y="47263"/>
                      </a:lnTo>
                      <a:lnTo>
                        <a:pt x="27557" y="44136"/>
                      </a:lnTo>
                      <a:lnTo>
                        <a:pt x="28954" y="17123"/>
                      </a:lnTo>
                      <a:lnTo>
                        <a:pt x="38458" y="10820"/>
                      </a:lnTo>
                      <a:lnTo>
                        <a:pt x="53135" y="15988"/>
                      </a:lnTo>
                      <a:lnTo>
                        <a:pt x="71717" y="10579"/>
                      </a:lnTo>
                      <a:lnTo>
                        <a:pt x="87957" y="10632"/>
                      </a:lnTo>
                      <a:lnTo>
                        <a:pt x="102153" y="0"/>
                      </a:lnTo>
                      <a:lnTo>
                        <a:pt x="113097" y="16050"/>
                      </a:lnTo>
                      <a:lnTo>
                        <a:pt x="115796" y="27647"/>
                      </a:lnTo>
                      <a:lnTo>
                        <a:pt x="125951" y="54160"/>
                      </a:lnTo>
                      <a:lnTo>
                        <a:pt x="117551" y="70988"/>
                      </a:lnTo>
                      <a:lnTo>
                        <a:pt x="106192" y="86269"/>
                      </a:lnTo>
                      <a:lnTo>
                        <a:pt x="99581" y="95622"/>
                      </a:lnTo>
                      <a:lnTo>
                        <a:pt x="99815" y="120086"/>
                      </a:lnTo>
                      <a:close/>
                    </a:path>
                  </a:pathLst>
                </a:custGeom>
                <a:solidFill>
                  <a:schemeClr val="accent1">
                    <a:lumMod val="20000"/>
                    <a:lumOff val="80000"/>
                  </a:schemeClr>
                </a:solidFill>
                <a:ln cap="rnd" w="3175">
                  <a:solidFill>
                    <a:srgbClr val="009fdf">
                      <a:lumMod val="60000"/>
                      <a:lumOff val="40000"/>
                    </a:srgbClr>
                  </a:solidFill>
                </a:ln>
              </p:spPr>
              <p:style>
                <a:lnRef idx="2">
                  <a:schemeClr val="accent1">
                    <a:shade val="50000"/>
                  </a:schemeClr>
                </a:lnRef>
                <a:fillRef idx="1">
                  <a:schemeClr val="accent1"/>
                </a:fillRef>
                <a:effectRef idx="0">
                  <a:schemeClr val="accent1"/>
                </a:effectRef>
                <a:fontRef idx="minor"/>
              </p:style>
              <p:txBody>
                <a:bodyPr numCol="1" spcCol="0" horzOverflow="overflow" lIns="72000" rIns="72000" tIns="65160" bIns="65160" anchor="ctr">
                  <a:noAutofit/>
                </a:bodyPr>
                <a:p>
                  <a:pPr algn="ctr" defTabSz="457200">
                    <a:lnSpc>
                      <a:spcPct val="100000"/>
                    </a:lnSpc>
                    <a:tabLst>
                      <a:tab algn="l" pos="0"/>
                    </a:tabLst>
                  </a:pPr>
                  <a:endParaRPr b="0" lang="de-DE" sz="1600" spc="-1" strike="noStrike">
                    <a:solidFill>
                      <a:srgbClr val="000000"/>
                    </a:solidFill>
                    <a:latin typeface="Arial"/>
                    <a:ea typeface="Arial"/>
                  </a:endParaRPr>
                </a:p>
              </p:txBody>
            </p:sp>
            <p:sp>
              <p:nvSpPr>
                <p:cNvPr id="525" name="Freeform 164"/>
                <p:cNvSpPr/>
                <p:nvPr/>
              </p:nvSpPr>
              <p:spPr>
                <a:xfrm>
                  <a:off x="7877160" y="2846520"/>
                  <a:ext cx="414360" cy="235080"/>
                </a:xfrm>
                <a:custGeom>
                  <a:avLst/>
                  <a:gdLst/>
                  <a:ahLst/>
                  <a:rect l="l" t="t" r="r" b="b"/>
                  <a:pathLst>
                    <a:path w="415378" h="236043">
                      <a:moveTo>
                        <a:pt x="223911" y="7224"/>
                      </a:moveTo>
                      <a:lnTo>
                        <a:pt x="232531" y="8473"/>
                      </a:lnTo>
                      <a:lnTo>
                        <a:pt x="238363" y="1437"/>
                      </a:lnTo>
                      <a:lnTo>
                        <a:pt x="245373" y="2993"/>
                      </a:lnTo>
                      <a:lnTo>
                        <a:pt x="269308" y="0"/>
                      </a:lnTo>
                      <a:lnTo>
                        <a:pt x="284059" y="17488"/>
                      </a:lnTo>
                      <a:lnTo>
                        <a:pt x="278293" y="23713"/>
                      </a:lnTo>
                      <a:lnTo>
                        <a:pt x="280206" y="33225"/>
                      </a:lnTo>
                      <a:lnTo>
                        <a:pt x="298611" y="34706"/>
                      </a:lnTo>
                      <a:lnTo>
                        <a:pt x="306822" y="47927"/>
                      </a:lnTo>
                      <a:lnTo>
                        <a:pt x="306319" y="53903"/>
                      </a:lnTo>
                      <a:lnTo>
                        <a:pt x="335635" y="64548"/>
                      </a:lnTo>
                      <a:lnTo>
                        <a:pt x="353347" y="59759"/>
                      </a:lnTo>
                      <a:lnTo>
                        <a:pt x="367593" y="73895"/>
                      </a:lnTo>
                      <a:lnTo>
                        <a:pt x="381081" y="73569"/>
                      </a:lnTo>
                      <a:lnTo>
                        <a:pt x="415106" y="83348"/>
                      </a:lnTo>
                      <a:lnTo>
                        <a:pt x="415377" y="92139"/>
                      </a:lnTo>
                      <a:lnTo>
                        <a:pt x="406003" y="107744"/>
                      </a:lnTo>
                      <a:lnTo>
                        <a:pt x="411104" y="124077"/>
                      </a:lnTo>
                      <a:lnTo>
                        <a:pt x="407471" y="133906"/>
                      </a:lnTo>
                      <a:lnTo>
                        <a:pt x="385134" y="136063"/>
                      </a:lnTo>
                      <a:lnTo>
                        <a:pt x="373236" y="144258"/>
                      </a:lnTo>
                      <a:lnTo>
                        <a:pt x="372507" y="157246"/>
                      </a:lnTo>
                      <a:lnTo>
                        <a:pt x="354078" y="159577"/>
                      </a:lnTo>
                      <a:lnTo>
                        <a:pt x="338721" y="168988"/>
                      </a:lnTo>
                      <a:lnTo>
                        <a:pt x="317112" y="170519"/>
                      </a:lnTo>
                      <a:lnTo>
                        <a:pt x="297230" y="181317"/>
                      </a:lnTo>
                      <a:lnTo>
                        <a:pt x="298579" y="199240"/>
                      </a:lnTo>
                      <a:lnTo>
                        <a:pt x="309871" y="206160"/>
                      </a:lnTo>
                      <a:lnTo>
                        <a:pt x="333416" y="204441"/>
                      </a:lnTo>
                      <a:lnTo>
                        <a:pt x="328908" y="214650"/>
                      </a:lnTo>
                      <a:lnTo>
                        <a:pt x="303639" y="219594"/>
                      </a:lnTo>
                      <a:lnTo>
                        <a:pt x="272305" y="236042"/>
                      </a:lnTo>
                      <a:lnTo>
                        <a:pt x="259468" y="230270"/>
                      </a:lnTo>
                      <a:lnTo>
                        <a:pt x="264558" y="216890"/>
                      </a:lnTo>
                      <a:lnTo>
                        <a:pt x="239335" y="208524"/>
                      </a:lnTo>
                      <a:lnTo>
                        <a:pt x="243412" y="203030"/>
                      </a:lnTo>
                      <a:lnTo>
                        <a:pt x="265510" y="193480"/>
                      </a:lnTo>
                      <a:lnTo>
                        <a:pt x="258826" y="186880"/>
                      </a:lnTo>
                      <a:lnTo>
                        <a:pt x="222945" y="179578"/>
                      </a:lnTo>
                      <a:lnTo>
                        <a:pt x="221356" y="168769"/>
                      </a:lnTo>
                      <a:lnTo>
                        <a:pt x="199969" y="172343"/>
                      </a:lnTo>
                      <a:lnTo>
                        <a:pt x="191402" y="188269"/>
                      </a:lnTo>
                      <a:lnTo>
                        <a:pt x="173529" y="209501"/>
                      </a:lnTo>
                      <a:lnTo>
                        <a:pt x="163059" y="204586"/>
                      </a:lnTo>
                      <a:lnTo>
                        <a:pt x="152212" y="209194"/>
                      </a:lnTo>
                      <a:lnTo>
                        <a:pt x="141911" y="203916"/>
                      </a:lnTo>
                      <a:lnTo>
                        <a:pt x="147722" y="200799"/>
                      </a:lnTo>
                      <a:lnTo>
                        <a:pt x="151755" y="190933"/>
                      </a:lnTo>
                      <a:lnTo>
                        <a:pt x="158073" y="181733"/>
                      </a:lnTo>
                      <a:lnTo>
                        <a:pt x="156440" y="176552"/>
                      </a:lnTo>
                      <a:lnTo>
                        <a:pt x="161267" y="174240"/>
                      </a:lnTo>
                      <a:lnTo>
                        <a:pt x="163542" y="178249"/>
                      </a:lnTo>
                      <a:lnTo>
                        <a:pt x="177145" y="179096"/>
                      </a:lnTo>
                      <a:lnTo>
                        <a:pt x="183255" y="176956"/>
                      </a:lnTo>
                      <a:lnTo>
                        <a:pt x="178951" y="174018"/>
                      </a:lnTo>
                      <a:lnTo>
                        <a:pt x="180582" y="169695"/>
                      </a:lnTo>
                      <a:lnTo>
                        <a:pt x="172522" y="162304"/>
                      </a:lnTo>
                      <a:lnTo>
                        <a:pt x="169185" y="150106"/>
                      </a:lnTo>
                      <a:lnTo>
                        <a:pt x="160777" y="145318"/>
                      </a:lnTo>
                      <a:lnTo>
                        <a:pt x="162435" y="135373"/>
                      </a:lnTo>
                      <a:lnTo>
                        <a:pt x="152006" y="127449"/>
                      </a:lnTo>
                      <a:lnTo>
                        <a:pt x="142511" y="126346"/>
                      </a:lnTo>
                      <a:lnTo>
                        <a:pt x="125499" y="117137"/>
                      </a:lnTo>
                      <a:lnTo>
                        <a:pt x="110156" y="120064"/>
                      </a:lnTo>
                      <a:lnTo>
                        <a:pt x="104651" y="124422"/>
                      </a:lnTo>
                      <a:lnTo>
                        <a:pt x="94913" y="124418"/>
                      </a:lnTo>
                      <a:lnTo>
                        <a:pt x="89107" y="131310"/>
                      </a:lnTo>
                      <a:lnTo>
                        <a:pt x="72068" y="134138"/>
                      </a:lnTo>
                      <a:lnTo>
                        <a:pt x="64187" y="138651"/>
                      </a:lnTo>
                      <a:lnTo>
                        <a:pt x="53470" y="131465"/>
                      </a:lnTo>
                      <a:lnTo>
                        <a:pt x="38672" y="131355"/>
                      </a:lnTo>
                      <a:lnTo>
                        <a:pt x="24390" y="128093"/>
                      </a:lnTo>
                      <a:lnTo>
                        <a:pt x="14425" y="134399"/>
                      </a:lnTo>
                      <a:lnTo>
                        <a:pt x="12816" y="126503"/>
                      </a:lnTo>
                      <a:lnTo>
                        <a:pt x="0" y="118465"/>
                      </a:lnTo>
                      <a:lnTo>
                        <a:pt x="4507" y="106508"/>
                      </a:lnTo>
                      <a:lnTo>
                        <a:pt x="10907" y="98757"/>
                      </a:lnTo>
                      <a:lnTo>
                        <a:pt x="15946" y="100497"/>
                      </a:lnTo>
                      <a:lnTo>
                        <a:pt x="9992" y="87073"/>
                      </a:lnTo>
                      <a:lnTo>
                        <a:pt x="30952" y="62042"/>
                      </a:lnTo>
                      <a:lnTo>
                        <a:pt x="42407" y="58520"/>
                      </a:lnTo>
                      <a:lnTo>
                        <a:pt x="44882" y="50010"/>
                      </a:lnTo>
                      <a:lnTo>
                        <a:pt x="33273" y="23343"/>
                      </a:lnTo>
                      <a:lnTo>
                        <a:pt x="44307" y="22145"/>
                      </a:lnTo>
                      <a:lnTo>
                        <a:pt x="56957" y="13805"/>
                      </a:lnTo>
                      <a:lnTo>
                        <a:pt x="74838" y="13121"/>
                      </a:lnTo>
                      <a:lnTo>
                        <a:pt x="98156" y="15536"/>
                      </a:lnTo>
                      <a:lnTo>
                        <a:pt x="123919" y="22918"/>
                      </a:lnTo>
                      <a:lnTo>
                        <a:pt x="142098" y="23534"/>
                      </a:lnTo>
                      <a:lnTo>
                        <a:pt x="150776" y="27967"/>
                      </a:lnTo>
                      <a:lnTo>
                        <a:pt x="159438" y="22618"/>
                      </a:lnTo>
                      <a:lnTo>
                        <a:pt x="165488" y="29790"/>
                      </a:lnTo>
                      <a:lnTo>
                        <a:pt x="186318" y="28322"/>
                      </a:lnTo>
                      <a:lnTo>
                        <a:pt x="195499" y="31282"/>
                      </a:lnTo>
                      <a:lnTo>
                        <a:pt x="196984" y="15828"/>
                      </a:lnTo>
                      <a:lnTo>
                        <a:pt x="204096" y="9057"/>
                      </a:lnTo>
                      <a:close/>
                    </a:path>
                  </a:pathLst>
                </a:custGeom>
                <a:solidFill>
                  <a:schemeClr val="accent1"/>
                </a:solidFill>
                <a:ln cap="rnd" w="3175">
                  <a:solidFill>
                    <a:srgbClr val="009fdf">
                      <a:lumMod val="60000"/>
                      <a:lumOff val="40000"/>
                    </a:srgbClr>
                  </a:solidFill>
                </a:ln>
              </p:spPr>
              <p:style>
                <a:lnRef idx="2">
                  <a:schemeClr val="accent1">
                    <a:shade val="50000"/>
                  </a:schemeClr>
                </a:lnRef>
                <a:fillRef idx="1">
                  <a:schemeClr val="accent1"/>
                </a:fillRef>
                <a:effectRef idx="0">
                  <a:schemeClr val="accent1"/>
                </a:effectRef>
                <a:fontRef idx="minor"/>
              </p:style>
              <p:txBody>
                <a:bodyPr numCol="1" spcCol="0" horzOverflow="overflow" lIns="72000" rIns="72000" tIns="72000" bIns="72000" anchor="ctr">
                  <a:noAutofit/>
                </a:bodyPr>
                <a:p>
                  <a:pPr algn="ctr" defTabSz="457200">
                    <a:lnSpc>
                      <a:spcPct val="100000"/>
                    </a:lnSpc>
                    <a:tabLst>
                      <a:tab algn="l" pos="0"/>
                    </a:tabLst>
                  </a:pPr>
                  <a:endParaRPr b="0" lang="de-DE" sz="1600" spc="-1" strike="noStrike">
                    <a:solidFill>
                      <a:srgbClr val="000000"/>
                    </a:solidFill>
                    <a:latin typeface="Arial"/>
                    <a:ea typeface="Arial"/>
                  </a:endParaRPr>
                </a:p>
              </p:txBody>
            </p:sp>
            <p:sp>
              <p:nvSpPr>
                <p:cNvPr id="526" name="Freeform 165"/>
                <p:cNvSpPr/>
                <p:nvPr/>
              </p:nvSpPr>
              <p:spPr>
                <a:xfrm>
                  <a:off x="8656560" y="3047040"/>
                  <a:ext cx="394200" cy="231840"/>
                </a:xfrm>
                <a:custGeom>
                  <a:avLst/>
                  <a:gdLst/>
                  <a:ahLst/>
                  <a:rect l="l" t="t" r="r" b="b"/>
                  <a:pathLst>
                    <a:path w="395326" h="232838">
                      <a:moveTo>
                        <a:pt x="244438" y="227044"/>
                      </a:moveTo>
                      <a:lnTo>
                        <a:pt x="245074" y="210712"/>
                      </a:lnTo>
                      <a:lnTo>
                        <a:pt x="214370" y="199240"/>
                      </a:lnTo>
                      <a:lnTo>
                        <a:pt x="190231" y="186063"/>
                      </a:lnTo>
                      <a:lnTo>
                        <a:pt x="175176" y="173344"/>
                      </a:lnTo>
                      <a:lnTo>
                        <a:pt x="148775" y="154593"/>
                      </a:lnTo>
                      <a:lnTo>
                        <a:pt x="137429" y="126390"/>
                      </a:lnTo>
                      <a:lnTo>
                        <a:pt x="129684" y="121398"/>
                      </a:lnTo>
                      <a:lnTo>
                        <a:pt x="104727" y="122665"/>
                      </a:lnTo>
                      <a:lnTo>
                        <a:pt x="95894" y="117024"/>
                      </a:lnTo>
                      <a:lnTo>
                        <a:pt x="93427" y="94946"/>
                      </a:lnTo>
                      <a:lnTo>
                        <a:pt x="62325" y="80234"/>
                      </a:lnTo>
                      <a:lnTo>
                        <a:pt x="42878" y="96405"/>
                      </a:lnTo>
                      <a:lnTo>
                        <a:pt x="23158" y="105952"/>
                      </a:lnTo>
                      <a:lnTo>
                        <a:pt x="26948" y="119857"/>
                      </a:lnTo>
                      <a:lnTo>
                        <a:pt x="906" y="120234"/>
                      </a:lnTo>
                      <a:lnTo>
                        <a:pt x="0" y="16911"/>
                      </a:lnTo>
                      <a:lnTo>
                        <a:pt x="59419" y="0"/>
                      </a:lnTo>
                      <a:lnTo>
                        <a:pt x="63733" y="2490"/>
                      </a:lnTo>
                      <a:lnTo>
                        <a:pt x="99510" y="22947"/>
                      </a:lnTo>
                      <a:lnTo>
                        <a:pt x="118400" y="33695"/>
                      </a:lnTo>
                      <a:lnTo>
                        <a:pt x="140443" y="59145"/>
                      </a:lnTo>
                      <a:lnTo>
                        <a:pt x="167508" y="55049"/>
                      </a:lnTo>
                      <a:lnTo>
                        <a:pt x="207095" y="52852"/>
                      </a:lnTo>
                      <a:lnTo>
                        <a:pt x="234729" y="73357"/>
                      </a:lnTo>
                      <a:lnTo>
                        <a:pt x="233007" y="101283"/>
                      </a:lnTo>
                      <a:lnTo>
                        <a:pt x="244254" y="101478"/>
                      </a:lnTo>
                      <a:lnTo>
                        <a:pt x="248949" y="124092"/>
                      </a:lnTo>
                      <a:lnTo>
                        <a:pt x="278306" y="124984"/>
                      </a:lnTo>
                      <a:lnTo>
                        <a:pt x="284631" y="137980"/>
                      </a:lnTo>
                      <a:lnTo>
                        <a:pt x="293232" y="137806"/>
                      </a:lnTo>
                      <a:lnTo>
                        <a:pt x="303331" y="118151"/>
                      </a:lnTo>
                      <a:lnTo>
                        <a:pt x="333776" y="98881"/>
                      </a:lnTo>
                      <a:lnTo>
                        <a:pt x="347011" y="93750"/>
                      </a:lnTo>
                      <a:lnTo>
                        <a:pt x="353864" y="96484"/>
                      </a:lnTo>
                      <a:lnTo>
                        <a:pt x="334493" y="114408"/>
                      </a:lnTo>
                      <a:lnTo>
                        <a:pt x="351524" y="124775"/>
                      </a:lnTo>
                      <a:lnTo>
                        <a:pt x="367965" y="117913"/>
                      </a:lnTo>
                      <a:lnTo>
                        <a:pt x="395325" y="132398"/>
                      </a:lnTo>
                      <a:lnTo>
                        <a:pt x="365766" y="152088"/>
                      </a:lnTo>
                      <a:lnTo>
                        <a:pt x="348208" y="149402"/>
                      </a:lnTo>
                      <a:lnTo>
                        <a:pt x="338680" y="150106"/>
                      </a:lnTo>
                      <a:lnTo>
                        <a:pt x="335373" y="142517"/>
                      </a:lnTo>
                      <a:lnTo>
                        <a:pt x="340185" y="129813"/>
                      </a:lnTo>
                      <a:lnTo>
                        <a:pt x="309321" y="136186"/>
                      </a:lnTo>
                      <a:lnTo>
                        <a:pt x="301984" y="153714"/>
                      </a:lnTo>
                      <a:lnTo>
                        <a:pt x="291014" y="168733"/>
                      </a:lnTo>
                      <a:lnTo>
                        <a:pt x="271741" y="167458"/>
                      </a:lnTo>
                      <a:lnTo>
                        <a:pt x="265757" y="179377"/>
                      </a:lnTo>
                      <a:lnTo>
                        <a:pt x="282695" y="185817"/>
                      </a:lnTo>
                      <a:lnTo>
                        <a:pt x="287682" y="205830"/>
                      </a:lnTo>
                      <a:lnTo>
                        <a:pt x="274708" y="232837"/>
                      </a:lnTo>
                      <a:lnTo>
                        <a:pt x="257299" y="227221"/>
                      </a:lnTo>
                      <a:close/>
                    </a:path>
                  </a:pathLst>
                </a:custGeom>
                <a:solidFill>
                  <a:schemeClr val="accent1">
                    <a:lumMod val="20000"/>
                    <a:lumOff val="80000"/>
                  </a:schemeClr>
                </a:solidFill>
                <a:ln cap="rnd" w="3175">
                  <a:solidFill>
                    <a:srgbClr val="009fdf">
                      <a:lumMod val="60000"/>
                      <a:lumOff val="40000"/>
                    </a:srgbClr>
                  </a:solidFill>
                </a:ln>
              </p:spPr>
              <p:style>
                <a:lnRef idx="2">
                  <a:schemeClr val="accent1">
                    <a:shade val="50000"/>
                  </a:schemeClr>
                </a:lnRef>
                <a:fillRef idx="1">
                  <a:schemeClr val="accent1"/>
                </a:fillRef>
                <a:effectRef idx="0">
                  <a:schemeClr val="accent1"/>
                </a:effectRef>
                <a:fontRef idx="minor"/>
              </p:style>
              <p:txBody>
                <a:bodyPr numCol="1" spcCol="0" horzOverflow="overflow" lIns="72000" rIns="72000" tIns="72000" bIns="72000" anchor="ctr">
                  <a:noAutofit/>
                </a:bodyPr>
                <a:p>
                  <a:pPr algn="ctr" defTabSz="457200">
                    <a:lnSpc>
                      <a:spcPct val="100000"/>
                    </a:lnSpc>
                    <a:tabLst>
                      <a:tab algn="l" pos="0"/>
                    </a:tabLst>
                  </a:pPr>
                  <a:endParaRPr b="0" lang="de-DE" sz="1600" spc="-1" strike="noStrike">
                    <a:solidFill>
                      <a:srgbClr val="000000"/>
                    </a:solidFill>
                    <a:latin typeface="Arial"/>
                    <a:ea typeface="Arial"/>
                  </a:endParaRPr>
                </a:p>
              </p:txBody>
            </p:sp>
            <p:sp>
              <p:nvSpPr>
                <p:cNvPr id="527" name="Freeform 166"/>
                <p:cNvSpPr/>
                <p:nvPr/>
              </p:nvSpPr>
              <p:spPr>
                <a:xfrm>
                  <a:off x="9721800" y="3628800"/>
                  <a:ext cx="164520" cy="348840"/>
                </a:xfrm>
                <a:custGeom>
                  <a:avLst/>
                  <a:gdLst/>
                  <a:ahLst/>
                  <a:rect l="l" t="t" r="r" b="b"/>
                  <a:pathLst>
                    <a:path w="165385" h="349858">
                      <a:moveTo>
                        <a:pt x="135721" y="43671"/>
                      </a:moveTo>
                      <a:lnTo>
                        <a:pt x="104903" y="64310"/>
                      </a:lnTo>
                      <a:lnTo>
                        <a:pt x="85666" y="87018"/>
                      </a:lnTo>
                      <a:lnTo>
                        <a:pt x="80596" y="103642"/>
                      </a:lnTo>
                      <a:lnTo>
                        <a:pt x="98249" y="128810"/>
                      </a:lnTo>
                      <a:lnTo>
                        <a:pt x="119835" y="159879"/>
                      </a:lnTo>
                      <a:lnTo>
                        <a:pt x="140783" y="174519"/>
                      </a:lnTo>
                      <a:lnTo>
                        <a:pt x="154809" y="193509"/>
                      </a:lnTo>
                      <a:lnTo>
                        <a:pt x="165384" y="237101"/>
                      </a:lnTo>
                      <a:lnTo>
                        <a:pt x="162265" y="278339"/>
                      </a:lnTo>
                      <a:lnTo>
                        <a:pt x="143013" y="293732"/>
                      </a:lnTo>
                      <a:lnTo>
                        <a:pt x="116579" y="308761"/>
                      </a:lnTo>
                      <a:lnTo>
                        <a:pt x="97748" y="328191"/>
                      </a:lnTo>
                      <a:lnTo>
                        <a:pt x="68968" y="349857"/>
                      </a:lnTo>
                      <a:lnTo>
                        <a:pt x="60587" y="334938"/>
                      </a:lnTo>
                      <a:lnTo>
                        <a:pt x="67073" y="319160"/>
                      </a:lnTo>
                      <a:lnTo>
                        <a:pt x="49949" y="305913"/>
                      </a:lnTo>
                      <a:lnTo>
                        <a:pt x="69929" y="296512"/>
                      </a:lnTo>
                      <a:lnTo>
                        <a:pt x="94161" y="294819"/>
                      </a:lnTo>
                      <a:lnTo>
                        <a:pt x="84023" y="280660"/>
                      </a:lnTo>
                      <a:lnTo>
                        <a:pt x="122822" y="262646"/>
                      </a:lnTo>
                      <a:lnTo>
                        <a:pt x="125665" y="234528"/>
                      </a:lnTo>
                      <a:lnTo>
                        <a:pt x="120314" y="218840"/>
                      </a:lnTo>
                      <a:lnTo>
                        <a:pt x="124511" y="195269"/>
                      </a:lnTo>
                      <a:lnTo>
                        <a:pt x="118698" y="178572"/>
                      </a:lnTo>
                      <a:lnTo>
                        <a:pt x="101231" y="162089"/>
                      </a:lnTo>
                      <a:lnTo>
                        <a:pt x="86684" y="141162"/>
                      </a:lnTo>
                      <a:lnTo>
                        <a:pt x="67498" y="112994"/>
                      </a:lnTo>
                      <a:lnTo>
                        <a:pt x="39843" y="98687"/>
                      </a:lnTo>
                      <a:lnTo>
                        <a:pt x="46465" y="90073"/>
                      </a:lnTo>
                      <a:lnTo>
                        <a:pt x="61219" y="83789"/>
                      </a:lnTo>
                      <a:lnTo>
                        <a:pt x="52272" y="62820"/>
                      </a:lnTo>
                      <a:lnTo>
                        <a:pt x="23855" y="62631"/>
                      </a:lnTo>
                      <a:lnTo>
                        <a:pt x="13491" y="40703"/>
                      </a:lnTo>
                      <a:lnTo>
                        <a:pt x="0" y="21576"/>
                      </a:lnTo>
                      <a:lnTo>
                        <a:pt x="12386" y="15650"/>
                      </a:lnTo>
                      <a:lnTo>
                        <a:pt x="30795" y="15773"/>
                      </a:lnTo>
                      <a:lnTo>
                        <a:pt x="53239" y="12969"/>
                      </a:lnTo>
                      <a:lnTo>
                        <a:pt x="72914" y="0"/>
                      </a:lnTo>
                      <a:lnTo>
                        <a:pt x="84040" y="9133"/>
                      </a:lnTo>
                      <a:lnTo>
                        <a:pt x="105141" y="13574"/>
                      </a:lnTo>
                      <a:lnTo>
                        <a:pt x="101491" y="27555"/>
                      </a:lnTo>
                      <a:lnTo>
                        <a:pt x="112482" y="37395"/>
                      </a:lnTo>
                      <a:close/>
                    </a:path>
                  </a:pathLst>
                </a:custGeom>
                <a:solidFill>
                  <a:schemeClr val="accent1">
                    <a:lumMod val="20000"/>
                    <a:lumOff val="80000"/>
                  </a:schemeClr>
                </a:solidFill>
                <a:ln cap="rnd" w="3175">
                  <a:solidFill>
                    <a:srgbClr val="009fdf">
                      <a:lumMod val="60000"/>
                      <a:lumOff val="40000"/>
                    </a:srgbClr>
                  </a:solidFill>
                </a:ln>
              </p:spPr>
              <p:style>
                <a:lnRef idx="2">
                  <a:schemeClr val="accent1">
                    <a:shade val="50000"/>
                  </a:schemeClr>
                </a:lnRef>
                <a:fillRef idx="1">
                  <a:schemeClr val="accent1"/>
                </a:fillRef>
                <a:effectRef idx="0">
                  <a:schemeClr val="accent1"/>
                </a:effectRef>
                <a:fontRef idx="minor"/>
              </p:style>
              <p:txBody>
                <a:bodyPr numCol="1" spcCol="0" horzOverflow="overflow" lIns="72000" rIns="72000" tIns="72000" bIns="72000" anchor="ctr">
                  <a:noAutofit/>
                </a:bodyPr>
                <a:p>
                  <a:pPr algn="ctr" defTabSz="457200">
                    <a:lnSpc>
                      <a:spcPct val="100000"/>
                    </a:lnSpc>
                    <a:tabLst>
                      <a:tab algn="l" pos="0"/>
                    </a:tabLst>
                  </a:pPr>
                  <a:endParaRPr b="0" lang="de-DE" sz="1600" spc="-1" strike="noStrike">
                    <a:solidFill>
                      <a:srgbClr val="000000"/>
                    </a:solidFill>
                    <a:latin typeface="Arial"/>
                    <a:ea typeface="Arial"/>
                  </a:endParaRPr>
                </a:p>
              </p:txBody>
            </p:sp>
            <p:sp>
              <p:nvSpPr>
                <p:cNvPr id="528" name="Freeform 167"/>
                <p:cNvSpPr/>
                <p:nvPr/>
              </p:nvSpPr>
              <p:spPr>
                <a:xfrm>
                  <a:off x="11206800" y="4515840"/>
                  <a:ext cx="27720" cy="46080"/>
                </a:xfrm>
                <a:custGeom>
                  <a:avLst/>
                  <a:gdLst>
                    <a:gd name="textAreaLeft" fmla="*/ 0 w 27720"/>
                    <a:gd name="textAreaRight" fmla="*/ 28080 w 27720"/>
                    <a:gd name="textAreaTop" fmla="*/ 0 h 46080"/>
                    <a:gd name="textAreaBottom" fmla="*/ 46440 h 46080"/>
                  </a:gdLst>
                  <a:ahLst/>
                  <a:rect l="textAreaLeft" t="textAreaTop" r="textAreaRight" b="textAreaBottom"/>
                  <a:pathLst>
                    <a:path w="28063" h="46609">
                      <a:moveTo>
                        <a:pt x="13565" y="29884"/>
                      </a:moveTo>
                      <a:lnTo>
                        <a:pt x="28063" y="43490"/>
                      </a:lnTo>
                      <a:lnTo>
                        <a:pt x="20453" y="46609"/>
                      </a:lnTo>
                      <a:lnTo>
                        <a:pt x="12717" y="36232"/>
                      </a:lnTo>
                      <a:close/>
                      <a:moveTo>
                        <a:pt x="0" y="0"/>
                      </a:moveTo>
                      <a:lnTo>
                        <a:pt x="11048" y="7250"/>
                      </a:lnTo>
                      <a:lnTo>
                        <a:pt x="14795" y="26292"/>
                      </a:lnTo>
                      <a:lnTo>
                        <a:pt x="8589" y="23326"/>
                      </a:lnTo>
                      <a:lnTo>
                        <a:pt x="3787" y="24608"/>
                      </a:lnTo>
                      <a:lnTo>
                        <a:pt x="479" y="18082"/>
                      </a:lnTo>
                      <a:close/>
                    </a:path>
                  </a:pathLst>
                </a:custGeom>
                <a:solidFill>
                  <a:schemeClr val="accent1"/>
                </a:solidFill>
                <a:ln cap="rnd" w="3175">
                  <a:solidFill>
                    <a:srgbClr val="009fdf">
                      <a:lumMod val="60000"/>
                      <a:lumOff val="40000"/>
                    </a:srgbClr>
                  </a:solidFill>
                </a:ln>
              </p:spPr>
              <p:style>
                <a:lnRef idx="2">
                  <a:schemeClr val="accent1">
                    <a:shade val="50000"/>
                  </a:schemeClr>
                </a:lnRef>
                <a:fillRef idx="1">
                  <a:schemeClr val="accent1"/>
                </a:fillRef>
                <a:effectRef idx="0">
                  <a:schemeClr val="accent1"/>
                </a:effectRef>
                <a:fontRef idx="minor"/>
              </p:style>
              <p:txBody>
                <a:bodyPr numCol="1" spcCol="0" horzOverflow="overflow" lIns="72000" rIns="72000" tIns="23040" bIns="23040" anchor="ctr">
                  <a:noAutofit/>
                </a:bodyPr>
                <a:p>
                  <a:pPr algn="ctr" defTabSz="457200">
                    <a:lnSpc>
                      <a:spcPct val="100000"/>
                    </a:lnSpc>
                    <a:tabLst>
                      <a:tab algn="l" pos="0"/>
                    </a:tabLst>
                  </a:pPr>
                  <a:endParaRPr b="0" lang="de-DE" sz="1600" spc="-1" strike="noStrike">
                    <a:solidFill>
                      <a:srgbClr val="000000"/>
                    </a:solidFill>
                    <a:latin typeface="Arial"/>
                    <a:ea typeface="Arial"/>
                  </a:endParaRPr>
                </a:p>
              </p:txBody>
            </p:sp>
            <p:sp>
              <p:nvSpPr>
                <p:cNvPr id="529" name="Freeform 168"/>
                <p:cNvSpPr/>
                <p:nvPr/>
              </p:nvSpPr>
              <p:spPr>
                <a:xfrm>
                  <a:off x="8349840" y="3733560"/>
                  <a:ext cx="241560" cy="151200"/>
                </a:xfrm>
                <a:custGeom>
                  <a:avLst/>
                  <a:gdLst/>
                  <a:ahLst/>
                  <a:rect l="l" t="t" r="r" b="b"/>
                  <a:pathLst>
                    <a:path w="242455" h="151784">
                      <a:moveTo>
                        <a:pt x="242454" y="55947"/>
                      </a:moveTo>
                      <a:lnTo>
                        <a:pt x="225756" y="62316"/>
                      </a:lnTo>
                      <a:lnTo>
                        <a:pt x="221290" y="72831"/>
                      </a:lnTo>
                      <a:lnTo>
                        <a:pt x="220746" y="80897"/>
                      </a:lnTo>
                      <a:lnTo>
                        <a:pt x="197764" y="90871"/>
                      </a:lnTo>
                      <a:lnTo>
                        <a:pt x="160879" y="101878"/>
                      </a:lnTo>
                      <a:lnTo>
                        <a:pt x="140212" y="118497"/>
                      </a:lnTo>
                      <a:lnTo>
                        <a:pt x="130050" y="119794"/>
                      </a:lnTo>
                      <a:lnTo>
                        <a:pt x="123124" y="118402"/>
                      </a:lnTo>
                      <a:lnTo>
                        <a:pt x="109633" y="128162"/>
                      </a:lnTo>
                      <a:lnTo>
                        <a:pt x="94921" y="132686"/>
                      </a:lnTo>
                      <a:lnTo>
                        <a:pt x="75543" y="133906"/>
                      </a:lnTo>
                      <a:lnTo>
                        <a:pt x="69714" y="135241"/>
                      </a:lnTo>
                      <a:lnTo>
                        <a:pt x="64668" y="141440"/>
                      </a:lnTo>
                      <a:lnTo>
                        <a:pt x="58618" y="143152"/>
                      </a:lnTo>
                      <a:lnTo>
                        <a:pt x="55044" y="149119"/>
                      </a:lnTo>
                      <a:lnTo>
                        <a:pt x="43619" y="148602"/>
                      </a:lnTo>
                      <a:lnTo>
                        <a:pt x="36245" y="151783"/>
                      </a:lnTo>
                      <a:lnTo>
                        <a:pt x="20269" y="150591"/>
                      </a:lnTo>
                      <a:lnTo>
                        <a:pt x="14265" y="136884"/>
                      </a:lnTo>
                      <a:lnTo>
                        <a:pt x="14925" y="124039"/>
                      </a:lnTo>
                      <a:lnTo>
                        <a:pt x="11151" y="117098"/>
                      </a:lnTo>
                      <a:lnTo>
                        <a:pt x="6633" y="99673"/>
                      </a:lnTo>
                      <a:lnTo>
                        <a:pt x="0" y="89972"/>
                      </a:lnTo>
                      <a:lnTo>
                        <a:pt x="4620" y="88824"/>
                      </a:lnTo>
                      <a:lnTo>
                        <a:pt x="2252" y="78025"/>
                      </a:lnTo>
                      <a:lnTo>
                        <a:pt x="5051" y="73463"/>
                      </a:lnTo>
                      <a:lnTo>
                        <a:pt x="4027" y="63134"/>
                      </a:lnTo>
                      <a:lnTo>
                        <a:pt x="14161" y="55571"/>
                      </a:lnTo>
                      <a:lnTo>
                        <a:pt x="11794" y="45564"/>
                      </a:lnTo>
                      <a:lnTo>
                        <a:pt x="17910" y="33877"/>
                      </a:lnTo>
                      <a:lnTo>
                        <a:pt x="27391" y="40061"/>
                      </a:lnTo>
                      <a:lnTo>
                        <a:pt x="33648" y="37912"/>
                      </a:lnTo>
                      <a:lnTo>
                        <a:pt x="60287" y="37366"/>
                      </a:lnTo>
                      <a:lnTo>
                        <a:pt x="64519" y="39744"/>
                      </a:lnTo>
                      <a:lnTo>
                        <a:pt x="86832" y="42122"/>
                      </a:lnTo>
                      <a:lnTo>
                        <a:pt x="95680" y="40932"/>
                      </a:lnTo>
                      <a:lnTo>
                        <a:pt x="101451" y="48852"/>
                      </a:lnTo>
                      <a:lnTo>
                        <a:pt x="112224" y="44893"/>
                      </a:lnTo>
                      <a:lnTo>
                        <a:pt x="128766" y="19902"/>
                      </a:lnTo>
                      <a:lnTo>
                        <a:pt x="150310" y="9162"/>
                      </a:lnTo>
                      <a:lnTo>
                        <a:pt x="216865" y="0"/>
                      </a:lnTo>
                      <a:lnTo>
                        <a:pt x="234919" y="39354"/>
                      </a:lnTo>
                      <a:close/>
                    </a:path>
                  </a:pathLst>
                </a:custGeom>
                <a:solidFill>
                  <a:schemeClr val="accent1">
                    <a:lumMod val="20000"/>
                    <a:lumOff val="80000"/>
                  </a:schemeClr>
                </a:solidFill>
                <a:ln cap="rnd" w="3175">
                  <a:solidFill>
                    <a:srgbClr val="009fdf">
                      <a:lumMod val="60000"/>
                      <a:lumOff val="40000"/>
                    </a:srgbClr>
                  </a:solidFill>
                </a:ln>
              </p:spPr>
              <p:style>
                <a:lnRef idx="2">
                  <a:schemeClr val="accent1">
                    <a:shade val="50000"/>
                  </a:schemeClr>
                </a:lnRef>
                <a:fillRef idx="1">
                  <a:schemeClr val="accent1"/>
                </a:fillRef>
                <a:effectRef idx="0">
                  <a:schemeClr val="accent1"/>
                </a:effectRef>
                <a:fontRef idx="minor"/>
              </p:style>
              <p:txBody>
                <a:bodyPr numCol="1" spcCol="0" horzOverflow="overflow" lIns="72000" rIns="72000" tIns="72000" bIns="72000" anchor="ctr">
                  <a:noAutofit/>
                </a:bodyPr>
                <a:p>
                  <a:pPr algn="ctr" defTabSz="457200">
                    <a:lnSpc>
                      <a:spcPct val="100000"/>
                    </a:lnSpc>
                    <a:tabLst>
                      <a:tab algn="l" pos="0"/>
                    </a:tabLst>
                  </a:pPr>
                  <a:endParaRPr b="0" lang="de-DE" sz="1600" spc="-1" strike="noStrike">
                    <a:solidFill>
                      <a:srgbClr val="000000"/>
                    </a:solidFill>
                    <a:latin typeface="Arial"/>
                    <a:ea typeface="Arial"/>
                  </a:endParaRPr>
                </a:p>
              </p:txBody>
            </p:sp>
            <p:sp>
              <p:nvSpPr>
                <p:cNvPr id="530" name="Freeform 169"/>
                <p:cNvSpPr/>
                <p:nvPr/>
              </p:nvSpPr>
              <p:spPr>
                <a:xfrm>
                  <a:off x="7744680" y="4693680"/>
                  <a:ext cx="379440" cy="318240"/>
                </a:xfrm>
                <a:custGeom>
                  <a:avLst/>
                  <a:gdLst>
                    <a:gd name="textAreaLeft" fmla="*/ 0 w 379440"/>
                    <a:gd name="textAreaRight" fmla="*/ 379800 w 379440"/>
                    <a:gd name="textAreaTop" fmla="*/ 0 h 318240"/>
                    <a:gd name="textAreaBottom" fmla="*/ 318600 h 318240"/>
                  </a:gdLst>
                  <a:ahLst/>
                  <a:rect l="textAreaLeft" t="textAreaTop" r="textAreaRight" b="textAreaBottom"/>
                  <a:pathLst>
                    <a:path w="380521" h="319180">
                      <a:moveTo>
                        <a:pt x="281533" y="161424"/>
                      </a:moveTo>
                      <a:lnTo>
                        <a:pt x="270745" y="166538"/>
                      </a:lnTo>
                      <a:lnTo>
                        <a:pt x="258239" y="176367"/>
                      </a:lnTo>
                      <a:lnTo>
                        <a:pt x="245930" y="192323"/>
                      </a:lnTo>
                      <a:lnTo>
                        <a:pt x="263245" y="211790"/>
                      </a:lnTo>
                      <a:lnTo>
                        <a:pt x="271504" y="209269"/>
                      </a:lnTo>
                      <a:lnTo>
                        <a:pt x="275748" y="201176"/>
                      </a:lnTo>
                      <a:lnTo>
                        <a:pt x="288613" y="197227"/>
                      </a:lnTo>
                      <a:lnTo>
                        <a:pt x="292537" y="188987"/>
                      </a:lnTo>
                      <a:lnTo>
                        <a:pt x="299618" y="176735"/>
                      </a:lnTo>
                      <a:lnTo>
                        <a:pt x="291610" y="169152"/>
                      </a:lnTo>
                      <a:close/>
                      <a:moveTo>
                        <a:pt x="302088" y="0"/>
                      </a:moveTo>
                      <a:lnTo>
                        <a:pt x="311479" y="264"/>
                      </a:lnTo>
                      <a:lnTo>
                        <a:pt x="322648" y="4370"/>
                      </a:lnTo>
                      <a:lnTo>
                        <a:pt x="330426" y="1460"/>
                      </a:lnTo>
                      <a:lnTo>
                        <a:pt x="342696" y="3882"/>
                      </a:lnTo>
                      <a:lnTo>
                        <a:pt x="353752" y="38114"/>
                      </a:lnTo>
                      <a:lnTo>
                        <a:pt x="359758" y="55480"/>
                      </a:lnTo>
                      <a:lnTo>
                        <a:pt x="355645" y="82856"/>
                      </a:lnTo>
                      <a:lnTo>
                        <a:pt x="357615" y="91706"/>
                      </a:lnTo>
                      <a:lnTo>
                        <a:pt x="345968" y="87190"/>
                      </a:lnTo>
                      <a:lnTo>
                        <a:pt x="339295" y="88947"/>
                      </a:lnTo>
                      <a:lnTo>
                        <a:pt x="337116" y="96132"/>
                      </a:lnTo>
                      <a:lnTo>
                        <a:pt x="330813" y="105413"/>
                      </a:lnTo>
                      <a:lnTo>
                        <a:pt x="331029" y="113977"/>
                      </a:lnTo>
                      <a:lnTo>
                        <a:pt x="344805" y="127435"/>
                      </a:lnTo>
                      <a:lnTo>
                        <a:pt x="358315" y="124751"/>
                      </a:lnTo>
                      <a:lnTo>
                        <a:pt x="363014" y="113728"/>
                      </a:lnTo>
                      <a:lnTo>
                        <a:pt x="380521" y="113936"/>
                      </a:lnTo>
                      <a:lnTo>
                        <a:pt x="374754" y="132019"/>
                      </a:lnTo>
                      <a:lnTo>
                        <a:pt x="372027" y="152749"/>
                      </a:lnTo>
                      <a:lnTo>
                        <a:pt x="366055" y="164053"/>
                      </a:lnTo>
                      <a:lnTo>
                        <a:pt x="350303" y="176735"/>
                      </a:lnTo>
                      <a:lnTo>
                        <a:pt x="345792" y="180374"/>
                      </a:lnTo>
                      <a:lnTo>
                        <a:pt x="336010" y="193182"/>
                      </a:lnTo>
                      <a:lnTo>
                        <a:pt x="329571" y="206178"/>
                      </a:lnTo>
                      <a:lnTo>
                        <a:pt x="316481" y="224372"/>
                      </a:lnTo>
                      <a:lnTo>
                        <a:pt x="290394" y="250720"/>
                      </a:lnTo>
                      <a:lnTo>
                        <a:pt x="274102" y="266124"/>
                      </a:lnTo>
                      <a:lnTo>
                        <a:pt x="256671" y="277850"/>
                      </a:lnTo>
                      <a:lnTo>
                        <a:pt x="232546" y="287878"/>
                      </a:lnTo>
                      <a:lnTo>
                        <a:pt x="220779" y="289226"/>
                      </a:lnTo>
                      <a:lnTo>
                        <a:pt x="217800" y="296421"/>
                      </a:lnTo>
                      <a:lnTo>
                        <a:pt x="203771" y="292589"/>
                      </a:lnTo>
                      <a:lnTo>
                        <a:pt x="192345" y="297524"/>
                      </a:lnTo>
                      <a:lnTo>
                        <a:pt x="167328" y="292527"/>
                      </a:lnTo>
                      <a:lnTo>
                        <a:pt x="153343" y="295689"/>
                      </a:lnTo>
                      <a:lnTo>
                        <a:pt x="143787" y="294331"/>
                      </a:lnTo>
                      <a:lnTo>
                        <a:pt x="119980" y="304581"/>
                      </a:lnTo>
                      <a:lnTo>
                        <a:pt x="100273" y="308700"/>
                      </a:lnTo>
                      <a:lnTo>
                        <a:pt x="86013" y="318552"/>
                      </a:lnTo>
                      <a:lnTo>
                        <a:pt x="75514" y="319180"/>
                      </a:lnTo>
                      <a:lnTo>
                        <a:pt x="65747" y="309883"/>
                      </a:lnTo>
                      <a:lnTo>
                        <a:pt x="57946" y="309406"/>
                      </a:lnTo>
                      <a:lnTo>
                        <a:pt x="48004" y="297802"/>
                      </a:lnTo>
                      <a:lnTo>
                        <a:pt x="46914" y="301402"/>
                      </a:lnTo>
                      <a:lnTo>
                        <a:pt x="43846" y="294427"/>
                      </a:lnTo>
                      <a:lnTo>
                        <a:pt x="43975" y="279256"/>
                      </a:lnTo>
                      <a:lnTo>
                        <a:pt x="36476" y="261993"/>
                      </a:lnTo>
                      <a:lnTo>
                        <a:pt x="43925" y="257314"/>
                      </a:lnTo>
                      <a:lnTo>
                        <a:pt x="43321" y="237663"/>
                      </a:lnTo>
                      <a:lnTo>
                        <a:pt x="28206" y="213835"/>
                      </a:lnTo>
                      <a:lnTo>
                        <a:pt x="16607" y="192391"/>
                      </a:lnTo>
                      <a:lnTo>
                        <a:pt x="16572" y="192323"/>
                      </a:lnTo>
                      <a:lnTo>
                        <a:pt x="0" y="159650"/>
                      </a:lnTo>
                      <a:lnTo>
                        <a:pt x="11058" y="147279"/>
                      </a:lnTo>
                      <a:lnTo>
                        <a:pt x="20174" y="154123"/>
                      </a:lnTo>
                      <a:lnTo>
                        <a:pt x="24064" y="164833"/>
                      </a:lnTo>
                      <a:lnTo>
                        <a:pt x="34420" y="166661"/>
                      </a:lnTo>
                      <a:lnTo>
                        <a:pt x="48934" y="171409"/>
                      </a:lnTo>
                      <a:lnTo>
                        <a:pt x="61334" y="169575"/>
                      </a:lnTo>
                      <a:lnTo>
                        <a:pt x="81938" y="156755"/>
                      </a:lnTo>
                      <a:lnTo>
                        <a:pt x="81962" y="65245"/>
                      </a:lnTo>
                      <a:lnTo>
                        <a:pt x="88193" y="68931"/>
                      </a:lnTo>
                      <a:lnTo>
                        <a:pt x="101879" y="92318"/>
                      </a:lnTo>
                      <a:lnTo>
                        <a:pt x="99752" y="107377"/>
                      </a:lnTo>
                      <a:lnTo>
                        <a:pt x="104903" y="116077"/>
                      </a:lnTo>
                      <a:lnTo>
                        <a:pt x="121436" y="113547"/>
                      </a:lnTo>
                      <a:lnTo>
                        <a:pt x="132980" y="102498"/>
                      </a:lnTo>
                      <a:lnTo>
                        <a:pt x="143911" y="95066"/>
                      </a:lnTo>
                      <a:lnTo>
                        <a:pt x="149560" y="83255"/>
                      </a:lnTo>
                      <a:lnTo>
                        <a:pt x="160820" y="77550"/>
                      </a:lnTo>
                      <a:lnTo>
                        <a:pt x="170549" y="80538"/>
                      </a:lnTo>
                      <a:lnTo>
                        <a:pt x="181575" y="87437"/>
                      </a:lnTo>
                      <a:lnTo>
                        <a:pt x="200362" y="88656"/>
                      </a:lnTo>
                      <a:lnTo>
                        <a:pt x="215124" y="82919"/>
                      </a:lnTo>
                      <a:lnTo>
                        <a:pt x="217459" y="75242"/>
                      </a:lnTo>
                      <a:lnTo>
                        <a:pt x="221517" y="63493"/>
                      </a:lnTo>
                      <a:lnTo>
                        <a:pt x="234076" y="61530"/>
                      </a:lnTo>
                      <a:lnTo>
                        <a:pt x="241016" y="52329"/>
                      </a:lnTo>
                      <a:lnTo>
                        <a:pt x="248703" y="36049"/>
                      </a:lnTo>
                      <a:lnTo>
                        <a:pt x="269427" y="17871"/>
                      </a:lnTo>
                      <a:close/>
                    </a:path>
                  </a:pathLst>
                </a:custGeom>
                <a:solidFill>
                  <a:schemeClr val="accent1"/>
                </a:solidFill>
                <a:ln cap="rnd" w="3175">
                  <a:solidFill>
                    <a:srgbClr val="009fdf">
                      <a:lumMod val="60000"/>
                      <a:lumOff val="40000"/>
                    </a:srgbClr>
                  </a:solidFill>
                </a:ln>
              </p:spPr>
              <p:style>
                <a:lnRef idx="2">
                  <a:schemeClr val="accent1">
                    <a:shade val="50000"/>
                  </a:schemeClr>
                </a:lnRef>
                <a:fillRef idx="1">
                  <a:schemeClr val="accent1"/>
                </a:fillRef>
                <a:effectRef idx="0">
                  <a:schemeClr val="accent1"/>
                </a:effectRef>
                <a:fontRef idx="minor"/>
              </p:style>
              <p:txBody>
                <a:bodyPr numCol="1" spcCol="0" horzOverflow="overflow" lIns="72000" rIns="72000" tIns="72000" bIns="72000" anchor="ctr">
                  <a:noAutofit/>
                </a:bodyPr>
                <a:p>
                  <a:pPr algn="ctr" defTabSz="457200">
                    <a:lnSpc>
                      <a:spcPct val="100000"/>
                    </a:lnSpc>
                    <a:tabLst>
                      <a:tab algn="l" pos="0"/>
                    </a:tabLst>
                  </a:pPr>
                  <a:endParaRPr b="0" lang="de-DE" sz="1600" spc="-1" strike="noStrike">
                    <a:solidFill>
                      <a:srgbClr val="000000"/>
                    </a:solidFill>
                    <a:latin typeface="Arial"/>
                    <a:ea typeface="Arial"/>
                  </a:endParaRPr>
                </a:p>
              </p:txBody>
            </p:sp>
            <p:sp>
              <p:nvSpPr>
                <p:cNvPr id="531" name="Freeform 170"/>
                <p:cNvSpPr/>
                <p:nvPr/>
              </p:nvSpPr>
              <p:spPr>
                <a:xfrm>
                  <a:off x="7872480" y="4366440"/>
                  <a:ext cx="266760" cy="227520"/>
                </a:xfrm>
                <a:custGeom>
                  <a:avLst/>
                  <a:gdLst/>
                  <a:ahLst/>
                  <a:rect l="l" t="t" r="r" b="b"/>
                  <a:pathLst>
                    <a:path w="267710" h="228428">
                      <a:moveTo>
                        <a:pt x="250944" y="23078"/>
                      </a:moveTo>
                      <a:lnTo>
                        <a:pt x="261839" y="33466"/>
                      </a:lnTo>
                      <a:lnTo>
                        <a:pt x="267709" y="53256"/>
                      </a:lnTo>
                      <a:lnTo>
                        <a:pt x="263776" y="59581"/>
                      </a:lnTo>
                      <a:lnTo>
                        <a:pt x="259136" y="78525"/>
                      </a:lnTo>
                      <a:lnTo>
                        <a:pt x="263571" y="97923"/>
                      </a:lnTo>
                      <a:lnTo>
                        <a:pt x="256308" y="106084"/>
                      </a:lnTo>
                      <a:lnTo>
                        <a:pt x="249300" y="127900"/>
                      </a:lnTo>
                      <a:lnTo>
                        <a:pt x="261438" y="133992"/>
                      </a:lnTo>
                      <a:lnTo>
                        <a:pt x="191393" y="153408"/>
                      </a:lnTo>
                      <a:lnTo>
                        <a:pt x="193580" y="170210"/>
                      </a:lnTo>
                      <a:lnTo>
                        <a:pt x="176097" y="173446"/>
                      </a:lnTo>
                      <a:lnTo>
                        <a:pt x="162954" y="182871"/>
                      </a:lnTo>
                      <a:lnTo>
                        <a:pt x="160148" y="191084"/>
                      </a:lnTo>
                      <a:lnTo>
                        <a:pt x="151885" y="192948"/>
                      </a:lnTo>
                      <a:lnTo>
                        <a:pt x="131811" y="212472"/>
                      </a:lnTo>
                      <a:lnTo>
                        <a:pt x="119027" y="227874"/>
                      </a:lnTo>
                      <a:lnTo>
                        <a:pt x="111233" y="228427"/>
                      </a:lnTo>
                      <a:lnTo>
                        <a:pt x="103735" y="225683"/>
                      </a:lnTo>
                      <a:lnTo>
                        <a:pt x="77935" y="223075"/>
                      </a:lnTo>
                      <a:lnTo>
                        <a:pt x="73785" y="221296"/>
                      </a:lnTo>
                      <a:lnTo>
                        <a:pt x="73613" y="219321"/>
                      </a:lnTo>
                      <a:lnTo>
                        <a:pt x="64504" y="213960"/>
                      </a:lnTo>
                      <a:lnTo>
                        <a:pt x="49535" y="212591"/>
                      </a:lnTo>
                      <a:lnTo>
                        <a:pt x="30635" y="217996"/>
                      </a:lnTo>
                      <a:lnTo>
                        <a:pt x="15572" y="203150"/>
                      </a:lnTo>
                      <a:lnTo>
                        <a:pt x="0" y="183754"/>
                      </a:lnTo>
                      <a:lnTo>
                        <a:pt x="1062" y="108772"/>
                      </a:lnTo>
                      <a:lnTo>
                        <a:pt x="49126" y="109068"/>
                      </a:lnTo>
                      <a:lnTo>
                        <a:pt x="47159" y="100972"/>
                      </a:lnTo>
                      <a:lnTo>
                        <a:pt x="50598" y="92195"/>
                      </a:lnTo>
                      <a:lnTo>
                        <a:pt x="46541" y="81217"/>
                      </a:lnTo>
                      <a:lnTo>
                        <a:pt x="49167" y="69876"/>
                      </a:lnTo>
                      <a:lnTo>
                        <a:pt x="46727" y="62623"/>
                      </a:lnTo>
                      <a:lnTo>
                        <a:pt x="54690" y="63211"/>
                      </a:lnTo>
                      <a:lnTo>
                        <a:pt x="56014" y="70473"/>
                      </a:lnTo>
                      <a:lnTo>
                        <a:pt x="66832" y="69909"/>
                      </a:lnTo>
                      <a:lnTo>
                        <a:pt x="81488" y="72065"/>
                      </a:lnTo>
                      <a:lnTo>
                        <a:pt x="89202" y="82683"/>
                      </a:lnTo>
                      <a:lnTo>
                        <a:pt x="107686" y="85947"/>
                      </a:lnTo>
                      <a:lnTo>
                        <a:pt x="121797" y="78561"/>
                      </a:lnTo>
                      <a:lnTo>
                        <a:pt x="126976" y="90824"/>
                      </a:lnTo>
                      <a:lnTo>
                        <a:pt x="144665" y="94097"/>
                      </a:lnTo>
                      <a:lnTo>
                        <a:pt x="153170" y="104084"/>
                      </a:lnTo>
                      <a:lnTo>
                        <a:pt x="162650" y="116999"/>
                      </a:lnTo>
                      <a:lnTo>
                        <a:pt x="180316" y="117194"/>
                      </a:lnTo>
                      <a:lnTo>
                        <a:pt x="178386" y="91905"/>
                      </a:lnTo>
                      <a:lnTo>
                        <a:pt x="172051" y="96165"/>
                      </a:lnTo>
                      <a:lnTo>
                        <a:pt x="155913" y="87050"/>
                      </a:lnTo>
                      <a:lnTo>
                        <a:pt x="149677" y="82886"/>
                      </a:lnTo>
                      <a:lnTo>
                        <a:pt x="152535" y="59425"/>
                      </a:lnTo>
                      <a:lnTo>
                        <a:pt x="156635" y="31817"/>
                      </a:lnTo>
                      <a:lnTo>
                        <a:pt x="151469" y="21549"/>
                      </a:lnTo>
                      <a:lnTo>
                        <a:pt x="158047" y="6701"/>
                      </a:lnTo>
                      <a:lnTo>
                        <a:pt x="164234" y="3923"/>
                      </a:lnTo>
                      <a:lnTo>
                        <a:pt x="195238" y="0"/>
                      </a:lnTo>
                      <a:lnTo>
                        <a:pt x="204331" y="2365"/>
                      </a:lnTo>
                      <a:lnTo>
                        <a:pt x="213974" y="8282"/>
                      </a:lnTo>
                      <a:lnTo>
                        <a:pt x="223174" y="12177"/>
                      </a:lnTo>
                      <a:lnTo>
                        <a:pt x="237844" y="16092"/>
                      </a:lnTo>
                      <a:close/>
                    </a:path>
                  </a:pathLst>
                </a:custGeom>
                <a:solidFill>
                  <a:schemeClr val="accent1">
                    <a:lumMod val="20000"/>
                    <a:lumOff val="80000"/>
                  </a:schemeClr>
                </a:solidFill>
                <a:ln cap="rnd" w="3175">
                  <a:solidFill>
                    <a:srgbClr val="009fdf">
                      <a:lumMod val="60000"/>
                      <a:lumOff val="40000"/>
                    </a:srgbClr>
                  </a:solidFill>
                </a:ln>
              </p:spPr>
              <p:style>
                <a:lnRef idx="2">
                  <a:schemeClr val="accent1">
                    <a:shade val="50000"/>
                  </a:schemeClr>
                </a:lnRef>
                <a:fillRef idx="1">
                  <a:schemeClr val="accent1"/>
                </a:fillRef>
                <a:effectRef idx="0">
                  <a:schemeClr val="accent1"/>
                </a:effectRef>
                <a:fontRef idx="minor"/>
              </p:style>
              <p:txBody>
                <a:bodyPr numCol="1" spcCol="0" horzOverflow="overflow" lIns="72000" rIns="72000" tIns="72000" bIns="72000" anchor="ctr">
                  <a:noAutofit/>
                </a:bodyPr>
                <a:p>
                  <a:pPr algn="ctr" defTabSz="457200">
                    <a:lnSpc>
                      <a:spcPct val="100000"/>
                    </a:lnSpc>
                    <a:tabLst>
                      <a:tab algn="l" pos="0"/>
                    </a:tabLst>
                  </a:pPr>
                  <a:endParaRPr b="0" lang="de-DE" sz="1600" spc="-1" strike="noStrike">
                    <a:solidFill>
                      <a:srgbClr val="000000"/>
                    </a:solidFill>
                    <a:latin typeface="Arial"/>
                    <a:ea typeface="Arial"/>
                  </a:endParaRPr>
                </a:p>
              </p:txBody>
            </p:sp>
            <p:sp>
              <p:nvSpPr>
                <p:cNvPr id="532" name="Freeform 171"/>
                <p:cNvSpPr/>
                <p:nvPr/>
              </p:nvSpPr>
              <p:spPr>
                <a:xfrm>
                  <a:off x="7950240" y="4536360"/>
                  <a:ext cx="174240" cy="161280"/>
                </a:xfrm>
                <a:custGeom>
                  <a:avLst/>
                  <a:gdLst/>
                  <a:ahLst/>
                  <a:rect l="l" t="t" r="r" b="b"/>
                  <a:pathLst>
                    <a:path w="175098" h="161790">
                      <a:moveTo>
                        <a:pt x="136816" y="161301"/>
                      </a:moveTo>
                      <a:lnTo>
                        <a:pt x="124546" y="158879"/>
                      </a:lnTo>
                      <a:lnTo>
                        <a:pt x="116768" y="161789"/>
                      </a:lnTo>
                      <a:lnTo>
                        <a:pt x="105599" y="157683"/>
                      </a:lnTo>
                      <a:lnTo>
                        <a:pt x="96208" y="157419"/>
                      </a:lnTo>
                      <a:lnTo>
                        <a:pt x="81492" y="146483"/>
                      </a:lnTo>
                      <a:lnTo>
                        <a:pt x="63643" y="142774"/>
                      </a:lnTo>
                      <a:lnTo>
                        <a:pt x="56853" y="127472"/>
                      </a:lnTo>
                      <a:lnTo>
                        <a:pt x="56796" y="118978"/>
                      </a:lnTo>
                      <a:lnTo>
                        <a:pt x="46911" y="116391"/>
                      </a:lnTo>
                      <a:lnTo>
                        <a:pt x="20788" y="90031"/>
                      </a:lnTo>
                      <a:lnTo>
                        <a:pt x="13531" y="76189"/>
                      </a:lnTo>
                      <a:lnTo>
                        <a:pt x="8886" y="71928"/>
                      </a:lnTo>
                      <a:lnTo>
                        <a:pt x="0" y="52865"/>
                      </a:lnTo>
                      <a:lnTo>
                        <a:pt x="25800" y="55473"/>
                      </a:lnTo>
                      <a:lnTo>
                        <a:pt x="33298" y="58217"/>
                      </a:lnTo>
                      <a:lnTo>
                        <a:pt x="41092" y="57664"/>
                      </a:lnTo>
                      <a:lnTo>
                        <a:pt x="53876" y="42262"/>
                      </a:lnTo>
                      <a:lnTo>
                        <a:pt x="73950" y="22738"/>
                      </a:lnTo>
                      <a:lnTo>
                        <a:pt x="82213" y="20874"/>
                      </a:lnTo>
                      <a:lnTo>
                        <a:pt x="85019" y="12661"/>
                      </a:lnTo>
                      <a:lnTo>
                        <a:pt x="98162" y="3236"/>
                      </a:lnTo>
                      <a:lnTo>
                        <a:pt x="115645" y="0"/>
                      </a:lnTo>
                      <a:lnTo>
                        <a:pt x="117139" y="8822"/>
                      </a:lnTo>
                      <a:lnTo>
                        <a:pt x="136392" y="8351"/>
                      </a:lnTo>
                      <a:lnTo>
                        <a:pt x="147090" y="13347"/>
                      </a:lnTo>
                      <a:lnTo>
                        <a:pt x="152065" y="19207"/>
                      </a:lnTo>
                      <a:lnTo>
                        <a:pt x="163057" y="20929"/>
                      </a:lnTo>
                      <a:lnTo>
                        <a:pt x="175046" y="28549"/>
                      </a:lnTo>
                      <a:lnTo>
                        <a:pt x="175097" y="58642"/>
                      </a:lnTo>
                      <a:lnTo>
                        <a:pt x="170597" y="75178"/>
                      </a:lnTo>
                      <a:lnTo>
                        <a:pt x="169606" y="93056"/>
                      </a:lnTo>
                      <a:lnTo>
                        <a:pt x="173316" y="100156"/>
                      </a:lnTo>
                      <a:lnTo>
                        <a:pt x="170709" y="114293"/>
                      </a:lnTo>
                      <a:lnTo>
                        <a:pt x="167222" y="116482"/>
                      </a:lnTo>
                      <a:lnTo>
                        <a:pt x="161135" y="133853"/>
                      </a:lnTo>
                      <a:close/>
                    </a:path>
                  </a:pathLst>
                </a:custGeom>
                <a:solidFill>
                  <a:schemeClr val="accent1">
                    <a:lumMod val="20000"/>
                    <a:lumOff val="80000"/>
                  </a:schemeClr>
                </a:solidFill>
                <a:ln cap="rnd" w="3175">
                  <a:solidFill>
                    <a:srgbClr val="009fdf">
                      <a:lumMod val="60000"/>
                      <a:lumOff val="40000"/>
                    </a:srgbClr>
                  </a:solidFill>
                </a:ln>
              </p:spPr>
              <p:style>
                <a:lnRef idx="2">
                  <a:schemeClr val="accent1">
                    <a:shade val="50000"/>
                  </a:schemeClr>
                </a:lnRef>
                <a:fillRef idx="1">
                  <a:schemeClr val="accent1"/>
                </a:fillRef>
                <a:effectRef idx="0">
                  <a:schemeClr val="accent1"/>
                </a:effectRef>
                <a:fontRef idx="minor"/>
              </p:style>
              <p:txBody>
                <a:bodyPr numCol="1" spcCol="0" horzOverflow="overflow" lIns="72000" rIns="72000" tIns="72000" bIns="72000" anchor="ctr">
                  <a:noAutofit/>
                </a:bodyPr>
                <a:p>
                  <a:pPr algn="ctr" defTabSz="457200">
                    <a:lnSpc>
                      <a:spcPct val="100000"/>
                    </a:lnSpc>
                    <a:tabLst>
                      <a:tab algn="l" pos="0"/>
                    </a:tabLst>
                  </a:pPr>
                  <a:endParaRPr b="0" lang="de-DE" sz="1600" spc="-1" strike="noStrike">
                    <a:solidFill>
                      <a:srgbClr val="000000"/>
                    </a:solidFill>
                    <a:latin typeface="Arial"/>
                    <a:ea typeface="Arial"/>
                  </a:endParaRPr>
                </a:p>
              </p:txBody>
            </p:sp>
            <p:sp>
              <p:nvSpPr>
                <p:cNvPr id="533" name="Freeform 172"/>
                <p:cNvSpPr/>
                <p:nvPr/>
              </p:nvSpPr>
              <p:spPr>
                <a:xfrm>
                  <a:off x="11452320" y="4548600"/>
                  <a:ext cx="66960" cy="53280"/>
                </a:xfrm>
                <a:custGeom>
                  <a:avLst/>
                  <a:gdLst>
                    <a:gd name="textAreaLeft" fmla="*/ 0 w 66960"/>
                    <a:gd name="textAreaRight" fmla="*/ 67320 w 66960"/>
                    <a:gd name="textAreaTop" fmla="*/ 0 h 53280"/>
                    <a:gd name="textAreaBottom" fmla="*/ 53640 h 53280"/>
                  </a:gdLst>
                  <a:ahLst/>
                  <a:rect l="textAreaLeft" t="textAreaTop" r="textAreaRight" b="textAreaBottom"/>
                  <a:pathLst>
                    <a:path w="67439" h="53871">
                      <a:moveTo>
                        <a:pt x="25127" y="31292"/>
                      </a:moveTo>
                      <a:lnTo>
                        <a:pt x="33077" y="38156"/>
                      </a:lnTo>
                      <a:lnTo>
                        <a:pt x="29261" y="50594"/>
                      </a:lnTo>
                      <a:lnTo>
                        <a:pt x="14948" y="53871"/>
                      </a:lnTo>
                      <a:lnTo>
                        <a:pt x="2225" y="50921"/>
                      </a:lnTo>
                      <a:lnTo>
                        <a:pt x="0" y="40446"/>
                      </a:lnTo>
                      <a:lnTo>
                        <a:pt x="8905" y="32272"/>
                      </a:lnTo>
                      <a:lnTo>
                        <a:pt x="19401" y="35214"/>
                      </a:lnTo>
                      <a:close/>
                      <a:moveTo>
                        <a:pt x="67439" y="0"/>
                      </a:moveTo>
                      <a:lnTo>
                        <a:pt x="62669" y="12660"/>
                      </a:lnTo>
                      <a:lnTo>
                        <a:pt x="47991" y="18499"/>
                      </a:lnTo>
                      <a:lnTo>
                        <a:pt x="33239" y="23501"/>
                      </a:lnTo>
                      <a:lnTo>
                        <a:pt x="30279" y="14650"/>
                      </a:lnTo>
                      <a:lnTo>
                        <a:pt x="41816" y="9785"/>
                      </a:lnTo>
                      <a:lnTo>
                        <a:pt x="49131" y="8484"/>
                      </a:lnTo>
                      <a:lnTo>
                        <a:pt x="62669" y="1094"/>
                      </a:lnTo>
                      <a:close/>
                    </a:path>
                  </a:pathLst>
                </a:custGeom>
                <a:solidFill>
                  <a:schemeClr val="accent1"/>
                </a:solidFill>
                <a:ln cap="rnd" w="3175">
                  <a:solidFill>
                    <a:srgbClr val="009fdf">
                      <a:lumMod val="60000"/>
                      <a:lumOff val="40000"/>
                    </a:srgbClr>
                  </a:solidFill>
                </a:ln>
              </p:spPr>
              <p:style>
                <a:lnRef idx="2">
                  <a:schemeClr val="accent1">
                    <a:shade val="50000"/>
                  </a:schemeClr>
                </a:lnRef>
                <a:fillRef idx="1">
                  <a:schemeClr val="accent1"/>
                </a:fillRef>
                <a:effectRef idx="0">
                  <a:schemeClr val="accent1"/>
                </a:effectRef>
                <a:fontRef idx="minor"/>
              </p:style>
              <p:txBody>
                <a:bodyPr numCol="1" spcCol="0" horzOverflow="overflow" lIns="72000" rIns="72000" tIns="26640" bIns="26640" anchor="ctr">
                  <a:noAutofit/>
                </a:bodyPr>
                <a:p>
                  <a:pPr algn="ctr" defTabSz="457200">
                    <a:lnSpc>
                      <a:spcPct val="100000"/>
                    </a:lnSpc>
                    <a:tabLst>
                      <a:tab algn="l" pos="0"/>
                    </a:tabLst>
                  </a:pPr>
                  <a:endParaRPr b="0" lang="de-DE" sz="1600" spc="-1" strike="noStrike">
                    <a:solidFill>
                      <a:srgbClr val="000000"/>
                    </a:solidFill>
                    <a:latin typeface="Arial"/>
                    <a:ea typeface="Arial"/>
                  </a:endParaRPr>
                </a:p>
              </p:txBody>
            </p:sp>
            <p:sp>
              <p:nvSpPr>
                <p:cNvPr id="534" name="Freeform 173"/>
                <p:cNvSpPr/>
                <p:nvPr/>
              </p:nvSpPr>
              <p:spPr>
                <a:xfrm>
                  <a:off x="6112080" y="4043520"/>
                  <a:ext cx="65520" cy="84960"/>
                </a:xfrm>
                <a:custGeom>
                  <a:avLst/>
                  <a:gdLst>
                    <a:gd name="textAreaLeft" fmla="*/ 0 w 65520"/>
                    <a:gd name="textAreaRight" fmla="*/ 65880 w 65520"/>
                    <a:gd name="textAreaTop" fmla="*/ 0 h 84960"/>
                    <a:gd name="textAreaBottom" fmla="*/ 85320 h 84960"/>
                  </a:gdLst>
                  <a:ahLst/>
                  <a:rect l="textAreaLeft" t="textAreaTop" r="textAreaRight" b="textAreaBottom"/>
                  <a:pathLst>
                    <a:path w="66177" h="85615">
                      <a:moveTo>
                        <a:pt x="13081" y="0"/>
                      </a:moveTo>
                      <a:lnTo>
                        <a:pt x="20920" y="2547"/>
                      </a:lnTo>
                      <a:lnTo>
                        <a:pt x="37916" y="8027"/>
                      </a:lnTo>
                      <a:lnTo>
                        <a:pt x="62356" y="27558"/>
                      </a:lnTo>
                      <a:lnTo>
                        <a:pt x="66177" y="37029"/>
                      </a:lnTo>
                      <a:lnTo>
                        <a:pt x="52523" y="58181"/>
                      </a:lnTo>
                      <a:lnTo>
                        <a:pt x="45435" y="75192"/>
                      </a:lnTo>
                      <a:lnTo>
                        <a:pt x="36589" y="83965"/>
                      </a:lnTo>
                      <a:lnTo>
                        <a:pt x="25536" y="85615"/>
                      </a:lnTo>
                      <a:lnTo>
                        <a:pt x="22388" y="79114"/>
                      </a:lnTo>
                      <a:lnTo>
                        <a:pt x="17225" y="78149"/>
                      </a:lnTo>
                      <a:lnTo>
                        <a:pt x="10080" y="84411"/>
                      </a:lnTo>
                      <a:lnTo>
                        <a:pt x="0" y="79647"/>
                      </a:lnTo>
                      <a:lnTo>
                        <a:pt x="5852" y="69787"/>
                      </a:lnTo>
                      <a:lnTo>
                        <a:pt x="7859" y="59265"/>
                      </a:lnTo>
                      <a:lnTo>
                        <a:pt x="11847" y="49365"/>
                      </a:lnTo>
                      <a:lnTo>
                        <a:pt x="2890" y="35725"/>
                      </a:lnTo>
                      <a:lnTo>
                        <a:pt x="1065" y="19901"/>
                      </a:lnTo>
                      <a:close/>
                    </a:path>
                  </a:pathLst>
                </a:custGeom>
                <a:solidFill>
                  <a:schemeClr val="accent1">
                    <a:lumMod val="20000"/>
                    <a:lumOff val="80000"/>
                  </a:schemeClr>
                </a:solidFill>
                <a:ln cap="rnd" w="3175">
                  <a:solidFill>
                    <a:srgbClr val="009fdf">
                      <a:lumMod val="60000"/>
                      <a:lumOff val="40000"/>
                    </a:srgbClr>
                  </a:solidFill>
                </a:ln>
              </p:spPr>
              <p:style>
                <a:lnRef idx="2">
                  <a:schemeClr val="accent1">
                    <a:shade val="50000"/>
                  </a:schemeClr>
                </a:lnRef>
                <a:fillRef idx="1">
                  <a:schemeClr val="accent1"/>
                </a:fillRef>
                <a:effectRef idx="0">
                  <a:schemeClr val="accent1"/>
                </a:effectRef>
                <a:fontRef idx="minor"/>
              </p:style>
              <p:txBody>
                <a:bodyPr numCol="1" spcCol="0" horzOverflow="overflow" lIns="72000" rIns="72000" tIns="42480" bIns="42480" anchor="ctr">
                  <a:noAutofit/>
                </a:bodyPr>
                <a:p>
                  <a:pPr algn="ctr" defTabSz="457200">
                    <a:lnSpc>
                      <a:spcPct val="100000"/>
                    </a:lnSpc>
                    <a:tabLst>
                      <a:tab algn="l" pos="0"/>
                    </a:tabLst>
                  </a:pPr>
                  <a:endParaRPr b="0" lang="de-DE" sz="1600" spc="-1" strike="noStrike">
                    <a:solidFill>
                      <a:srgbClr val="000000"/>
                    </a:solidFill>
                    <a:latin typeface="Arial"/>
                    <a:ea typeface="Arial"/>
                  </a:endParaRPr>
                </a:p>
              </p:txBody>
            </p:sp>
            <p:sp>
              <p:nvSpPr>
                <p:cNvPr id="535" name="Freeform 174"/>
                <p:cNvSpPr/>
                <p:nvPr/>
              </p:nvSpPr>
              <p:spPr>
                <a:xfrm>
                  <a:off x="5958360" y="5468400"/>
                  <a:ext cx="79200" cy="36360"/>
                </a:xfrm>
                <a:custGeom>
                  <a:avLst/>
                  <a:gdLst>
                    <a:gd name="textAreaLeft" fmla="*/ 0 w 79200"/>
                    <a:gd name="textAreaRight" fmla="*/ 79560 w 79200"/>
                    <a:gd name="textAreaTop" fmla="*/ 0 h 36360"/>
                    <a:gd name="textAreaBottom" fmla="*/ 36720 h 36360"/>
                  </a:gdLst>
                  <a:ahLst/>
                  <a:rect l="textAreaLeft" t="textAreaTop" r="textAreaRight" b="textAreaBottom"/>
                  <a:pathLst>
                    <a:path w="79635" h="36905">
                      <a:moveTo>
                        <a:pt x="61169" y="0"/>
                      </a:moveTo>
                      <a:lnTo>
                        <a:pt x="79635" y="13776"/>
                      </a:lnTo>
                      <a:lnTo>
                        <a:pt x="72710" y="24543"/>
                      </a:lnTo>
                      <a:lnTo>
                        <a:pt x="41548" y="33809"/>
                      </a:lnTo>
                      <a:lnTo>
                        <a:pt x="31161" y="23002"/>
                      </a:lnTo>
                      <a:lnTo>
                        <a:pt x="11541" y="36905"/>
                      </a:lnTo>
                      <a:lnTo>
                        <a:pt x="0" y="23002"/>
                      </a:lnTo>
                      <a:lnTo>
                        <a:pt x="27699" y="4584"/>
                      </a:lnTo>
                      <a:lnTo>
                        <a:pt x="47319" y="12241"/>
                      </a:lnTo>
                      <a:close/>
                    </a:path>
                  </a:pathLst>
                </a:custGeom>
                <a:solidFill>
                  <a:schemeClr val="accent1"/>
                </a:solidFill>
                <a:ln cap="rnd" w="3175">
                  <a:solidFill>
                    <a:srgbClr val="009fdf">
                      <a:lumMod val="60000"/>
                      <a:lumOff val="40000"/>
                    </a:srgbClr>
                  </a:solidFill>
                </a:ln>
              </p:spPr>
              <p:style>
                <a:lnRef idx="2">
                  <a:schemeClr val="accent1">
                    <a:shade val="50000"/>
                  </a:schemeClr>
                </a:lnRef>
                <a:fillRef idx="1">
                  <a:schemeClr val="accent1"/>
                </a:fillRef>
                <a:effectRef idx="0">
                  <a:schemeClr val="accent1"/>
                </a:effectRef>
                <a:fontRef idx="minor"/>
              </p:style>
              <p:txBody>
                <a:bodyPr numCol="1" spcCol="0" horzOverflow="overflow" lIns="72000" rIns="72000" tIns="18360" bIns="18360" anchor="ctr">
                  <a:noAutofit/>
                </a:bodyPr>
                <a:p>
                  <a:pPr algn="ctr" defTabSz="457200">
                    <a:lnSpc>
                      <a:spcPct val="100000"/>
                    </a:lnSpc>
                    <a:tabLst>
                      <a:tab algn="l" pos="0"/>
                    </a:tabLst>
                  </a:pPr>
                  <a:endParaRPr b="0" lang="de-DE" sz="1600" spc="-1" strike="noStrike">
                    <a:solidFill>
                      <a:srgbClr val="000000"/>
                    </a:solidFill>
                    <a:latin typeface="Arial"/>
                    <a:ea typeface="Arial"/>
                  </a:endParaRPr>
                </a:p>
              </p:txBody>
            </p:sp>
            <p:sp>
              <p:nvSpPr>
                <p:cNvPr id="536" name="Freeform 175"/>
                <p:cNvSpPr/>
                <p:nvPr/>
              </p:nvSpPr>
              <p:spPr>
                <a:xfrm>
                  <a:off x="5679720" y="1555560"/>
                  <a:ext cx="1406880" cy="1039680"/>
                </a:xfrm>
                <a:custGeom>
                  <a:avLst/>
                  <a:gdLst>
                    <a:gd name="textAreaLeft" fmla="*/ 0 w 1406880"/>
                    <a:gd name="textAreaRight" fmla="*/ 1407240 w 1406880"/>
                    <a:gd name="textAreaTop" fmla="*/ 0 h 1039680"/>
                    <a:gd name="textAreaBottom" fmla="*/ 1040040 h 1039680"/>
                  </a:gdLst>
                  <a:ahLst/>
                  <a:rect l="textAreaLeft" t="textAreaTop" r="textAreaRight" b="textAreaBottom"/>
                  <a:pathLst>
                    <a:path w="1410084" h="1042076">
                      <a:moveTo>
                        <a:pt x="881969" y="0"/>
                      </a:moveTo>
                      <a:lnTo>
                        <a:pt x="1066339" y="7371"/>
                      </a:lnTo>
                      <a:lnTo>
                        <a:pt x="1210723" y="53274"/>
                      </a:lnTo>
                      <a:lnTo>
                        <a:pt x="1168102" y="75149"/>
                      </a:lnTo>
                      <a:lnTo>
                        <a:pt x="1079795" y="77632"/>
                      </a:lnTo>
                      <a:lnTo>
                        <a:pt x="955553" y="83131"/>
                      </a:lnTo>
                      <a:lnTo>
                        <a:pt x="967176" y="93137"/>
                      </a:lnTo>
                      <a:lnTo>
                        <a:pt x="1048884" y="86962"/>
                      </a:lnTo>
                      <a:lnTo>
                        <a:pt x="1118414" y="106205"/>
                      </a:lnTo>
                      <a:lnTo>
                        <a:pt x="1163222" y="89127"/>
                      </a:lnTo>
                      <a:lnTo>
                        <a:pt x="1182415" y="109116"/>
                      </a:lnTo>
                      <a:lnTo>
                        <a:pt x="1157074" y="141078"/>
                      </a:lnTo>
                      <a:lnTo>
                        <a:pt x="1215842" y="120711"/>
                      </a:lnTo>
                      <a:lnTo>
                        <a:pt x="1327919" y="99226"/>
                      </a:lnTo>
                      <a:lnTo>
                        <a:pt x="1397121" y="109983"/>
                      </a:lnTo>
                      <a:lnTo>
                        <a:pt x="1410084" y="133502"/>
                      </a:lnTo>
                      <a:lnTo>
                        <a:pt x="1315981" y="172003"/>
                      </a:lnTo>
                      <a:lnTo>
                        <a:pt x="1302947" y="184279"/>
                      </a:lnTo>
                      <a:lnTo>
                        <a:pt x="1229170" y="193454"/>
                      </a:lnTo>
                      <a:lnTo>
                        <a:pt x="1282626" y="195990"/>
                      </a:lnTo>
                      <a:lnTo>
                        <a:pt x="1255628" y="234127"/>
                      </a:lnTo>
                      <a:lnTo>
                        <a:pt x="1237047" y="267409"/>
                      </a:lnTo>
                      <a:lnTo>
                        <a:pt x="1237773" y="323141"/>
                      </a:lnTo>
                      <a:lnTo>
                        <a:pt x="1265487" y="355088"/>
                      </a:lnTo>
                      <a:lnTo>
                        <a:pt x="1229428" y="357091"/>
                      </a:lnTo>
                      <a:lnTo>
                        <a:pt x="1191471" y="372362"/>
                      </a:lnTo>
                      <a:lnTo>
                        <a:pt x="1234067" y="397662"/>
                      </a:lnTo>
                      <a:lnTo>
                        <a:pt x="1239494" y="437542"/>
                      </a:lnTo>
                      <a:lnTo>
                        <a:pt x="1214813" y="441834"/>
                      </a:lnTo>
                      <a:lnTo>
                        <a:pt x="1244714" y="481288"/>
                      </a:lnTo>
                      <a:lnTo>
                        <a:pt x="1193438" y="484544"/>
                      </a:lnTo>
                      <a:lnTo>
                        <a:pt x="1220207" y="502886"/>
                      </a:lnTo>
                      <a:lnTo>
                        <a:pt x="1212640" y="518656"/>
                      </a:lnTo>
                      <a:lnTo>
                        <a:pt x="1180097" y="525537"/>
                      </a:lnTo>
                      <a:lnTo>
                        <a:pt x="1147926" y="525666"/>
                      </a:lnTo>
                      <a:lnTo>
                        <a:pt x="1176844" y="555484"/>
                      </a:lnTo>
                      <a:lnTo>
                        <a:pt x="1177157" y="574836"/>
                      </a:lnTo>
                      <a:lnTo>
                        <a:pt x="1131481" y="556856"/>
                      </a:lnTo>
                      <a:lnTo>
                        <a:pt x="1119603" y="568506"/>
                      </a:lnTo>
                      <a:lnTo>
                        <a:pt x="1150764" y="579326"/>
                      </a:lnTo>
                      <a:lnTo>
                        <a:pt x="1181006" y="605526"/>
                      </a:lnTo>
                      <a:lnTo>
                        <a:pt x="1189760" y="639522"/>
                      </a:lnTo>
                      <a:lnTo>
                        <a:pt x="1148616" y="647571"/>
                      </a:lnTo>
                      <a:lnTo>
                        <a:pt x="1130819" y="631436"/>
                      </a:lnTo>
                      <a:lnTo>
                        <a:pt x="1102280" y="607145"/>
                      </a:lnTo>
                      <a:lnTo>
                        <a:pt x="1110176" y="635811"/>
                      </a:lnTo>
                      <a:lnTo>
                        <a:pt x="1083367" y="657738"/>
                      </a:lnTo>
                      <a:lnTo>
                        <a:pt x="1144198" y="659498"/>
                      </a:lnTo>
                      <a:lnTo>
                        <a:pt x="1176015" y="661757"/>
                      </a:lnTo>
                      <a:lnTo>
                        <a:pt x="1114148" y="697473"/>
                      </a:lnTo>
                      <a:lnTo>
                        <a:pt x="1051407" y="729271"/>
                      </a:lnTo>
                      <a:lnTo>
                        <a:pt x="983859" y="743049"/>
                      </a:lnTo>
                      <a:lnTo>
                        <a:pt x="958400" y="743218"/>
                      </a:lnTo>
                      <a:lnTo>
                        <a:pt x="934524" y="758475"/>
                      </a:lnTo>
                      <a:lnTo>
                        <a:pt x="902418" y="799705"/>
                      </a:lnTo>
                      <a:lnTo>
                        <a:pt x="852770" y="826626"/>
                      </a:lnTo>
                      <a:lnTo>
                        <a:pt x="836821" y="828198"/>
                      </a:lnTo>
                      <a:lnTo>
                        <a:pt x="806092" y="837541"/>
                      </a:lnTo>
                      <a:lnTo>
                        <a:pt x="772918" y="846392"/>
                      </a:lnTo>
                      <a:lnTo>
                        <a:pt x="753141" y="869644"/>
                      </a:lnTo>
                      <a:lnTo>
                        <a:pt x="752822" y="895688"/>
                      </a:lnTo>
                      <a:lnTo>
                        <a:pt x="741145" y="919795"/>
                      </a:lnTo>
                      <a:lnTo>
                        <a:pt x="703505" y="948811"/>
                      </a:lnTo>
                      <a:lnTo>
                        <a:pt x="712800" y="976775"/>
                      </a:lnTo>
                      <a:lnTo>
                        <a:pt x="702424" y="1005980"/>
                      </a:lnTo>
                      <a:lnTo>
                        <a:pt x="690601" y="1039971"/>
                      </a:lnTo>
                      <a:lnTo>
                        <a:pt x="658075" y="1042076"/>
                      </a:lnTo>
                      <a:lnTo>
                        <a:pt x="624002" y="1013712"/>
                      </a:lnTo>
                      <a:lnTo>
                        <a:pt x="577853" y="1013532"/>
                      </a:lnTo>
                      <a:lnTo>
                        <a:pt x="555459" y="994274"/>
                      </a:lnTo>
                      <a:lnTo>
                        <a:pt x="540056" y="959553"/>
                      </a:lnTo>
                      <a:lnTo>
                        <a:pt x="500057" y="914515"/>
                      </a:lnTo>
                      <a:lnTo>
                        <a:pt x="488356" y="890534"/>
                      </a:lnTo>
                      <a:lnTo>
                        <a:pt x="485207" y="857018"/>
                      </a:lnTo>
                      <a:lnTo>
                        <a:pt x="453236" y="822015"/>
                      </a:lnTo>
                      <a:lnTo>
                        <a:pt x="461547" y="793635"/>
                      </a:lnTo>
                      <a:lnTo>
                        <a:pt x="446139" y="779920"/>
                      </a:lnTo>
                      <a:lnTo>
                        <a:pt x="468961" y="733784"/>
                      </a:lnTo>
                      <a:lnTo>
                        <a:pt x="503701" y="718874"/>
                      </a:lnTo>
                      <a:lnTo>
                        <a:pt x="512818" y="701980"/>
                      </a:lnTo>
                      <a:lnTo>
                        <a:pt x="517647" y="670033"/>
                      </a:lnTo>
                      <a:lnTo>
                        <a:pt x="491278" y="684578"/>
                      </a:lnTo>
                      <a:lnTo>
                        <a:pt x="478713" y="690656"/>
                      </a:lnTo>
                      <a:lnTo>
                        <a:pt x="457976" y="696463"/>
                      </a:lnTo>
                      <a:lnTo>
                        <a:pt x="429652" y="683141"/>
                      </a:lnTo>
                      <a:lnTo>
                        <a:pt x="428114" y="655130"/>
                      </a:lnTo>
                      <a:lnTo>
                        <a:pt x="437143" y="632914"/>
                      </a:lnTo>
                      <a:lnTo>
                        <a:pt x="458553" y="632307"/>
                      </a:lnTo>
                      <a:lnTo>
                        <a:pt x="505669" y="643449"/>
                      </a:lnTo>
                      <a:lnTo>
                        <a:pt x="465984" y="616741"/>
                      </a:lnTo>
                      <a:lnTo>
                        <a:pt x="445329" y="602193"/>
                      </a:lnTo>
                      <a:lnTo>
                        <a:pt x="422343" y="608183"/>
                      </a:lnTo>
                      <a:lnTo>
                        <a:pt x="403077" y="597612"/>
                      </a:lnTo>
                      <a:lnTo>
                        <a:pt x="428848" y="557363"/>
                      </a:lnTo>
                      <a:lnTo>
                        <a:pt x="414811" y="541044"/>
                      </a:lnTo>
                      <a:lnTo>
                        <a:pt x="396490" y="510384"/>
                      </a:lnTo>
                      <a:lnTo>
                        <a:pt x="368708" y="462372"/>
                      </a:lnTo>
                      <a:lnTo>
                        <a:pt x="339320" y="444485"/>
                      </a:lnTo>
                      <a:lnTo>
                        <a:pt x="339588" y="425012"/>
                      </a:lnTo>
                      <a:lnTo>
                        <a:pt x="277647" y="397458"/>
                      </a:lnTo>
                      <a:lnTo>
                        <a:pt x="228642" y="394001"/>
                      </a:lnTo>
                      <a:lnTo>
                        <a:pt x="166950" y="395917"/>
                      </a:lnTo>
                      <a:lnTo>
                        <a:pt x="110626" y="399401"/>
                      </a:lnTo>
                      <a:lnTo>
                        <a:pt x="83839" y="384255"/>
                      </a:lnTo>
                      <a:lnTo>
                        <a:pt x="43728" y="353976"/>
                      </a:lnTo>
                      <a:lnTo>
                        <a:pt x="104340" y="338644"/>
                      </a:lnTo>
                      <a:lnTo>
                        <a:pt x="150799" y="336057"/>
                      </a:lnTo>
                      <a:lnTo>
                        <a:pt x="52030" y="323272"/>
                      </a:lnTo>
                      <a:lnTo>
                        <a:pt x="0" y="303018"/>
                      </a:lnTo>
                      <a:lnTo>
                        <a:pt x="3176" y="283537"/>
                      </a:lnTo>
                      <a:lnTo>
                        <a:pt x="90566" y="259123"/>
                      </a:lnTo>
                      <a:lnTo>
                        <a:pt x="175112" y="234419"/>
                      </a:lnTo>
                      <a:lnTo>
                        <a:pt x="184040" y="215493"/>
                      </a:lnTo>
                      <a:lnTo>
                        <a:pt x="121738" y="196620"/>
                      </a:lnTo>
                      <a:lnTo>
                        <a:pt x="141859" y="175438"/>
                      </a:lnTo>
                      <a:lnTo>
                        <a:pt x="221772" y="137740"/>
                      </a:lnTo>
                      <a:lnTo>
                        <a:pt x="255353" y="131885"/>
                      </a:lnTo>
                      <a:lnTo>
                        <a:pt x="245734" y="107124"/>
                      </a:lnTo>
                      <a:lnTo>
                        <a:pt x="300409" y="92461"/>
                      </a:lnTo>
                      <a:lnTo>
                        <a:pt x="371390" y="83651"/>
                      </a:lnTo>
                      <a:lnTo>
                        <a:pt x="442323" y="83152"/>
                      </a:lnTo>
                      <a:lnTo>
                        <a:pt x="467509" y="100570"/>
                      </a:lnTo>
                      <a:lnTo>
                        <a:pt x="528740" y="69654"/>
                      </a:lnTo>
                      <a:lnTo>
                        <a:pt x="583833" y="90716"/>
                      </a:lnTo>
                      <a:lnTo>
                        <a:pt x="616241" y="95126"/>
                      </a:lnTo>
                      <a:lnTo>
                        <a:pt x="664180" y="113202"/>
                      </a:lnTo>
                      <a:lnTo>
                        <a:pt x="609297" y="83143"/>
                      </a:lnTo>
                      <a:lnTo>
                        <a:pt x="612457" y="58909"/>
                      </a:lnTo>
                      <a:lnTo>
                        <a:pt x="689954" y="24556"/>
                      </a:lnTo>
                      <a:lnTo>
                        <a:pt x="770949" y="27166"/>
                      </a:lnTo>
                      <a:lnTo>
                        <a:pt x="800388" y="5647"/>
                      </a:lnTo>
                      <a:close/>
                    </a:path>
                  </a:pathLst>
                </a:custGeom>
                <a:solidFill>
                  <a:schemeClr val="accent1">
                    <a:lumMod val="20000"/>
                    <a:lumOff val="80000"/>
                  </a:schemeClr>
                </a:solidFill>
                <a:ln cap="rnd" w="3175">
                  <a:solidFill>
                    <a:srgbClr val="009fdf">
                      <a:lumMod val="60000"/>
                      <a:lumOff val="40000"/>
                    </a:srgbClr>
                  </a:solidFill>
                </a:ln>
              </p:spPr>
              <p:style>
                <a:lnRef idx="2">
                  <a:schemeClr val="accent1">
                    <a:shade val="50000"/>
                  </a:schemeClr>
                </a:lnRef>
                <a:fillRef idx="1">
                  <a:schemeClr val="accent1"/>
                </a:fillRef>
                <a:effectRef idx="0">
                  <a:schemeClr val="accent1"/>
                </a:effectRef>
                <a:fontRef idx="minor"/>
              </p:style>
              <p:txBody>
                <a:bodyPr numCol="1" spcCol="0" horzOverflow="overflow" lIns="72000" rIns="72000" tIns="72000" bIns="72000" anchor="ctr">
                  <a:noAutofit/>
                </a:bodyPr>
                <a:p>
                  <a:pPr algn="ctr" defTabSz="457200">
                    <a:lnSpc>
                      <a:spcPct val="100000"/>
                    </a:lnSpc>
                    <a:tabLst>
                      <a:tab algn="l" pos="0"/>
                    </a:tabLst>
                  </a:pPr>
                  <a:endParaRPr b="0" lang="de-DE" sz="1600" spc="-1" strike="noStrike">
                    <a:solidFill>
                      <a:srgbClr val="000000"/>
                    </a:solidFill>
                    <a:latin typeface="Arial"/>
                    <a:ea typeface="Arial"/>
                  </a:endParaRPr>
                </a:p>
              </p:txBody>
            </p:sp>
            <p:sp>
              <p:nvSpPr>
                <p:cNvPr id="537" name="Freihandform: Form 725"/>
                <p:cNvSpPr/>
                <p:nvPr/>
              </p:nvSpPr>
              <p:spPr>
                <a:xfrm>
                  <a:off x="3830040" y="5723640"/>
                  <a:ext cx="5291640" cy="685800"/>
                </a:xfrm>
                <a:custGeom>
                  <a:avLst/>
                  <a:gdLst>
                    <a:gd name="textAreaLeft" fmla="*/ 0 w 5291640"/>
                    <a:gd name="textAreaRight" fmla="*/ 5292000 w 5291640"/>
                    <a:gd name="textAreaTop" fmla="*/ 0 h 685800"/>
                    <a:gd name="textAreaBottom" fmla="*/ 686160 h 685800"/>
                  </a:gdLst>
                  <a:ahLst/>
                  <a:rect l="textAreaLeft" t="textAreaTop" r="textAreaRight" b="textAreaBottom"/>
                  <a:pathLst>
                    <a:path w="5291846" h="686209">
                      <a:moveTo>
                        <a:pt x="291829" y="633729"/>
                      </a:moveTo>
                      <a:cubicBezTo>
                        <a:pt x="288587" y="625048"/>
                        <a:pt x="287378" y="615532"/>
                        <a:pt x="282102" y="607685"/>
                      </a:cubicBezTo>
                      <a:cubicBezTo>
                        <a:pt x="265817" y="583463"/>
                        <a:pt x="259695" y="593347"/>
                        <a:pt x="233463" y="581642"/>
                      </a:cubicBezTo>
                      <a:cubicBezTo>
                        <a:pt x="223006" y="576976"/>
                        <a:pt x="213409" y="570797"/>
                        <a:pt x="204280" y="564280"/>
                      </a:cubicBezTo>
                      <a:cubicBezTo>
                        <a:pt x="196153" y="558477"/>
                        <a:pt x="190754" y="554403"/>
                        <a:pt x="187328" y="551613"/>
                      </a:cubicBezTo>
                      <a:lnTo>
                        <a:pt x="183581" y="547983"/>
                      </a:lnTo>
                      <a:lnTo>
                        <a:pt x="189319" y="550599"/>
                      </a:lnTo>
                      <a:cubicBezTo>
                        <a:pt x="199755" y="554778"/>
                        <a:pt x="181253" y="543992"/>
                        <a:pt x="182208" y="546653"/>
                      </a:cubicBezTo>
                      <a:lnTo>
                        <a:pt x="183581" y="547983"/>
                      </a:lnTo>
                      <a:lnTo>
                        <a:pt x="175311" y="544214"/>
                      </a:lnTo>
                      <a:cubicBezTo>
                        <a:pt x="168329" y="540855"/>
                        <a:pt x="158782" y="536116"/>
                        <a:pt x="145914" y="529554"/>
                      </a:cubicBezTo>
                      <a:cubicBezTo>
                        <a:pt x="135763" y="524378"/>
                        <a:pt x="127414" y="516429"/>
                        <a:pt x="116731" y="512192"/>
                      </a:cubicBezTo>
                      <a:cubicBezTo>
                        <a:pt x="116702" y="512181"/>
                        <a:pt x="43789" y="490494"/>
                        <a:pt x="29183" y="486149"/>
                      </a:cubicBezTo>
                      <a:lnTo>
                        <a:pt x="0" y="477467"/>
                      </a:lnTo>
                      <a:cubicBezTo>
                        <a:pt x="23019" y="463772"/>
                        <a:pt x="30981" y="455736"/>
                        <a:pt x="58366" y="451423"/>
                      </a:cubicBezTo>
                      <a:cubicBezTo>
                        <a:pt x="103525" y="444312"/>
                        <a:pt x="194553" y="434061"/>
                        <a:pt x="194553" y="434061"/>
                      </a:cubicBezTo>
                      <a:cubicBezTo>
                        <a:pt x="267820" y="390470"/>
                        <a:pt x="174704" y="441653"/>
                        <a:pt x="262646" y="408018"/>
                      </a:cubicBezTo>
                      <a:cubicBezTo>
                        <a:pt x="273392" y="403908"/>
                        <a:pt x="281372" y="395321"/>
                        <a:pt x="291829" y="390654"/>
                      </a:cubicBezTo>
                      <a:cubicBezTo>
                        <a:pt x="301000" y="386562"/>
                        <a:pt x="311284" y="384867"/>
                        <a:pt x="321012" y="381974"/>
                      </a:cubicBezTo>
                      <a:cubicBezTo>
                        <a:pt x="330740" y="376186"/>
                        <a:pt x="339248" y="368275"/>
                        <a:pt x="350195" y="364612"/>
                      </a:cubicBezTo>
                      <a:cubicBezTo>
                        <a:pt x="365676" y="359431"/>
                        <a:pt x="382794" y="359509"/>
                        <a:pt x="398834" y="355930"/>
                      </a:cubicBezTo>
                      <a:cubicBezTo>
                        <a:pt x="408782" y="353711"/>
                        <a:pt x="418416" y="350461"/>
                        <a:pt x="428017" y="347249"/>
                      </a:cubicBezTo>
                      <a:cubicBezTo>
                        <a:pt x="535328" y="311336"/>
                        <a:pt x="424296" y="344477"/>
                        <a:pt x="515566" y="321205"/>
                      </a:cubicBezTo>
                      <a:cubicBezTo>
                        <a:pt x="534884" y="316279"/>
                        <a:pt x="564200" y="304928"/>
                        <a:pt x="583659" y="303843"/>
                      </a:cubicBezTo>
                      <a:cubicBezTo>
                        <a:pt x="674332" y="298785"/>
                        <a:pt x="765242" y="298055"/>
                        <a:pt x="856034" y="295161"/>
                      </a:cubicBezTo>
                      <a:cubicBezTo>
                        <a:pt x="907915" y="298055"/>
                        <a:pt x="959928" y="299444"/>
                        <a:pt x="1011676" y="303843"/>
                      </a:cubicBezTo>
                      <a:cubicBezTo>
                        <a:pt x="1028135" y="305242"/>
                        <a:pt x="1043925" y="310574"/>
                        <a:pt x="1060314" y="312524"/>
                      </a:cubicBezTo>
                      <a:cubicBezTo>
                        <a:pt x="1092616" y="316368"/>
                        <a:pt x="1125165" y="318312"/>
                        <a:pt x="1157591" y="321205"/>
                      </a:cubicBezTo>
                      <a:cubicBezTo>
                        <a:pt x="1167319" y="318312"/>
                        <a:pt x="1178430" y="317843"/>
                        <a:pt x="1186774" y="312524"/>
                      </a:cubicBezTo>
                      <a:cubicBezTo>
                        <a:pt x="1217245" y="293101"/>
                        <a:pt x="1217055" y="270805"/>
                        <a:pt x="1254868" y="269118"/>
                      </a:cubicBezTo>
                      <a:cubicBezTo>
                        <a:pt x="1374736" y="263769"/>
                        <a:pt x="1494817" y="263330"/>
                        <a:pt x="1614791" y="260437"/>
                      </a:cubicBezTo>
                      <a:cubicBezTo>
                        <a:pt x="1640731" y="257543"/>
                        <a:pt x="1666510" y="253050"/>
                        <a:pt x="1692612" y="251755"/>
                      </a:cubicBezTo>
                      <a:cubicBezTo>
                        <a:pt x="1783322" y="247258"/>
                        <a:pt x="1876514" y="261497"/>
                        <a:pt x="1964987" y="243074"/>
                      </a:cubicBezTo>
                      <a:cubicBezTo>
                        <a:pt x="1984958" y="238915"/>
                        <a:pt x="1979468" y="208741"/>
                        <a:pt x="1984442" y="190987"/>
                      </a:cubicBezTo>
                      <a:cubicBezTo>
                        <a:pt x="1987685" y="179412"/>
                        <a:pt x="1991778" y="168001"/>
                        <a:pt x="1994170" y="156262"/>
                      </a:cubicBezTo>
                      <a:cubicBezTo>
                        <a:pt x="1998272" y="136130"/>
                        <a:pt x="1988799" y="110893"/>
                        <a:pt x="2003897" y="95493"/>
                      </a:cubicBezTo>
                      <a:cubicBezTo>
                        <a:pt x="2016885" y="82246"/>
                        <a:pt x="2042808" y="89706"/>
                        <a:pt x="2062263" y="86812"/>
                      </a:cubicBezTo>
                      <a:cubicBezTo>
                        <a:pt x="2148288" y="48428"/>
                        <a:pt x="2119578" y="70390"/>
                        <a:pt x="2159540" y="34725"/>
                      </a:cubicBezTo>
                      <a:cubicBezTo>
                        <a:pt x="2174132" y="37619"/>
                        <a:pt x="2149812" y="83919"/>
                        <a:pt x="2149812" y="104175"/>
                      </a:cubicBezTo>
                      <a:cubicBezTo>
                        <a:pt x="2149812" y="124431"/>
                        <a:pt x="2154756" y="139186"/>
                        <a:pt x="2159540" y="156262"/>
                      </a:cubicBezTo>
                      <a:cubicBezTo>
                        <a:pt x="2159543" y="156275"/>
                        <a:pt x="2183857" y="221366"/>
                        <a:pt x="2188723" y="234393"/>
                      </a:cubicBezTo>
                      <a:cubicBezTo>
                        <a:pt x="2191966" y="243075"/>
                        <a:pt x="2195964" y="251559"/>
                        <a:pt x="2198451" y="260437"/>
                      </a:cubicBezTo>
                      <a:cubicBezTo>
                        <a:pt x="2201693" y="272012"/>
                        <a:pt x="2203484" y="283990"/>
                        <a:pt x="2208178" y="295161"/>
                      </a:cubicBezTo>
                      <a:cubicBezTo>
                        <a:pt x="2213270" y="307279"/>
                        <a:pt x="2221922" y="317991"/>
                        <a:pt x="2227634" y="329887"/>
                      </a:cubicBezTo>
                      <a:cubicBezTo>
                        <a:pt x="2231673" y="338298"/>
                        <a:pt x="2234119" y="347249"/>
                        <a:pt x="2237361" y="355930"/>
                      </a:cubicBezTo>
                      <a:cubicBezTo>
                        <a:pt x="2234119" y="364612"/>
                        <a:pt x="2235978" y="376655"/>
                        <a:pt x="2227634" y="381974"/>
                      </a:cubicBezTo>
                      <a:cubicBezTo>
                        <a:pt x="2210946" y="392612"/>
                        <a:pt x="2188723" y="393549"/>
                        <a:pt x="2169268" y="399336"/>
                      </a:cubicBezTo>
                      <a:cubicBezTo>
                        <a:pt x="2159540" y="402230"/>
                        <a:pt x="2150033" y="405798"/>
                        <a:pt x="2140085" y="408018"/>
                      </a:cubicBezTo>
                      <a:cubicBezTo>
                        <a:pt x="2091226" y="418918"/>
                        <a:pt x="2113857" y="412925"/>
                        <a:pt x="2071991" y="425380"/>
                      </a:cubicBezTo>
                      <a:cubicBezTo>
                        <a:pt x="2060032" y="489413"/>
                        <a:pt x="2050634" y="514084"/>
                        <a:pt x="2071991" y="590323"/>
                      </a:cubicBezTo>
                      <a:cubicBezTo>
                        <a:pt x="2074855" y="600545"/>
                        <a:pt x="2119120" y="629272"/>
                        <a:pt x="2130357" y="633729"/>
                      </a:cubicBezTo>
                      <a:cubicBezTo>
                        <a:pt x="2149097" y="641162"/>
                        <a:pt x="2188723" y="651091"/>
                        <a:pt x="2188723" y="651091"/>
                      </a:cubicBezTo>
                      <a:cubicBezTo>
                        <a:pt x="2201693" y="662666"/>
                        <a:pt x="2209839" y="689787"/>
                        <a:pt x="2227634" y="685816"/>
                      </a:cubicBezTo>
                      <a:cubicBezTo>
                        <a:pt x="2240604" y="682922"/>
                        <a:pt x="2253689" y="680413"/>
                        <a:pt x="2266544" y="677135"/>
                      </a:cubicBezTo>
                      <a:cubicBezTo>
                        <a:pt x="2276403" y="674621"/>
                        <a:pt x="2285672" y="670249"/>
                        <a:pt x="2295727" y="668454"/>
                      </a:cubicBezTo>
                      <a:cubicBezTo>
                        <a:pt x="2318210" y="664441"/>
                        <a:pt x="2341205" y="663137"/>
                        <a:pt x="2363821" y="659773"/>
                      </a:cubicBezTo>
                      <a:cubicBezTo>
                        <a:pt x="2484429" y="641833"/>
                        <a:pt x="2316169" y="658903"/>
                        <a:pt x="2519463" y="642411"/>
                      </a:cubicBezTo>
                      <a:cubicBezTo>
                        <a:pt x="2532433" y="639516"/>
                        <a:pt x="2545220" y="635864"/>
                        <a:pt x="2558374" y="633729"/>
                      </a:cubicBezTo>
                      <a:cubicBezTo>
                        <a:pt x="2580933" y="630068"/>
                        <a:pt x="2604507" y="630927"/>
                        <a:pt x="2626468" y="625048"/>
                      </a:cubicBezTo>
                      <a:cubicBezTo>
                        <a:pt x="2637666" y="622050"/>
                        <a:pt x="2644560" y="610985"/>
                        <a:pt x="2655651" y="607685"/>
                      </a:cubicBezTo>
                      <a:cubicBezTo>
                        <a:pt x="2674363" y="602119"/>
                        <a:pt x="2694611" y="602152"/>
                        <a:pt x="2714017" y="599004"/>
                      </a:cubicBezTo>
                      <a:cubicBezTo>
                        <a:pt x="2730284" y="596364"/>
                        <a:pt x="2746615" y="593902"/>
                        <a:pt x="2762655" y="590323"/>
                      </a:cubicBezTo>
                      <a:cubicBezTo>
                        <a:pt x="2772603" y="588104"/>
                        <a:pt x="2781783" y="583436"/>
                        <a:pt x="2791838" y="581642"/>
                      </a:cubicBezTo>
                      <a:cubicBezTo>
                        <a:pt x="2814321" y="577628"/>
                        <a:pt x="2837233" y="575854"/>
                        <a:pt x="2859931" y="572960"/>
                      </a:cubicBezTo>
                      <a:cubicBezTo>
                        <a:pt x="2849092" y="534265"/>
                        <a:pt x="2859657" y="546672"/>
                        <a:pt x="2801566" y="520873"/>
                      </a:cubicBezTo>
                      <a:lnTo>
                        <a:pt x="2918297" y="399336"/>
                      </a:lnTo>
                      <a:lnTo>
                        <a:pt x="3064212" y="399336"/>
                      </a:lnTo>
                      <a:lnTo>
                        <a:pt x="3190672" y="399336"/>
                      </a:lnTo>
                      <a:lnTo>
                        <a:pt x="3239310" y="312524"/>
                      </a:lnTo>
                      <a:lnTo>
                        <a:pt x="3394953" y="217030"/>
                      </a:lnTo>
                      <a:lnTo>
                        <a:pt x="3842425" y="164943"/>
                      </a:lnTo>
                      <a:lnTo>
                        <a:pt x="4270442" y="156262"/>
                      </a:lnTo>
                      <a:lnTo>
                        <a:pt x="4396902" y="95493"/>
                      </a:lnTo>
                      <a:lnTo>
                        <a:pt x="4464995" y="156262"/>
                      </a:lnTo>
                      <a:lnTo>
                        <a:pt x="4688731" y="34725"/>
                      </a:lnTo>
                      <a:lnTo>
                        <a:pt x="4824919" y="0"/>
                      </a:lnTo>
                      <a:cubicBezTo>
                        <a:pt x="4847617" y="14469"/>
                        <a:pt x="4873288" y="25804"/>
                        <a:pt x="4893012" y="43406"/>
                      </a:cubicBezTo>
                      <a:cubicBezTo>
                        <a:pt x="4944893" y="89706"/>
                        <a:pt x="4854102" y="54981"/>
                        <a:pt x="4931923" y="78131"/>
                      </a:cubicBezTo>
                      <a:cubicBezTo>
                        <a:pt x="4974076" y="75237"/>
                        <a:pt x="5016364" y="73617"/>
                        <a:pt x="5058383" y="69450"/>
                      </a:cubicBezTo>
                      <a:cubicBezTo>
                        <a:pt x="5074816" y="67820"/>
                        <a:pt x="5090487" y="60768"/>
                        <a:pt x="5107021" y="60768"/>
                      </a:cubicBezTo>
                      <a:cubicBezTo>
                        <a:pt x="5133163" y="60768"/>
                        <a:pt x="5158902" y="66556"/>
                        <a:pt x="5184842" y="69450"/>
                      </a:cubicBezTo>
                      <a:cubicBezTo>
                        <a:pt x="5165667" y="120788"/>
                        <a:pt x="5154068" y="125960"/>
                        <a:pt x="5175114" y="182306"/>
                      </a:cubicBezTo>
                      <a:cubicBezTo>
                        <a:pt x="5178014" y="190071"/>
                        <a:pt x="5186706" y="195457"/>
                        <a:pt x="5194570" y="199668"/>
                      </a:cubicBezTo>
                      <a:cubicBezTo>
                        <a:pt x="5203363" y="204377"/>
                        <a:pt x="5214025" y="205456"/>
                        <a:pt x="5223753" y="208350"/>
                      </a:cubicBezTo>
                      <a:cubicBezTo>
                        <a:pt x="5246451" y="205456"/>
                        <a:pt x="5270973" y="208135"/>
                        <a:pt x="5291846" y="199668"/>
                      </a:cubicBezTo>
                    </a:path>
                  </a:pathLst>
                </a:custGeom>
                <a:noFill/>
                <a:ln w="3175">
                  <a:solidFill>
                    <a:srgbClr val="009fdf">
                      <a:lumMod val="60000"/>
                      <a:lumOff val="40000"/>
                    </a:srgbClr>
                  </a:solidFill>
                </a:ln>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defTabSz="457200">
                    <a:lnSpc>
                      <a:spcPct val="100000"/>
                    </a:lnSpc>
                    <a:tabLst>
                      <a:tab algn="l" pos="0"/>
                    </a:tabLst>
                  </a:pPr>
                  <a:endParaRPr b="0" lang="de-DE" sz="1600" spc="-1" strike="noStrike">
                    <a:solidFill>
                      <a:srgbClr val="000000"/>
                    </a:solidFill>
                    <a:latin typeface="Arial"/>
                    <a:ea typeface="Arial"/>
                  </a:endParaRPr>
                </a:p>
              </p:txBody>
            </p:sp>
          </p:grpSp>
          <p:grpSp>
            <p:nvGrpSpPr>
              <p:cNvPr id="538" name="Beschriftungen"/>
              <p:cNvGrpSpPr/>
              <p:nvPr/>
            </p:nvGrpSpPr>
            <p:grpSpPr>
              <a:xfrm>
                <a:off x="4893480" y="2439720"/>
                <a:ext cx="6046560" cy="2561400"/>
                <a:chOff x="4893480" y="2439720"/>
                <a:chExt cx="6046560" cy="2561400"/>
              </a:xfrm>
            </p:grpSpPr>
            <p:sp>
              <p:nvSpPr>
                <p:cNvPr id="539" name="Textfeld 265"/>
                <p:cNvSpPr/>
                <p:nvPr/>
              </p:nvSpPr>
              <p:spPr>
                <a:xfrm>
                  <a:off x="8063640" y="3779640"/>
                  <a:ext cx="245880" cy="100080"/>
                </a:xfrm>
                <a:prstGeom prst="rect">
                  <a:avLst/>
                </a:prstGeom>
                <a:noFill/>
                <a:ln w="0">
                  <a:noFill/>
                </a:ln>
              </p:spPr>
              <p:style>
                <a:lnRef idx="0"/>
                <a:fillRef idx="0"/>
                <a:effectRef idx="0"/>
                <a:fontRef idx="minor"/>
              </p:style>
              <p:txBody>
                <a:bodyPr lIns="0" rIns="0" tIns="0" bIns="0" anchor="t">
                  <a:noAutofit/>
                </a:bodyPr>
                <a:p>
                  <a:pPr defTabSz="457200">
                    <a:lnSpc>
                      <a:spcPct val="100000"/>
                    </a:lnSpc>
                    <a:tabLst>
                      <a:tab algn="l" pos="0"/>
                    </a:tabLst>
                  </a:pPr>
                  <a:r>
                    <a:rPr b="0" lang="de-DE" sz="500" spc="-1" strike="noStrike">
                      <a:solidFill>
                        <a:srgbClr val="004b7d"/>
                      </a:solidFill>
                      <a:latin typeface="Arial"/>
                      <a:ea typeface="Arial"/>
                    </a:rPr>
                    <a:t>Sudan</a:t>
                  </a:r>
                  <a:endParaRPr b="0" lang="en-US" sz="500" spc="-1" strike="noStrike">
                    <a:solidFill>
                      <a:srgbClr val="ffffff"/>
                    </a:solidFill>
                    <a:latin typeface="Calibri"/>
                  </a:endParaRPr>
                </a:p>
              </p:txBody>
            </p:sp>
            <p:sp>
              <p:nvSpPr>
                <p:cNvPr id="540" name="Textfeld 266"/>
                <p:cNvSpPr/>
                <p:nvPr/>
              </p:nvSpPr>
              <p:spPr>
                <a:xfrm>
                  <a:off x="7684200" y="4051800"/>
                  <a:ext cx="382320" cy="100080"/>
                </a:xfrm>
                <a:prstGeom prst="rect">
                  <a:avLst/>
                </a:prstGeom>
                <a:noFill/>
                <a:ln w="0">
                  <a:noFill/>
                </a:ln>
              </p:spPr>
              <p:style>
                <a:lnRef idx="0"/>
                <a:fillRef idx="0"/>
                <a:effectRef idx="0"/>
                <a:fontRef idx="minor"/>
              </p:style>
              <p:txBody>
                <a:bodyPr lIns="0" rIns="0" tIns="0" bIns="0" anchor="t">
                  <a:noAutofit/>
                </a:bodyPr>
                <a:p>
                  <a:pPr defTabSz="457200">
                    <a:lnSpc>
                      <a:spcPct val="100000"/>
                    </a:lnSpc>
                    <a:tabLst>
                      <a:tab algn="l" pos="0"/>
                    </a:tabLst>
                  </a:pPr>
                  <a:r>
                    <a:rPr b="0" lang="de-DE" sz="500" spc="-1" strike="noStrike">
                      <a:solidFill>
                        <a:srgbClr val="004b7d"/>
                      </a:solidFill>
                      <a:latin typeface="Arial"/>
                      <a:ea typeface="Arial"/>
                    </a:rPr>
                    <a:t>Kamerun</a:t>
                  </a:r>
                  <a:endParaRPr b="0" lang="en-US" sz="500" spc="-1" strike="noStrike">
                    <a:solidFill>
                      <a:srgbClr val="ffffff"/>
                    </a:solidFill>
                    <a:latin typeface="Calibri"/>
                  </a:endParaRPr>
                </a:p>
              </p:txBody>
            </p:sp>
            <p:sp>
              <p:nvSpPr>
                <p:cNvPr id="541" name="Textfeld 267"/>
                <p:cNvSpPr/>
                <p:nvPr/>
              </p:nvSpPr>
              <p:spPr>
                <a:xfrm>
                  <a:off x="7918200" y="4901040"/>
                  <a:ext cx="382320" cy="100080"/>
                </a:xfrm>
                <a:prstGeom prst="rect">
                  <a:avLst/>
                </a:prstGeom>
                <a:noFill/>
                <a:ln w="0">
                  <a:noFill/>
                </a:ln>
              </p:spPr>
              <p:style>
                <a:lnRef idx="0"/>
                <a:fillRef idx="0"/>
                <a:effectRef idx="0"/>
                <a:fontRef idx="minor"/>
              </p:style>
              <p:txBody>
                <a:bodyPr lIns="0" rIns="0" tIns="0" bIns="0" anchor="t">
                  <a:noAutofit/>
                </a:bodyPr>
                <a:p>
                  <a:pPr defTabSz="457200">
                    <a:lnSpc>
                      <a:spcPct val="100000"/>
                    </a:lnSpc>
                    <a:tabLst>
                      <a:tab algn="l" pos="0"/>
                    </a:tabLst>
                  </a:pPr>
                  <a:r>
                    <a:rPr b="0" lang="de-DE" sz="500" spc="-1" strike="noStrike">
                      <a:solidFill>
                        <a:srgbClr val="004b7d"/>
                      </a:solidFill>
                      <a:latin typeface="Arial"/>
                      <a:ea typeface="Arial"/>
                    </a:rPr>
                    <a:t>Südafrika</a:t>
                  </a:r>
                  <a:endParaRPr b="0" lang="en-US" sz="500" spc="-1" strike="noStrike">
                    <a:solidFill>
                      <a:srgbClr val="ffffff"/>
                    </a:solidFill>
                    <a:latin typeface="Calibri"/>
                  </a:endParaRPr>
                </a:p>
              </p:txBody>
            </p:sp>
            <p:sp>
              <p:nvSpPr>
                <p:cNvPr id="542" name="Textfeld 268"/>
                <p:cNvSpPr/>
                <p:nvPr/>
              </p:nvSpPr>
              <p:spPr>
                <a:xfrm>
                  <a:off x="7405560" y="3613680"/>
                  <a:ext cx="382320" cy="100080"/>
                </a:xfrm>
                <a:prstGeom prst="rect">
                  <a:avLst/>
                </a:prstGeom>
                <a:noFill/>
                <a:ln w="0">
                  <a:noFill/>
                </a:ln>
              </p:spPr>
              <p:style>
                <a:lnRef idx="0"/>
                <a:fillRef idx="0"/>
                <a:effectRef idx="0"/>
                <a:fontRef idx="minor"/>
              </p:style>
              <p:txBody>
                <a:bodyPr lIns="0" rIns="0" tIns="0" bIns="0" anchor="t">
                  <a:noAutofit/>
                </a:bodyPr>
                <a:p>
                  <a:pPr defTabSz="457200">
                    <a:lnSpc>
                      <a:spcPct val="100000"/>
                    </a:lnSpc>
                    <a:tabLst>
                      <a:tab algn="l" pos="0"/>
                    </a:tabLst>
                  </a:pPr>
                  <a:r>
                    <a:rPr b="0" lang="de-DE" sz="500" spc="-1" strike="noStrike">
                      <a:solidFill>
                        <a:srgbClr val="004b7d"/>
                      </a:solidFill>
                      <a:latin typeface="Arial"/>
                      <a:ea typeface="Arial"/>
                    </a:rPr>
                    <a:t>Algerien</a:t>
                  </a:r>
                  <a:endParaRPr b="0" lang="en-US" sz="500" spc="-1" strike="noStrike">
                    <a:solidFill>
                      <a:srgbClr val="ffffff"/>
                    </a:solidFill>
                    <a:latin typeface="Calibri"/>
                  </a:endParaRPr>
                </a:p>
              </p:txBody>
            </p:sp>
            <p:sp>
              <p:nvSpPr>
                <p:cNvPr id="543" name="Textfeld 269"/>
                <p:cNvSpPr/>
                <p:nvPr/>
              </p:nvSpPr>
              <p:spPr>
                <a:xfrm>
                  <a:off x="8974800" y="2439720"/>
                  <a:ext cx="376920" cy="100080"/>
                </a:xfrm>
                <a:prstGeom prst="rect">
                  <a:avLst/>
                </a:prstGeom>
                <a:noFill/>
                <a:ln w="0">
                  <a:noFill/>
                </a:ln>
              </p:spPr>
              <p:style>
                <a:lnRef idx="0"/>
                <a:fillRef idx="0"/>
                <a:effectRef idx="0"/>
                <a:fontRef idx="minor"/>
              </p:style>
              <p:txBody>
                <a:bodyPr lIns="0" rIns="0" tIns="0" bIns="0" anchor="t">
                  <a:noAutofit/>
                </a:bodyPr>
                <a:p>
                  <a:pPr defTabSz="457200">
                    <a:lnSpc>
                      <a:spcPct val="100000"/>
                    </a:lnSpc>
                    <a:tabLst>
                      <a:tab algn="l" pos="0"/>
                    </a:tabLst>
                  </a:pPr>
                  <a:r>
                    <a:rPr b="0" lang="de-DE" sz="500" spc="-1" strike="noStrike">
                      <a:solidFill>
                        <a:srgbClr val="004b7d"/>
                      </a:solidFill>
                      <a:latin typeface="Arial"/>
                      <a:ea typeface="Arial"/>
                    </a:rPr>
                    <a:t>Russland</a:t>
                  </a:r>
                  <a:endParaRPr b="0" lang="en-US" sz="500" spc="-1" strike="noStrike">
                    <a:solidFill>
                      <a:srgbClr val="ffffff"/>
                    </a:solidFill>
                    <a:latin typeface="Calibri"/>
                  </a:endParaRPr>
                </a:p>
              </p:txBody>
            </p:sp>
            <p:sp>
              <p:nvSpPr>
                <p:cNvPr id="544" name="Textfeld 270"/>
                <p:cNvSpPr/>
                <p:nvPr/>
              </p:nvSpPr>
              <p:spPr>
                <a:xfrm>
                  <a:off x="9595800" y="3006360"/>
                  <a:ext cx="376920" cy="100080"/>
                </a:xfrm>
                <a:prstGeom prst="rect">
                  <a:avLst/>
                </a:prstGeom>
                <a:noFill/>
                <a:ln w="0">
                  <a:noFill/>
                </a:ln>
              </p:spPr>
              <p:style>
                <a:lnRef idx="0"/>
                <a:fillRef idx="0"/>
                <a:effectRef idx="0"/>
                <a:fontRef idx="minor"/>
              </p:style>
              <p:txBody>
                <a:bodyPr lIns="0" rIns="0" tIns="0" bIns="0" anchor="t">
                  <a:noAutofit/>
                </a:bodyPr>
                <a:p>
                  <a:pPr defTabSz="457200">
                    <a:lnSpc>
                      <a:spcPct val="100000"/>
                    </a:lnSpc>
                    <a:tabLst>
                      <a:tab algn="l" pos="0"/>
                    </a:tabLst>
                  </a:pPr>
                  <a:r>
                    <a:rPr b="0" lang="de-DE" sz="500" spc="-1" strike="noStrike">
                      <a:solidFill>
                        <a:srgbClr val="004b7d"/>
                      </a:solidFill>
                      <a:latin typeface="Arial"/>
                      <a:ea typeface="Arial"/>
                    </a:rPr>
                    <a:t>Mongolei</a:t>
                  </a:r>
                  <a:endParaRPr b="0" lang="en-US" sz="500" spc="-1" strike="noStrike">
                    <a:solidFill>
                      <a:srgbClr val="ffffff"/>
                    </a:solidFill>
                    <a:latin typeface="Calibri"/>
                  </a:endParaRPr>
                </a:p>
              </p:txBody>
            </p:sp>
            <p:sp>
              <p:nvSpPr>
                <p:cNvPr id="545" name="Textfeld 271"/>
                <p:cNvSpPr/>
                <p:nvPr/>
              </p:nvSpPr>
              <p:spPr>
                <a:xfrm>
                  <a:off x="9680040" y="3292200"/>
                  <a:ext cx="376920" cy="100080"/>
                </a:xfrm>
                <a:prstGeom prst="rect">
                  <a:avLst/>
                </a:prstGeom>
                <a:noFill/>
                <a:ln w="0">
                  <a:noFill/>
                </a:ln>
              </p:spPr>
              <p:style>
                <a:lnRef idx="0"/>
                <a:fillRef idx="0"/>
                <a:effectRef idx="0"/>
                <a:fontRef idx="minor"/>
              </p:style>
              <p:txBody>
                <a:bodyPr lIns="0" rIns="0" tIns="0" bIns="0" anchor="t">
                  <a:noAutofit/>
                </a:bodyPr>
                <a:p>
                  <a:pPr defTabSz="457200">
                    <a:lnSpc>
                      <a:spcPct val="100000"/>
                    </a:lnSpc>
                    <a:tabLst>
                      <a:tab algn="l" pos="0"/>
                    </a:tabLst>
                  </a:pPr>
                  <a:r>
                    <a:rPr b="0" lang="de-DE" sz="500" spc="-1" strike="noStrike">
                      <a:solidFill>
                        <a:srgbClr val="004b7d"/>
                      </a:solidFill>
                      <a:latin typeface="Arial"/>
                      <a:ea typeface="Arial"/>
                    </a:rPr>
                    <a:t>China</a:t>
                  </a:r>
                  <a:endParaRPr b="0" lang="en-US" sz="500" spc="-1" strike="noStrike">
                    <a:solidFill>
                      <a:srgbClr val="ffffff"/>
                    </a:solidFill>
                    <a:latin typeface="Calibri"/>
                  </a:endParaRPr>
                </a:p>
              </p:txBody>
            </p:sp>
            <p:sp>
              <p:nvSpPr>
                <p:cNvPr id="546" name="Textfeld 272"/>
                <p:cNvSpPr/>
                <p:nvPr/>
              </p:nvSpPr>
              <p:spPr>
                <a:xfrm>
                  <a:off x="8883000" y="2970360"/>
                  <a:ext cx="376920" cy="100080"/>
                </a:xfrm>
                <a:prstGeom prst="rect">
                  <a:avLst/>
                </a:prstGeom>
                <a:noFill/>
                <a:ln w="0">
                  <a:noFill/>
                </a:ln>
              </p:spPr>
              <p:style>
                <a:lnRef idx="0"/>
                <a:fillRef idx="0"/>
                <a:effectRef idx="0"/>
                <a:fontRef idx="minor"/>
              </p:style>
              <p:txBody>
                <a:bodyPr lIns="0" rIns="0" tIns="0" bIns="0" anchor="t">
                  <a:noAutofit/>
                </a:bodyPr>
                <a:p>
                  <a:pPr defTabSz="457200">
                    <a:lnSpc>
                      <a:spcPct val="100000"/>
                    </a:lnSpc>
                    <a:tabLst>
                      <a:tab algn="l" pos="0"/>
                    </a:tabLst>
                  </a:pPr>
                  <a:r>
                    <a:rPr b="0" lang="de-DE" sz="500" spc="-1" strike="noStrike">
                      <a:solidFill>
                        <a:srgbClr val="004b7d"/>
                      </a:solidFill>
                      <a:latin typeface="Arial"/>
                      <a:ea typeface="Arial"/>
                    </a:rPr>
                    <a:t>Kasachstan</a:t>
                  </a:r>
                  <a:endParaRPr b="0" lang="en-US" sz="500" spc="-1" strike="noStrike">
                    <a:solidFill>
                      <a:srgbClr val="ffffff"/>
                    </a:solidFill>
                    <a:latin typeface="Calibri"/>
                  </a:endParaRPr>
                </a:p>
              </p:txBody>
            </p:sp>
            <p:sp>
              <p:nvSpPr>
                <p:cNvPr id="547" name="Textfeld 273"/>
                <p:cNvSpPr/>
                <p:nvPr/>
              </p:nvSpPr>
              <p:spPr>
                <a:xfrm>
                  <a:off x="9174600" y="3637800"/>
                  <a:ext cx="252720" cy="100080"/>
                </a:xfrm>
                <a:prstGeom prst="rect">
                  <a:avLst/>
                </a:prstGeom>
                <a:noFill/>
                <a:ln w="0">
                  <a:noFill/>
                </a:ln>
              </p:spPr>
              <p:style>
                <a:lnRef idx="0"/>
                <a:fillRef idx="0"/>
                <a:effectRef idx="0"/>
                <a:fontRef idx="minor"/>
              </p:style>
              <p:txBody>
                <a:bodyPr lIns="0" rIns="0" tIns="0" bIns="0" anchor="t">
                  <a:noAutofit/>
                </a:bodyPr>
                <a:p>
                  <a:pPr defTabSz="457200">
                    <a:lnSpc>
                      <a:spcPct val="100000"/>
                    </a:lnSpc>
                    <a:tabLst>
                      <a:tab algn="l" pos="0"/>
                    </a:tabLst>
                  </a:pPr>
                  <a:r>
                    <a:rPr b="0" lang="de-DE" sz="500" spc="-1" strike="noStrike">
                      <a:solidFill>
                        <a:srgbClr val="004b7d"/>
                      </a:solidFill>
                      <a:latin typeface="Arial"/>
                      <a:ea typeface="Arial"/>
                    </a:rPr>
                    <a:t>Indien</a:t>
                  </a:r>
                  <a:endParaRPr b="0" lang="en-US" sz="500" spc="-1" strike="noStrike">
                    <a:solidFill>
                      <a:srgbClr val="ffffff"/>
                    </a:solidFill>
                    <a:latin typeface="Calibri"/>
                  </a:endParaRPr>
                </a:p>
              </p:txBody>
            </p:sp>
            <p:sp>
              <p:nvSpPr>
                <p:cNvPr id="548" name="Textfeld 274"/>
                <p:cNvSpPr/>
                <p:nvPr/>
              </p:nvSpPr>
              <p:spPr>
                <a:xfrm>
                  <a:off x="9555120" y="3495240"/>
                  <a:ext cx="436320" cy="100080"/>
                </a:xfrm>
                <a:prstGeom prst="rect">
                  <a:avLst/>
                </a:prstGeom>
                <a:noFill/>
                <a:ln w="0">
                  <a:noFill/>
                </a:ln>
              </p:spPr>
              <p:style>
                <a:lnRef idx="0"/>
                <a:fillRef idx="0"/>
                <a:effectRef idx="0"/>
                <a:fontRef idx="minor"/>
              </p:style>
              <p:txBody>
                <a:bodyPr lIns="0" rIns="0" tIns="0" bIns="0" anchor="t">
                  <a:noAutofit/>
                </a:bodyPr>
                <a:p>
                  <a:pPr defTabSz="457200">
                    <a:lnSpc>
                      <a:spcPct val="100000"/>
                    </a:lnSpc>
                    <a:tabLst>
                      <a:tab algn="l" pos="0"/>
                    </a:tabLst>
                  </a:pPr>
                  <a:r>
                    <a:rPr b="0" lang="de-DE" sz="500" spc="-1" strike="noStrike">
                      <a:solidFill>
                        <a:srgbClr val="004b7d"/>
                      </a:solidFill>
                      <a:latin typeface="Arial"/>
                      <a:ea typeface="Arial"/>
                    </a:rPr>
                    <a:t>Bangladesch</a:t>
                  </a:r>
                  <a:endParaRPr b="0" lang="en-US" sz="500" spc="-1" strike="noStrike">
                    <a:solidFill>
                      <a:srgbClr val="ffffff"/>
                    </a:solidFill>
                    <a:latin typeface="Calibri"/>
                  </a:endParaRPr>
                </a:p>
              </p:txBody>
            </p:sp>
            <p:sp>
              <p:nvSpPr>
                <p:cNvPr id="549" name="Textfeld 275"/>
                <p:cNvSpPr/>
                <p:nvPr/>
              </p:nvSpPr>
              <p:spPr>
                <a:xfrm>
                  <a:off x="9736200" y="3763080"/>
                  <a:ext cx="270000" cy="100080"/>
                </a:xfrm>
                <a:prstGeom prst="rect">
                  <a:avLst/>
                </a:prstGeom>
                <a:noFill/>
                <a:ln w="0">
                  <a:noFill/>
                </a:ln>
              </p:spPr>
              <p:style>
                <a:lnRef idx="0"/>
                <a:fillRef idx="0"/>
                <a:effectRef idx="0"/>
                <a:fontRef idx="minor"/>
              </p:style>
              <p:txBody>
                <a:bodyPr lIns="0" rIns="0" tIns="0" bIns="0" anchor="t">
                  <a:noAutofit/>
                </a:bodyPr>
                <a:p>
                  <a:pPr defTabSz="457200">
                    <a:lnSpc>
                      <a:spcPct val="100000"/>
                    </a:lnSpc>
                    <a:tabLst>
                      <a:tab algn="l" pos="0"/>
                    </a:tabLst>
                  </a:pPr>
                  <a:r>
                    <a:rPr b="0" lang="de-DE" sz="500" spc="-1" strike="noStrike">
                      <a:solidFill>
                        <a:srgbClr val="004b7d"/>
                      </a:solidFill>
                      <a:latin typeface="Arial"/>
                      <a:ea typeface="Arial"/>
                    </a:rPr>
                    <a:t>Thailand</a:t>
                  </a:r>
                  <a:endParaRPr b="0" lang="en-US" sz="500" spc="-1" strike="noStrike">
                    <a:solidFill>
                      <a:srgbClr val="ffffff"/>
                    </a:solidFill>
                    <a:latin typeface="Calibri"/>
                  </a:endParaRPr>
                </a:p>
              </p:txBody>
            </p:sp>
            <p:sp>
              <p:nvSpPr>
                <p:cNvPr id="550" name="Textfeld 276"/>
                <p:cNvSpPr/>
                <p:nvPr/>
              </p:nvSpPr>
              <p:spPr>
                <a:xfrm>
                  <a:off x="9802080" y="4109400"/>
                  <a:ext cx="270000" cy="100080"/>
                </a:xfrm>
                <a:prstGeom prst="rect">
                  <a:avLst/>
                </a:prstGeom>
                <a:noFill/>
                <a:ln w="0">
                  <a:noFill/>
                </a:ln>
              </p:spPr>
              <p:style>
                <a:lnRef idx="0"/>
                <a:fillRef idx="0"/>
                <a:effectRef idx="0"/>
                <a:fontRef idx="minor"/>
              </p:style>
              <p:txBody>
                <a:bodyPr lIns="0" rIns="0" tIns="0" bIns="0" anchor="t">
                  <a:noAutofit/>
                </a:bodyPr>
                <a:p>
                  <a:pPr defTabSz="457200">
                    <a:lnSpc>
                      <a:spcPct val="100000"/>
                    </a:lnSpc>
                    <a:tabLst>
                      <a:tab algn="l" pos="0"/>
                    </a:tabLst>
                  </a:pPr>
                  <a:r>
                    <a:rPr b="0" lang="de-DE" sz="500" spc="-1" strike="noStrike">
                      <a:solidFill>
                        <a:srgbClr val="004b7d"/>
                      </a:solidFill>
                      <a:latin typeface="Arial"/>
                      <a:ea typeface="Arial"/>
                    </a:rPr>
                    <a:t>Singapur</a:t>
                  </a:r>
                  <a:endParaRPr b="0" lang="en-US" sz="500" spc="-1" strike="noStrike">
                    <a:solidFill>
                      <a:srgbClr val="ffffff"/>
                    </a:solidFill>
                    <a:latin typeface="Calibri"/>
                  </a:endParaRPr>
                </a:p>
              </p:txBody>
            </p:sp>
            <p:sp>
              <p:nvSpPr>
                <p:cNvPr id="551" name="Textfeld 277"/>
                <p:cNvSpPr/>
                <p:nvPr/>
              </p:nvSpPr>
              <p:spPr>
                <a:xfrm>
                  <a:off x="10339560" y="4792680"/>
                  <a:ext cx="398880" cy="100080"/>
                </a:xfrm>
                <a:prstGeom prst="rect">
                  <a:avLst/>
                </a:prstGeom>
                <a:noFill/>
                <a:ln w="0">
                  <a:noFill/>
                </a:ln>
              </p:spPr>
              <p:style>
                <a:lnRef idx="0"/>
                <a:fillRef idx="0"/>
                <a:effectRef idx="0"/>
                <a:fontRef idx="minor"/>
              </p:style>
              <p:txBody>
                <a:bodyPr lIns="0" rIns="0" tIns="0" bIns="0" anchor="t">
                  <a:noAutofit/>
                </a:bodyPr>
                <a:p>
                  <a:pPr defTabSz="457200">
                    <a:lnSpc>
                      <a:spcPct val="100000"/>
                    </a:lnSpc>
                    <a:tabLst>
                      <a:tab algn="l" pos="0"/>
                    </a:tabLst>
                  </a:pPr>
                  <a:r>
                    <a:rPr b="0" lang="de-DE" sz="500" spc="-1" strike="noStrike">
                      <a:solidFill>
                        <a:srgbClr val="004b7d"/>
                      </a:solidFill>
                      <a:latin typeface="Arial"/>
                      <a:ea typeface="Arial"/>
                    </a:rPr>
                    <a:t>Australien</a:t>
                  </a:r>
                  <a:endParaRPr b="0" lang="en-US" sz="500" spc="-1" strike="noStrike">
                    <a:solidFill>
                      <a:srgbClr val="ffffff"/>
                    </a:solidFill>
                    <a:latin typeface="Calibri"/>
                  </a:endParaRPr>
                </a:p>
              </p:txBody>
            </p:sp>
            <p:sp>
              <p:nvSpPr>
                <p:cNvPr id="552" name="Textfeld 278"/>
                <p:cNvSpPr/>
                <p:nvPr/>
              </p:nvSpPr>
              <p:spPr>
                <a:xfrm>
                  <a:off x="10245600" y="3539520"/>
                  <a:ext cx="270000" cy="100080"/>
                </a:xfrm>
                <a:prstGeom prst="rect">
                  <a:avLst/>
                </a:prstGeom>
                <a:noFill/>
                <a:ln w="0">
                  <a:noFill/>
                </a:ln>
              </p:spPr>
              <p:style>
                <a:lnRef idx="0"/>
                <a:fillRef idx="0"/>
                <a:effectRef idx="0"/>
                <a:fontRef idx="minor"/>
              </p:style>
              <p:txBody>
                <a:bodyPr lIns="0" rIns="0" tIns="0" bIns="0" anchor="t">
                  <a:noAutofit/>
                </a:bodyPr>
                <a:p>
                  <a:pPr defTabSz="457200">
                    <a:lnSpc>
                      <a:spcPct val="100000"/>
                    </a:lnSpc>
                    <a:tabLst>
                      <a:tab algn="l" pos="0"/>
                    </a:tabLst>
                  </a:pPr>
                  <a:r>
                    <a:rPr b="0" lang="de-DE" sz="500" spc="-1" strike="noStrike">
                      <a:solidFill>
                        <a:srgbClr val="004b7d"/>
                      </a:solidFill>
                      <a:latin typeface="Arial"/>
                      <a:ea typeface="Arial"/>
                    </a:rPr>
                    <a:t>Thaiwan</a:t>
                  </a:r>
                  <a:endParaRPr b="0" lang="en-US" sz="500" spc="-1" strike="noStrike">
                    <a:solidFill>
                      <a:srgbClr val="ffffff"/>
                    </a:solidFill>
                    <a:latin typeface="Calibri"/>
                  </a:endParaRPr>
                </a:p>
              </p:txBody>
            </p:sp>
            <p:sp>
              <p:nvSpPr>
                <p:cNvPr id="553" name="Textfeld 279"/>
                <p:cNvSpPr/>
                <p:nvPr/>
              </p:nvSpPr>
              <p:spPr>
                <a:xfrm>
                  <a:off x="10230840" y="3320280"/>
                  <a:ext cx="270000" cy="100080"/>
                </a:xfrm>
                <a:prstGeom prst="rect">
                  <a:avLst/>
                </a:prstGeom>
                <a:noFill/>
                <a:ln w="0">
                  <a:noFill/>
                </a:ln>
              </p:spPr>
              <p:style>
                <a:lnRef idx="0"/>
                <a:fillRef idx="0"/>
                <a:effectRef idx="0"/>
                <a:fontRef idx="minor"/>
              </p:style>
              <p:txBody>
                <a:bodyPr lIns="0" rIns="0" tIns="0" bIns="0" anchor="t">
                  <a:noAutofit/>
                </a:bodyPr>
                <a:p>
                  <a:pPr defTabSz="457200">
                    <a:lnSpc>
                      <a:spcPct val="100000"/>
                    </a:lnSpc>
                    <a:tabLst>
                      <a:tab algn="l" pos="0"/>
                    </a:tabLst>
                  </a:pPr>
                  <a:r>
                    <a:rPr b="0" lang="de-DE" sz="500" spc="-1" strike="noStrike">
                      <a:solidFill>
                        <a:srgbClr val="004b7d"/>
                      </a:solidFill>
                      <a:latin typeface="Arial"/>
                      <a:ea typeface="Arial"/>
                    </a:rPr>
                    <a:t>Südkorea</a:t>
                  </a:r>
                  <a:endParaRPr b="0" lang="en-US" sz="500" spc="-1" strike="noStrike">
                    <a:solidFill>
                      <a:srgbClr val="ffffff"/>
                    </a:solidFill>
                    <a:latin typeface="Calibri"/>
                  </a:endParaRPr>
                </a:p>
              </p:txBody>
            </p:sp>
            <p:sp>
              <p:nvSpPr>
                <p:cNvPr id="554" name="Textfeld 280"/>
                <p:cNvSpPr/>
                <p:nvPr/>
              </p:nvSpPr>
              <p:spPr>
                <a:xfrm>
                  <a:off x="10670040" y="3156480"/>
                  <a:ext cx="270000" cy="100080"/>
                </a:xfrm>
                <a:prstGeom prst="rect">
                  <a:avLst/>
                </a:prstGeom>
                <a:noFill/>
                <a:ln w="0">
                  <a:noFill/>
                </a:ln>
              </p:spPr>
              <p:style>
                <a:lnRef idx="0"/>
                <a:fillRef idx="0"/>
                <a:effectRef idx="0"/>
                <a:fontRef idx="minor"/>
              </p:style>
              <p:txBody>
                <a:bodyPr lIns="0" rIns="0" tIns="0" bIns="0" anchor="t">
                  <a:noAutofit/>
                </a:bodyPr>
                <a:p>
                  <a:pPr defTabSz="457200">
                    <a:lnSpc>
                      <a:spcPct val="100000"/>
                    </a:lnSpc>
                    <a:tabLst>
                      <a:tab algn="l" pos="0"/>
                    </a:tabLst>
                  </a:pPr>
                  <a:r>
                    <a:rPr b="0" lang="de-DE" sz="500" spc="-1" strike="noStrike">
                      <a:solidFill>
                        <a:srgbClr val="004b7d"/>
                      </a:solidFill>
                      <a:latin typeface="Arial"/>
                      <a:ea typeface="Arial"/>
                    </a:rPr>
                    <a:t>Japan</a:t>
                  </a:r>
                  <a:endParaRPr b="0" lang="en-US" sz="500" spc="-1" strike="noStrike">
                    <a:solidFill>
                      <a:srgbClr val="ffffff"/>
                    </a:solidFill>
                    <a:latin typeface="Calibri"/>
                  </a:endParaRPr>
                </a:p>
              </p:txBody>
            </p:sp>
            <p:sp>
              <p:nvSpPr>
                <p:cNvPr id="555" name="Textfeld 281"/>
                <p:cNvSpPr/>
                <p:nvPr/>
              </p:nvSpPr>
              <p:spPr>
                <a:xfrm>
                  <a:off x="8932320" y="3427200"/>
                  <a:ext cx="286200" cy="100080"/>
                </a:xfrm>
                <a:prstGeom prst="rect">
                  <a:avLst/>
                </a:prstGeom>
                <a:noFill/>
                <a:ln w="0">
                  <a:noFill/>
                </a:ln>
              </p:spPr>
              <p:style>
                <a:lnRef idx="0"/>
                <a:fillRef idx="0"/>
                <a:effectRef idx="0"/>
                <a:fontRef idx="minor"/>
              </p:style>
              <p:txBody>
                <a:bodyPr lIns="0" rIns="0" tIns="0" bIns="0" anchor="t">
                  <a:noAutofit/>
                </a:bodyPr>
                <a:p>
                  <a:pPr defTabSz="457200">
                    <a:lnSpc>
                      <a:spcPct val="100000"/>
                    </a:lnSpc>
                    <a:tabLst>
                      <a:tab algn="l" pos="0"/>
                    </a:tabLst>
                  </a:pPr>
                  <a:r>
                    <a:rPr b="0" lang="de-DE" sz="500" spc="-1" strike="noStrike">
                      <a:solidFill>
                        <a:srgbClr val="004b7d"/>
                      </a:solidFill>
                      <a:latin typeface="Arial"/>
                      <a:ea typeface="Arial"/>
                    </a:rPr>
                    <a:t>Pakistan</a:t>
                  </a:r>
                  <a:endParaRPr b="0" lang="en-US" sz="500" spc="-1" strike="noStrike">
                    <a:solidFill>
                      <a:srgbClr val="ffffff"/>
                    </a:solidFill>
                    <a:latin typeface="Calibri"/>
                  </a:endParaRPr>
                </a:p>
              </p:txBody>
            </p:sp>
            <p:sp>
              <p:nvSpPr>
                <p:cNvPr id="556" name="Textfeld 282"/>
                <p:cNvSpPr/>
                <p:nvPr/>
              </p:nvSpPr>
              <p:spPr>
                <a:xfrm>
                  <a:off x="8602560" y="3425760"/>
                  <a:ext cx="198360" cy="100080"/>
                </a:xfrm>
                <a:prstGeom prst="rect">
                  <a:avLst/>
                </a:prstGeom>
                <a:noFill/>
                <a:ln w="0">
                  <a:noFill/>
                </a:ln>
              </p:spPr>
              <p:style>
                <a:lnRef idx="0"/>
                <a:fillRef idx="0"/>
                <a:effectRef idx="0"/>
                <a:fontRef idx="minor"/>
              </p:style>
              <p:txBody>
                <a:bodyPr lIns="0" rIns="0" tIns="0" bIns="0" anchor="t">
                  <a:noAutofit/>
                </a:bodyPr>
                <a:p>
                  <a:pPr defTabSz="457200">
                    <a:lnSpc>
                      <a:spcPct val="100000"/>
                    </a:lnSpc>
                    <a:tabLst>
                      <a:tab algn="l" pos="0"/>
                    </a:tabLst>
                  </a:pPr>
                  <a:r>
                    <a:rPr b="0" lang="de-DE" sz="500" spc="-1" strike="noStrike">
                      <a:solidFill>
                        <a:srgbClr val="004b7d"/>
                      </a:solidFill>
                      <a:latin typeface="Arial"/>
                      <a:ea typeface="Arial"/>
                    </a:rPr>
                    <a:t>Iran</a:t>
                  </a:r>
                  <a:endParaRPr b="0" lang="en-US" sz="500" spc="-1" strike="noStrike">
                    <a:solidFill>
                      <a:srgbClr val="ffffff"/>
                    </a:solidFill>
                    <a:latin typeface="Calibri"/>
                  </a:endParaRPr>
                </a:p>
              </p:txBody>
            </p:sp>
            <p:sp>
              <p:nvSpPr>
                <p:cNvPr id="557" name="Textfeld 283"/>
                <p:cNvSpPr/>
                <p:nvPr/>
              </p:nvSpPr>
              <p:spPr>
                <a:xfrm>
                  <a:off x="8464320" y="3128760"/>
                  <a:ext cx="286200" cy="100080"/>
                </a:xfrm>
                <a:prstGeom prst="rect">
                  <a:avLst/>
                </a:prstGeom>
                <a:noFill/>
                <a:ln w="0">
                  <a:noFill/>
                </a:ln>
              </p:spPr>
              <p:style>
                <a:lnRef idx="0"/>
                <a:fillRef idx="0"/>
                <a:effectRef idx="0"/>
                <a:fontRef idx="minor"/>
              </p:style>
              <p:txBody>
                <a:bodyPr lIns="0" rIns="0" tIns="0" bIns="0" anchor="t">
                  <a:noAutofit/>
                </a:bodyPr>
                <a:p>
                  <a:pPr defTabSz="457200">
                    <a:lnSpc>
                      <a:spcPct val="100000"/>
                    </a:lnSpc>
                    <a:tabLst>
                      <a:tab algn="l" pos="0"/>
                    </a:tabLst>
                  </a:pPr>
                  <a:r>
                    <a:rPr b="0" lang="de-DE" sz="500" spc="-1" strike="noStrike">
                      <a:solidFill>
                        <a:srgbClr val="004b7d"/>
                      </a:solidFill>
                      <a:latin typeface="Arial"/>
                      <a:ea typeface="Arial"/>
                    </a:rPr>
                    <a:t>Armenien</a:t>
                  </a:r>
                  <a:endParaRPr b="0" lang="en-US" sz="500" spc="-1" strike="noStrike">
                    <a:solidFill>
                      <a:srgbClr val="ffffff"/>
                    </a:solidFill>
                    <a:latin typeface="Calibri"/>
                  </a:endParaRPr>
                </a:p>
              </p:txBody>
            </p:sp>
            <p:sp>
              <p:nvSpPr>
                <p:cNvPr id="558" name="Textfeld 284"/>
                <p:cNvSpPr/>
                <p:nvPr/>
              </p:nvSpPr>
              <p:spPr>
                <a:xfrm>
                  <a:off x="8349840" y="3419640"/>
                  <a:ext cx="190800" cy="100080"/>
                </a:xfrm>
                <a:prstGeom prst="rect">
                  <a:avLst/>
                </a:prstGeom>
                <a:noFill/>
                <a:ln w="0">
                  <a:noFill/>
                </a:ln>
              </p:spPr>
              <p:style>
                <a:lnRef idx="0"/>
                <a:fillRef idx="0"/>
                <a:effectRef idx="0"/>
                <a:fontRef idx="minor"/>
              </p:style>
              <p:txBody>
                <a:bodyPr lIns="0" rIns="0" tIns="0" bIns="0" anchor="t">
                  <a:noAutofit/>
                </a:bodyPr>
                <a:p>
                  <a:pPr defTabSz="457200">
                    <a:lnSpc>
                      <a:spcPct val="100000"/>
                    </a:lnSpc>
                    <a:tabLst>
                      <a:tab algn="l" pos="0"/>
                    </a:tabLst>
                  </a:pPr>
                  <a:r>
                    <a:rPr b="0" lang="de-DE" sz="500" spc="-1" strike="noStrike">
                      <a:solidFill>
                        <a:srgbClr val="004b7d"/>
                      </a:solidFill>
                      <a:latin typeface="Arial"/>
                      <a:ea typeface="Arial"/>
                    </a:rPr>
                    <a:t>Irak</a:t>
                  </a:r>
                  <a:endParaRPr b="0" lang="en-US" sz="500" spc="-1" strike="noStrike">
                    <a:solidFill>
                      <a:srgbClr val="ffffff"/>
                    </a:solidFill>
                    <a:latin typeface="Calibri"/>
                  </a:endParaRPr>
                </a:p>
              </p:txBody>
            </p:sp>
            <p:sp>
              <p:nvSpPr>
                <p:cNvPr id="559" name="Textfeld 285"/>
                <p:cNvSpPr/>
                <p:nvPr/>
              </p:nvSpPr>
              <p:spPr>
                <a:xfrm>
                  <a:off x="8129160" y="3430080"/>
                  <a:ext cx="235080" cy="100080"/>
                </a:xfrm>
                <a:prstGeom prst="rect">
                  <a:avLst/>
                </a:prstGeom>
                <a:noFill/>
                <a:ln w="0">
                  <a:noFill/>
                </a:ln>
              </p:spPr>
              <p:style>
                <a:lnRef idx="0"/>
                <a:fillRef idx="0"/>
                <a:effectRef idx="0"/>
                <a:fontRef idx="minor"/>
              </p:style>
              <p:txBody>
                <a:bodyPr lIns="0" rIns="0" tIns="0" bIns="0" anchor="t">
                  <a:noAutofit/>
                </a:bodyPr>
                <a:p>
                  <a:pPr defTabSz="457200">
                    <a:lnSpc>
                      <a:spcPct val="100000"/>
                    </a:lnSpc>
                    <a:tabLst>
                      <a:tab algn="l" pos="0"/>
                    </a:tabLst>
                  </a:pPr>
                  <a:r>
                    <a:rPr b="0" lang="de-DE" sz="500" spc="-1" strike="noStrike">
                      <a:solidFill>
                        <a:srgbClr val="004b7d"/>
                      </a:solidFill>
                      <a:latin typeface="Arial"/>
                      <a:ea typeface="Arial"/>
                    </a:rPr>
                    <a:t>Israel</a:t>
                  </a:r>
                  <a:endParaRPr b="0" lang="en-US" sz="500" spc="-1" strike="noStrike">
                    <a:solidFill>
                      <a:srgbClr val="ffffff"/>
                    </a:solidFill>
                    <a:latin typeface="Calibri"/>
                  </a:endParaRPr>
                </a:p>
              </p:txBody>
            </p:sp>
            <p:sp>
              <p:nvSpPr>
                <p:cNvPr id="560" name="Textfeld 286"/>
                <p:cNvSpPr/>
                <p:nvPr/>
              </p:nvSpPr>
              <p:spPr>
                <a:xfrm>
                  <a:off x="8087760" y="2896920"/>
                  <a:ext cx="286200" cy="100080"/>
                </a:xfrm>
                <a:prstGeom prst="rect">
                  <a:avLst/>
                </a:prstGeom>
                <a:noFill/>
                <a:ln w="0">
                  <a:noFill/>
                </a:ln>
              </p:spPr>
              <p:style>
                <a:lnRef idx="0"/>
                <a:fillRef idx="0"/>
                <a:effectRef idx="0"/>
                <a:fontRef idx="minor"/>
              </p:style>
              <p:txBody>
                <a:bodyPr lIns="0" rIns="0" tIns="0" bIns="0" anchor="t">
                  <a:noAutofit/>
                </a:bodyPr>
                <a:p>
                  <a:pPr defTabSz="457200">
                    <a:lnSpc>
                      <a:spcPct val="100000"/>
                    </a:lnSpc>
                    <a:tabLst>
                      <a:tab algn="l" pos="0"/>
                    </a:tabLst>
                  </a:pPr>
                  <a:r>
                    <a:rPr b="0" lang="de-DE" sz="500" spc="-1" strike="noStrike">
                      <a:solidFill>
                        <a:srgbClr val="004b7d"/>
                      </a:solidFill>
                      <a:latin typeface="Arial"/>
                      <a:ea typeface="Arial"/>
                    </a:rPr>
                    <a:t>Georgien</a:t>
                  </a:r>
                  <a:endParaRPr b="0" lang="en-US" sz="500" spc="-1" strike="noStrike">
                    <a:solidFill>
                      <a:srgbClr val="ffffff"/>
                    </a:solidFill>
                    <a:latin typeface="Calibri"/>
                  </a:endParaRPr>
                </a:p>
              </p:txBody>
            </p:sp>
            <p:sp>
              <p:nvSpPr>
                <p:cNvPr id="561" name="Textfeld 287"/>
                <p:cNvSpPr/>
                <p:nvPr/>
              </p:nvSpPr>
              <p:spPr>
                <a:xfrm>
                  <a:off x="8276400" y="3201480"/>
                  <a:ext cx="286200" cy="100080"/>
                </a:xfrm>
                <a:prstGeom prst="rect">
                  <a:avLst/>
                </a:prstGeom>
                <a:noFill/>
                <a:ln w="0">
                  <a:noFill/>
                </a:ln>
              </p:spPr>
              <p:style>
                <a:lnRef idx="0"/>
                <a:fillRef idx="0"/>
                <a:effectRef idx="0"/>
                <a:fontRef idx="minor"/>
              </p:style>
              <p:txBody>
                <a:bodyPr lIns="0" rIns="0" tIns="0" bIns="0" anchor="t">
                  <a:noAutofit/>
                </a:bodyPr>
                <a:p>
                  <a:pPr defTabSz="457200">
                    <a:lnSpc>
                      <a:spcPct val="100000"/>
                    </a:lnSpc>
                    <a:tabLst>
                      <a:tab algn="l" pos="0"/>
                    </a:tabLst>
                  </a:pPr>
                  <a:r>
                    <a:rPr b="0" lang="de-DE" sz="500" spc="-1" strike="noStrike">
                      <a:solidFill>
                        <a:srgbClr val="004b7d"/>
                      </a:solidFill>
                      <a:latin typeface="Arial"/>
                      <a:ea typeface="Arial"/>
                    </a:rPr>
                    <a:t>Türkei</a:t>
                  </a:r>
                  <a:endParaRPr b="0" lang="en-US" sz="500" spc="-1" strike="noStrike">
                    <a:solidFill>
                      <a:srgbClr val="ffffff"/>
                    </a:solidFill>
                    <a:latin typeface="Calibri"/>
                  </a:endParaRPr>
                </a:p>
              </p:txBody>
            </p:sp>
            <p:sp>
              <p:nvSpPr>
                <p:cNvPr id="562" name="Textfeld 288"/>
                <p:cNvSpPr/>
                <p:nvPr/>
              </p:nvSpPr>
              <p:spPr>
                <a:xfrm>
                  <a:off x="7945560" y="3329640"/>
                  <a:ext cx="286200" cy="100080"/>
                </a:xfrm>
                <a:prstGeom prst="rect">
                  <a:avLst/>
                </a:prstGeom>
                <a:noFill/>
                <a:ln w="0">
                  <a:noFill/>
                </a:ln>
              </p:spPr>
              <p:style>
                <a:lnRef idx="0"/>
                <a:fillRef idx="0"/>
                <a:effectRef idx="0"/>
                <a:fontRef idx="minor"/>
              </p:style>
              <p:txBody>
                <a:bodyPr lIns="0" rIns="0" tIns="0" bIns="0" anchor="t">
                  <a:noAutofit/>
                </a:bodyPr>
                <a:p>
                  <a:pPr defTabSz="457200">
                    <a:lnSpc>
                      <a:spcPct val="100000"/>
                    </a:lnSpc>
                    <a:tabLst>
                      <a:tab algn="l" pos="0"/>
                    </a:tabLst>
                  </a:pPr>
                  <a:r>
                    <a:rPr b="0" lang="de-DE" sz="500" spc="-1" strike="noStrike">
                      <a:solidFill>
                        <a:srgbClr val="004b7d"/>
                      </a:solidFill>
                      <a:latin typeface="Arial"/>
                      <a:ea typeface="Arial"/>
                    </a:rPr>
                    <a:t>Zypern</a:t>
                  </a:r>
                  <a:endParaRPr b="0" lang="en-US" sz="500" spc="-1" strike="noStrike">
                    <a:solidFill>
                      <a:srgbClr val="ffffff"/>
                    </a:solidFill>
                    <a:latin typeface="Calibri"/>
                  </a:endParaRPr>
                </a:p>
              </p:txBody>
            </p:sp>
            <p:sp>
              <p:nvSpPr>
                <p:cNvPr id="563" name="Textfeld 289"/>
                <p:cNvSpPr/>
                <p:nvPr/>
              </p:nvSpPr>
              <p:spPr>
                <a:xfrm>
                  <a:off x="5805720" y="4807440"/>
                  <a:ext cx="286200" cy="100080"/>
                </a:xfrm>
                <a:prstGeom prst="rect">
                  <a:avLst/>
                </a:prstGeom>
                <a:noFill/>
                <a:ln w="0">
                  <a:noFill/>
                </a:ln>
              </p:spPr>
              <p:style>
                <a:lnRef idx="0"/>
                <a:fillRef idx="0"/>
                <a:effectRef idx="0"/>
                <a:fontRef idx="minor"/>
              </p:style>
              <p:txBody>
                <a:bodyPr lIns="0" rIns="0" tIns="0" bIns="0" anchor="t">
                  <a:noAutofit/>
                </a:bodyPr>
                <a:p>
                  <a:pPr defTabSz="457200">
                    <a:lnSpc>
                      <a:spcPct val="100000"/>
                    </a:lnSpc>
                    <a:tabLst>
                      <a:tab algn="l" pos="0"/>
                    </a:tabLst>
                  </a:pPr>
                  <a:r>
                    <a:rPr b="0" lang="de-DE" sz="500" spc="-1" strike="noStrike">
                      <a:solidFill>
                        <a:srgbClr val="004b7d"/>
                      </a:solidFill>
                      <a:latin typeface="Arial"/>
                      <a:ea typeface="Arial"/>
                    </a:rPr>
                    <a:t>Chile</a:t>
                  </a:r>
                  <a:endParaRPr b="0" lang="en-US" sz="500" spc="-1" strike="noStrike">
                    <a:solidFill>
                      <a:srgbClr val="ffffff"/>
                    </a:solidFill>
                    <a:latin typeface="Calibri"/>
                  </a:endParaRPr>
                </a:p>
              </p:txBody>
            </p:sp>
            <p:sp>
              <p:nvSpPr>
                <p:cNvPr id="564" name="Textfeld 290"/>
                <p:cNvSpPr/>
                <p:nvPr/>
              </p:nvSpPr>
              <p:spPr>
                <a:xfrm>
                  <a:off x="5697720" y="4425840"/>
                  <a:ext cx="286200" cy="100080"/>
                </a:xfrm>
                <a:prstGeom prst="rect">
                  <a:avLst/>
                </a:prstGeom>
                <a:noFill/>
                <a:ln w="0">
                  <a:noFill/>
                </a:ln>
              </p:spPr>
              <p:style>
                <a:lnRef idx="0"/>
                <a:fillRef idx="0"/>
                <a:effectRef idx="0"/>
                <a:fontRef idx="minor"/>
              </p:style>
              <p:txBody>
                <a:bodyPr lIns="0" rIns="0" tIns="0" bIns="0" anchor="t">
                  <a:noAutofit/>
                </a:bodyPr>
                <a:p>
                  <a:pPr defTabSz="457200">
                    <a:lnSpc>
                      <a:spcPct val="100000"/>
                    </a:lnSpc>
                    <a:tabLst>
                      <a:tab algn="l" pos="0"/>
                    </a:tabLst>
                  </a:pPr>
                  <a:r>
                    <a:rPr b="0" lang="de-DE" sz="500" spc="-1" strike="noStrike">
                      <a:solidFill>
                        <a:srgbClr val="004b7d"/>
                      </a:solidFill>
                      <a:latin typeface="Arial"/>
                      <a:ea typeface="Arial"/>
                    </a:rPr>
                    <a:t>Peru</a:t>
                  </a:r>
                  <a:endParaRPr b="0" lang="en-US" sz="500" spc="-1" strike="noStrike">
                    <a:solidFill>
                      <a:srgbClr val="ffffff"/>
                    </a:solidFill>
                    <a:latin typeface="Calibri"/>
                  </a:endParaRPr>
                </a:p>
              </p:txBody>
            </p:sp>
            <p:sp>
              <p:nvSpPr>
                <p:cNvPr id="565" name="Textfeld 291"/>
                <p:cNvSpPr/>
                <p:nvPr/>
              </p:nvSpPr>
              <p:spPr>
                <a:xfrm>
                  <a:off x="6175800" y="4344120"/>
                  <a:ext cx="286200" cy="100080"/>
                </a:xfrm>
                <a:prstGeom prst="rect">
                  <a:avLst/>
                </a:prstGeom>
                <a:noFill/>
                <a:ln w="0">
                  <a:noFill/>
                </a:ln>
              </p:spPr>
              <p:style>
                <a:lnRef idx="0"/>
                <a:fillRef idx="0"/>
                <a:effectRef idx="0"/>
                <a:fontRef idx="minor"/>
              </p:style>
              <p:txBody>
                <a:bodyPr lIns="0" rIns="0" tIns="0" bIns="0" anchor="t">
                  <a:noAutofit/>
                </a:bodyPr>
                <a:p>
                  <a:pPr defTabSz="457200">
                    <a:lnSpc>
                      <a:spcPct val="100000"/>
                    </a:lnSpc>
                    <a:tabLst>
                      <a:tab algn="l" pos="0"/>
                    </a:tabLst>
                  </a:pPr>
                  <a:r>
                    <a:rPr b="0" lang="de-DE" sz="500" spc="-1" strike="noStrike">
                      <a:solidFill>
                        <a:srgbClr val="004b7d"/>
                      </a:solidFill>
                      <a:latin typeface="Arial"/>
                      <a:ea typeface="Arial"/>
                    </a:rPr>
                    <a:t>Brasilien</a:t>
                  </a:r>
                  <a:endParaRPr b="0" lang="en-US" sz="500" spc="-1" strike="noStrike">
                    <a:solidFill>
                      <a:srgbClr val="ffffff"/>
                    </a:solidFill>
                    <a:latin typeface="Calibri"/>
                  </a:endParaRPr>
                </a:p>
              </p:txBody>
            </p:sp>
            <p:sp>
              <p:nvSpPr>
                <p:cNvPr id="566" name="Textfeld 292"/>
                <p:cNvSpPr/>
                <p:nvPr/>
              </p:nvSpPr>
              <p:spPr>
                <a:xfrm>
                  <a:off x="5585760" y="4181760"/>
                  <a:ext cx="286200" cy="100080"/>
                </a:xfrm>
                <a:prstGeom prst="rect">
                  <a:avLst/>
                </a:prstGeom>
                <a:noFill/>
                <a:ln w="0">
                  <a:noFill/>
                </a:ln>
              </p:spPr>
              <p:style>
                <a:lnRef idx="0"/>
                <a:fillRef idx="0"/>
                <a:effectRef idx="0"/>
                <a:fontRef idx="minor"/>
              </p:style>
              <p:txBody>
                <a:bodyPr lIns="0" rIns="0" tIns="0" bIns="0" anchor="t">
                  <a:noAutofit/>
                </a:bodyPr>
                <a:p>
                  <a:pPr defTabSz="457200">
                    <a:lnSpc>
                      <a:spcPct val="100000"/>
                    </a:lnSpc>
                    <a:tabLst>
                      <a:tab algn="l" pos="0"/>
                    </a:tabLst>
                  </a:pPr>
                  <a:r>
                    <a:rPr b="0" lang="de-DE" sz="500" spc="-1" strike="noStrike">
                      <a:solidFill>
                        <a:srgbClr val="004b7d"/>
                      </a:solidFill>
                      <a:latin typeface="Arial"/>
                      <a:ea typeface="Arial"/>
                    </a:rPr>
                    <a:t>Ecuador</a:t>
                  </a:r>
                  <a:endParaRPr b="0" lang="en-US" sz="500" spc="-1" strike="noStrike">
                    <a:solidFill>
                      <a:srgbClr val="ffffff"/>
                    </a:solidFill>
                    <a:latin typeface="Calibri"/>
                  </a:endParaRPr>
                </a:p>
              </p:txBody>
            </p:sp>
            <p:sp>
              <p:nvSpPr>
                <p:cNvPr id="567" name="Textfeld 293"/>
                <p:cNvSpPr/>
                <p:nvPr/>
              </p:nvSpPr>
              <p:spPr>
                <a:xfrm>
                  <a:off x="5676480" y="4001400"/>
                  <a:ext cx="406800" cy="100080"/>
                </a:xfrm>
                <a:prstGeom prst="rect">
                  <a:avLst/>
                </a:prstGeom>
                <a:noFill/>
                <a:ln w="0">
                  <a:noFill/>
                </a:ln>
              </p:spPr>
              <p:style>
                <a:lnRef idx="0"/>
                <a:fillRef idx="0"/>
                <a:effectRef idx="0"/>
                <a:fontRef idx="minor"/>
              </p:style>
              <p:txBody>
                <a:bodyPr lIns="0" rIns="0" tIns="0" bIns="0" anchor="t">
                  <a:noAutofit/>
                </a:bodyPr>
                <a:p>
                  <a:pPr defTabSz="457200">
                    <a:lnSpc>
                      <a:spcPct val="100000"/>
                    </a:lnSpc>
                    <a:tabLst>
                      <a:tab algn="l" pos="0"/>
                    </a:tabLst>
                  </a:pPr>
                  <a:r>
                    <a:rPr b="0" lang="de-DE" sz="500" spc="-1" strike="noStrike">
                      <a:solidFill>
                        <a:srgbClr val="004b7d"/>
                      </a:solidFill>
                      <a:latin typeface="Arial"/>
                      <a:ea typeface="Arial"/>
                    </a:rPr>
                    <a:t>Venezuela</a:t>
                  </a:r>
                  <a:endParaRPr b="0" lang="en-US" sz="500" spc="-1" strike="noStrike">
                    <a:solidFill>
                      <a:srgbClr val="ffffff"/>
                    </a:solidFill>
                    <a:latin typeface="Calibri"/>
                  </a:endParaRPr>
                </a:p>
              </p:txBody>
            </p:sp>
            <p:sp>
              <p:nvSpPr>
                <p:cNvPr id="568" name="Textfeld 294"/>
                <p:cNvSpPr/>
                <p:nvPr/>
              </p:nvSpPr>
              <p:spPr>
                <a:xfrm>
                  <a:off x="5985360" y="3884760"/>
                  <a:ext cx="587160" cy="100080"/>
                </a:xfrm>
                <a:prstGeom prst="rect">
                  <a:avLst/>
                </a:prstGeom>
                <a:noFill/>
                <a:ln w="0">
                  <a:noFill/>
                </a:ln>
              </p:spPr>
              <p:style>
                <a:lnRef idx="0"/>
                <a:fillRef idx="0"/>
                <a:effectRef idx="0"/>
                <a:fontRef idx="minor"/>
              </p:style>
              <p:txBody>
                <a:bodyPr lIns="0" rIns="0" tIns="0" bIns="0" anchor="t">
                  <a:noAutofit/>
                </a:bodyPr>
                <a:p>
                  <a:pPr defTabSz="457200">
                    <a:lnSpc>
                      <a:spcPct val="100000"/>
                    </a:lnSpc>
                    <a:tabLst>
                      <a:tab algn="l" pos="0"/>
                    </a:tabLst>
                  </a:pPr>
                  <a:r>
                    <a:rPr b="0" lang="de-DE" sz="500" spc="-1" strike="noStrike">
                      <a:solidFill>
                        <a:srgbClr val="004b7d"/>
                      </a:solidFill>
                      <a:latin typeface="Arial"/>
                      <a:ea typeface="Arial"/>
                    </a:rPr>
                    <a:t>Trinidad &amp; Tobago</a:t>
                  </a:r>
                  <a:endParaRPr b="0" lang="en-US" sz="500" spc="-1" strike="noStrike">
                    <a:solidFill>
                      <a:srgbClr val="ffffff"/>
                    </a:solidFill>
                    <a:latin typeface="Calibri"/>
                  </a:endParaRPr>
                </a:p>
              </p:txBody>
            </p:sp>
            <p:sp>
              <p:nvSpPr>
                <p:cNvPr id="569" name="Textfeld 295"/>
                <p:cNvSpPr/>
                <p:nvPr/>
              </p:nvSpPr>
              <p:spPr>
                <a:xfrm>
                  <a:off x="5225760" y="3964680"/>
                  <a:ext cx="356400" cy="100080"/>
                </a:xfrm>
                <a:prstGeom prst="rect">
                  <a:avLst/>
                </a:prstGeom>
                <a:noFill/>
                <a:ln w="0">
                  <a:noFill/>
                </a:ln>
              </p:spPr>
              <p:style>
                <a:lnRef idx="0"/>
                <a:fillRef idx="0"/>
                <a:effectRef idx="0"/>
                <a:fontRef idx="minor"/>
              </p:style>
              <p:txBody>
                <a:bodyPr lIns="0" rIns="0" tIns="0" bIns="0" anchor="t">
                  <a:noAutofit/>
                </a:bodyPr>
                <a:p>
                  <a:pPr defTabSz="457200">
                    <a:lnSpc>
                      <a:spcPct val="100000"/>
                    </a:lnSpc>
                    <a:tabLst>
                      <a:tab algn="l" pos="0"/>
                    </a:tabLst>
                  </a:pPr>
                  <a:r>
                    <a:rPr b="0" lang="de-DE" sz="500" spc="-1" strike="noStrike">
                      <a:solidFill>
                        <a:srgbClr val="004b7d"/>
                      </a:solidFill>
                      <a:latin typeface="Arial"/>
                      <a:ea typeface="Arial"/>
                    </a:rPr>
                    <a:t>Costa Rica</a:t>
                  </a:r>
                  <a:endParaRPr b="0" lang="en-US" sz="500" spc="-1" strike="noStrike">
                    <a:solidFill>
                      <a:srgbClr val="ffffff"/>
                    </a:solidFill>
                    <a:latin typeface="Calibri"/>
                  </a:endParaRPr>
                </a:p>
              </p:txBody>
            </p:sp>
            <p:sp>
              <p:nvSpPr>
                <p:cNvPr id="570" name="Textfeld 296"/>
                <p:cNvSpPr/>
                <p:nvPr/>
              </p:nvSpPr>
              <p:spPr>
                <a:xfrm>
                  <a:off x="5647680" y="3628080"/>
                  <a:ext cx="219240" cy="100080"/>
                </a:xfrm>
                <a:prstGeom prst="rect">
                  <a:avLst/>
                </a:prstGeom>
                <a:noFill/>
                <a:ln w="0">
                  <a:noFill/>
                </a:ln>
              </p:spPr>
              <p:style>
                <a:lnRef idx="0"/>
                <a:fillRef idx="0"/>
                <a:effectRef idx="0"/>
                <a:fontRef idx="minor"/>
              </p:style>
              <p:txBody>
                <a:bodyPr lIns="0" rIns="0" tIns="0" bIns="0" anchor="t">
                  <a:noAutofit/>
                </a:bodyPr>
                <a:p>
                  <a:pPr defTabSz="457200">
                    <a:lnSpc>
                      <a:spcPct val="100000"/>
                    </a:lnSpc>
                    <a:tabLst>
                      <a:tab algn="l" pos="0"/>
                    </a:tabLst>
                  </a:pPr>
                  <a:r>
                    <a:rPr b="0" lang="de-DE" sz="500" spc="-1" strike="noStrike">
                      <a:solidFill>
                        <a:srgbClr val="004b7d"/>
                      </a:solidFill>
                      <a:latin typeface="Arial"/>
                      <a:ea typeface="Arial"/>
                    </a:rPr>
                    <a:t>Kuba</a:t>
                  </a:r>
                  <a:endParaRPr b="0" lang="en-US" sz="500" spc="-1" strike="noStrike">
                    <a:solidFill>
                      <a:srgbClr val="ffffff"/>
                    </a:solidFill>
                    <a:latin typeface="Calibri"/>
                  </a:endParaRPr>
                </a:p>
              </p:txBody>
            </p:sp>
            <p:sp>
              <p:nvSpPr>
                <p:cNvPr id="571" name="Textfeld 297"/>
                <p:cNvSpPr/>
                <p:nvPr/>
              </p:nvSpPr>
              <p:spPr>
                <a:xfrm>
                  <a:off x="5027760" y="3540240"/>
                  <a:ext cx="238680" cy="100080"/>
                </a:xfrm>
                <a:prstGeom prst="rect">
                  <a:avLst/>
                </a:prstGeom>
                <a:noFill/>
                <a:ln w="0">
                  <a:noFill/>
                </a:ln>
              </p:spPr>
              <p:style>
                <a:lnRef idx="0"/>
                <a:fillRef idx="0"/>
                <a:effectRef idx="0"/>
                <a:fontRef idx="minor"/>
              </p:style>
              <p:txBody>
                <a:bodyPr lIns="0" rIns="0" tIns="0" bIns="0" anchor="t">
                  <a:noAutofit/>
                </a:bodyPr>
                <a:p>
                  <a:pPr defTabSz="457200">
                    <a:lnSpc>
                      <a:spcPct val="100000"/>
                    </a:lnSpc>
                    <a:tabLst>
                      <a:tab algn="l" pos="0"/>
                    </a:tabLst>
                  </a:pPr>
                  <a:r>
                    <a:rPr b="0" lang="de-DE" sz="500" spc="-1" strike="noStrike">
                      <a:solidFill>
                        <a:srgbClr val="004b7d"/>
                      </a:solidFill>
                      <a:latin typeface="Arial"/>
                      <a:ea typeface="Arial"/>
                    </a:rPr>
                    <a:t>Mexiko</a:t>
                  </a:r>
                  <a:endParaRPr b="0" lang="en-US" sz="500" spc="-1" strike="noStrike">
                    <a:solidFill>
                      <a:srgbClr val="ffffff"/>
                    </a:solidFill>
                    <a:latin typeface="Calibri"/>
                  </a:endParaRPr>
                </a:p>
              </p:txBody>
            </p:sp>
            <p:sp>
              <p:nvSpPr>
                <p:cNvPr id="572" name="Textfeld 298"/>
                <p:cNvSpPr/>
                <p:nvPr/>
              </p:nvSpPr>
              <p:spPr>
                <a:xfrm>
                  <a:off x="5210640" y="3159000"/>
                  <a:ext cx="406800" cy="100080"/>
                </a:xfrm>
                <a:prstGeom prst="rect">
                  <a:avLst/>
                </a:prstGeom>
                <a:noFill/>
                <a:ln w="0">
                  <a:noFill/>
                </a:ln>
              </p:spPr>
              <p:style>
                <a:lnRef idx="0"/>
                <a:fillRef idx="0"/>
                <a:effectRef idx="0"/>
                <a:fontRef idx="minor"/>
              </p:style>
              <p:txBody>
                <a:bodyPr lIns="0" rIns="0" tIns="0" bIns="0" anchor="t">
                  <a:noAutofit/>
                </a:bodyPr>
                <a:p>
                  <a:pPr defTabSz="457200">
                    <a:lnSpc>
                      <a:spcPct val="100000"/>
                    </a:lnSpc>
                    <a:tabLst>
                      <a:tab algn="l" pos="0"/>
                    </a:tabLst>
                  </a:pPr>
                  <a:r>
                    <a:rPr b="0" lang="de-DE" sz="500" spc="-1" strike="noStrike">
                      <a:solidFill>
                        <a:srgbClr val="004b7d"/>
                      </a:solidFill>
                      <a:latin typeface="Arial"/>
                      <a:ea typeface="Arial"/>
                    </a:rPr>
                    <a:t>USA</a:t>
                  </a:r>
                  <a:endParaRPr b="0" lang="en-US" sz="500" spc="-1" strike="noStrike">
                    <a:solidFill>
                      <a:srgbClr val="ffffff"/>
                    </a:solidFill>
                    <a:latin typeface="Calibri"/>
                  </a:endParaRPr>
                </a:p>
              </p:txBody>
            </p:sp>
            <p:sp>
              <p:nvSpPr>
                <p:cNvPr id="573" name="Textfeld 299"/>
                <p:cNvSpPr/>
                <p:nvPr/>
              </p:nvSpPr>
              <p:spPr>
                <a:xfrm>
                  <a:off x="4893480" y="2751840"/>
                  <a:ext cx="287640" cy="102960"/>
                </a:xfrm>
                <a:prstGeom prst="rect">
                  <a:avLst/>
                </a:prstGeom>
                <a:noFill/>
                <a:ln w="0">
                  <a:noFill/>
                </a:ln>
              </p:spPr>
              <p:style>
                <a:lnRef idx="0"/>
                <a:fillRef idx="0"/>
                <a:effectRef idx="0"/>
                <a:fontRef idx="minor"/>
              </p:style>
              <p:txBody>
                <a:bodyPr lIns="0" rIns="0" tIns="0" bIns="0" anchor="t">
                  <a:noAutofit/>
                </a:bodyPr>
                <a:p>
                  <a:pPr defTabSz="457200">
                    <a:lnSpc>
                      <a:spcPct val="100000"/>
                    </a:lnSpc>
                    <a:tabLst>
                      <a:tab algn="l" pos="0"/>
                    </a:tabLst>
                  </a:pPr>
                  <a:r>
                    <a:rPr b="0" lang="de-DE" sz="500" spc="-1" strike="noStrike">
                      <a:solidFill>
                        <a:srgbClr val="004b7d"/>
                      </a:solidFill>
                      <a:latin typeface="Arial"/>
                      <a:ea typeface="Arial"/>
                    </a:rPr>
                    <a:t>Kanada</a:t>
                  </a:r>
                  <a:endParaRPr b="0" lang="en-US" sz="500" spc="-1" strike="noStrike">
                    <a:solidFill>
                      <a:srgbClr val="ffffff"/>
                    </a:solidFill>
                    <a:latin typeface="Calibri"/>
                  </a:endParaRPr>
                </a:p>
              </p:txBody>
            </p:sp>
          </p:grpSp>
        </p:grpSp>
        <p:sp>
          <p:nvSpPr>
            <p:cNvPr id="574" name="Desy Hamburg"/>
            <p:cNvSpPr/>
            <p:nvPr/>
          </p:nvSpPr>
          <p:spPr>
            <a:xfrm>
              <a:off x="7553520" y="2817360"/>
              <a:ext cx="57960" cy="57960"/>
            </a:xfrm>
            <a:prstGeom prst="ellipse">
              <a:avLst/>
            </a:prstGeom>
            <a:solidFill>
              <a:schemeClr val="accent2"/>
            </a:solidFill>
            <a:ln w="38100">
              <a:noFill/>
            </a:ln>
          </p:spPr>
          <p:style>
            <a:lnRef idx="2">
              <a:schemeClr val="accent1">
                <a:shade val="50000"/>
              </a:schemeClr>
            </a:lnRef>
            <a:fillRef idx="1">
              <a:schemeClr val="accent1"/>
            </a:fillRef>
            <a:effectRef idx="0">
              <a:schemeClr val="accent1"/>
            </a:effectRef>
            <a:fontRef idx="minor"/>
          </p:style>
          <p:txBody>
            <a:bodyPr lIns="73080" rIns="73080" tIns="20520" bIns="20520" anchor="ctr">
              <a:noAutofit/>
            </a:bodyPr>
            <a:p>
              <a:pPr algn="ctr" defTabSz="457200">
                <a:lnSpc>
                  <a:spcPct val="100000"/>
                </a:lnSpc>
                <a:tabLst>
                  <a:tab algn="l" pos="0"/>
                </a:tabLst>
              </a:pPr>
              <a:endParaRPr b="0" lang="de-DE" sz="1600" spc="-1" strike="noStrike">
                <a:solidFill>
                  <a:srgbClr val="000000"/>
                </a:solidFill>
                <a:latin typeface="Arial"/>
                <a:ea typeface="Arial"/>
              </a:endParaRPr>
            </a:p>
          </p:txBody>
        </p:sp>
        <p:grpSp>
          <p:nvGrpSpPr>
            <p:cNvPr id="575" name="Linien und Figuren"/>
            <p:cNvGrpSpPr/>
            <p:nvPr/>
          </p:nvGrpSpPr>
          <p:grpSpPr>
            <a:xfrm>
              <a:off x="4047120" y="-677520"/>
              <a:ext cx="7057800" cy="7057800"/>
              <a:chOff x="4047120" y="-677520"/>
              <a:chExt cx="7057800" cy="7057800"/>
            </a:xfrm>
          </p:grpSpPr>
          <p:grpSp>
            <p:nvGrpSpPr>
              <p:cNvPr id="576" name="Linien und Figuren"/>
              <p:cNvGrpSpPr/>
              <p:nvPr/>
            </p:nvGrpSpPr>
            <p:grpSpPr>
              <a:xfrm>
                <a:off x="4894920" y="2214000"/>
                <a:ext cx="5799240" cy="3749760"/>
                <a:chOff x="4894920" y="2214000"/>
                <a:chExt cx="5799240" cy="3749760"/>
              </a:xfrm>
            </p:grpSpPr>
            <p:grpSp>
              <p:nvGrpSpPr>
                <p:cNvPr id="577" name="Männchen"/>
                <p:cNvGrpSpPr/>
                <p:nvPr/>
              </p:nvGrpSpPr>
              <p:grpSpPr>
                <a:xfrm>
                  <a:off x="4894920" y="2214000"/>
                  <a:ext cx="5799240" cy="3749760"/>
                  <a:chOff x="4894920" y="2214000"/>
                  <a:chExt cx="5799240" cy="3749760"/>
                </a:xfrm>
              </p:grpSpPr>
              <p:pic>
                <p:nvPicPr>
                  <p:cNvPr id="578" name="Japan" descr="Mann"/>
                  <p:cNvPicPr/>
                  <p:nvPr/>
                </p:nvPicPr>
                <p:blipFill>
                  <a:blip r:embed="rId1"/>
                  <a:stretch/>
                </p:blipFill>
                <p:spPr>
                  <a:xfrm>
                    <a:off x="10484640" y="3012120"/>
                    <a:ext cx="209520" cy="209520"/>
                  </a:xfrm>
                  <a:prstGeom prst="rect">
                    <a:avLst/>
                  </a:prstGeom>
                  <a:ln w="0">
                    <a:noFill/>
                  </a:ln>
                </p:spPr>
              </p:pic>
              <p:pic>
                <p:nvPicPr>
                  <p:cNvPr id="579" name="Südkorea" descr="Mann"/>
                  <p:cNvPicPr/>
                  <p:nvPr/>
                </p:nvPicPr>
                <p:blipFill>
                  <a:blip r:embed="rId2"/>
                  <a:stretch/>
                </p:blipFill>
                <p:spPr>
                  <a:xfrm>
                    <a:off x="10252800" y="3114000"/>
                    <a:ext cx="209520" cy="209520"/>
                  </a:xfrm>
                  <a:prstGeom prst="rect">
                    <a:avLst/>
                  </a:prstGeom>
                  <a:ln w="0">
                    <a:noFill/>
                  </a:ln>
                </p:spPr>
              </p:pic>
              <p:pic>
                <p:nvPicPr>
                  <p:cNvPr id="580" name="Australien" descr="Mann"/>
                  <p:cNvPicPr/>
                  <p:nvPr/>
                </p:nvPicPr>
                <p:blipFill>
                  <a:blip r:embed="rId3"/>
                  <a:stretch/>
                </p:blipFill>
                <p:spPr>
                  <a:xfrm>
                    <a:off x="10325160" y="4566960"/>
                    <a:ext cx="209520" cy="209520"/>
                  </a:xfrm>
                  <a:prstGeom prst="rect">
                    <a:avLst/>
                  </a:prstGeom>
                  <a:ln w="0">
                    <a:noFill/>
                  </a:ln>
                </p:spPr>
              </p:pic>
              <p:pic>
                <p:nvPicPr>
                  <p:cNvPr id="581" name="Mongolei" descr="Mann"/>
                  <p:cNvPicPr/>
                  <p:nvPr/>
                </p:nvPicPr>
                <p:blipFill>
                  <a:blip r:embed="rId4"/>
                  <a:stretch/>
                </p:blipFill>
                <p:spPr>
                  <a:xfrm>
                    <a:off x="9641880" y="2841840"/>
                    <a:ext cx="156960" cy="156960"/>
                  </a:xfrm>
                  <a:prstGeom prst="rect">
                    <a:avLst/>
                  </a:prstGeom>
                  <a:ln w="0">
                    <a:noFill/>
                  </a:ln>
                </p:spPr>
              </p:pic>
              <p:pic>
                <p:nvPicPr>
                  <p:cNvPr id="582" name="China" descr="Mann"/>
                  <p:cNvPicPr/>
                  <p:nvPr/>
                </p:nvPicPr>
                <p:blipFill>
                  <a:blip r:embed="rId5"/>
                  <a:stretch/>
                </p:blipFill>
                <p:spPr>
                  <a:xfrm>
                    <a:off x="9506160" y="3147840"/>
                    <a:ext cx="209520" cy="209520"/>
                  </a:xfrm>
                  <a:prstGeom prst="rect">
                    <a:avLst/>
                  </a:prstGeom>
                  <a:ln w="0">
                    <a:noFill/>
                  </a:ln>
                </p:spPr>
              </p:pic>
              <p:pic>
                <p:nvPicPr>
                  <p:cNvPr id="583" name="Bangladesch" descr="Mann"/>
                  <p:cNvPicPr/>
                  <p:nvPr/>
                </p:nvPicPr>
                <p:blipFill>
                  <a:blip r:embed="rId6"/>
                  <a:stretch/>
                </p:blipFill>
                <p:spPr>
                  <a:xfrm>
                    <a:off x="9426240" y="3411360"/>
                    <a:ext cx="156960" cy="156960"/>
                  </a:xfrm>
                  <a:prstGeom prst="rect">
                    <a:avLst/>
                  </a:prstGeom>
                  <a:ln w="0">
                    <a:noFill/>
                  </a:ln>
                </p:spPr>
              </p:pic>
              <p:pic>
                <p:nvPicPr>
                  <p:cNvPr id="584" name="Thailand" descr="Mann"/>
                  <p:cNvPicPr/>
                  <p:nvPr/>
                </p:nvPicPr>
                <p:blipFill>
                  <a:blip r:embed="rId7"/>
                  <a:stretch/>
                </p:blipFill>
                <p:spPr>
                  <a:xfrm>
                    <a:off x="9612000" y="3662280"/>
                    <a:ext cx="156960" cy="156960"/>
                  </a:xfrm>
                  <a:prstGeom prst="rect">
                    <a:avLst/>
                  </a:prstGeom>
                  <a:ln w="0">
                    <a:noFill/>
                  </a:ln>
                </p:spPr>
              </p:pic>
              <p:pic>
                <p:nvPicPr>
                  <p:cNvPr id="585" name="Singapur" descr="Mann"/>
                  <p:cNvPicPr/>
                  <p:nvPr/>
                </p:nvPicPr>
                <p:blipFill>
                  <a:blip r:embed="rId8"/>
                  <a:stretch/>
                </p:blipFill>
                <p:spPr>
                  <a:xfrm>
                    <a:off x="9695880" y="4017600"/>
                    <a:ext cx="156960" cy="156960"/>
                  </a:xfrm>
                  <a:prstGeom prst="rect">
                    <a:avLst/>
                  </a:prstGeom>
                  <a:ln w="0">
                    <a:noFill/>
                  </a:ln>
                </p:spPr>
              </p:pic>
              <p:pic>
                <p:nvPicPr>
                  <p:cNvPr id="586" name="Thaiwan" descr="Mann"/>
                  <p:cNvPicPr/>
                  <p:nvPr/>
                </p:nvPicPr>
                <p:blipFill>
                  <a:blip r:embed="rId9"/>
                  <a:stretch/>
                </p:blipFill>
                <p:spPr>
                  <a:xfrm>
                    <a:off x="10113840" y="3453120"/>
                    <a:ext cx="156960" cy="156960"/>
                  </a:xfrm>
                  <a:prstGeom prst="rect">
                    <a:avLst/>
                  </a:prstGeom>
                  <a:ln w="0">
                    <a:noFill/>
                  </a:ln>
                </p:spPr>
              </p:pic>
              <p:pic>
                <p:nvPicPr>
                  <p:cNvPr id="587" name="Indien" descr="Mann"/>
                  <p:cNvPicPr/>
                  <p:nvPr/>
                </p:nvPicPr>
                <p:blipFill>
                  <a:blip r:embed="rId10"/>
                  <a:stretch/>
                </p:blipFill>
                <p:spPr>
                  <a:xfrm>
                    <a:off x="9017280" y="3495600"/>
                    <a:ext cx="209520" cy="209520"/>
                  </a:xfrm>
                  <a:prstGeom prst="rect">
                    <a:avLst/>
                  </a:prstGeom>
                  <a:ln w="0">
                    <a:noFill/>
                  </a:ln>
                </p:spPr>
              </p:pic>
              <p:pic>
                <p:nvPicPr>
                  <p:cNvPr id="588" name="Pakistan" descr="Mann"/>
                  <p:cNvPicPr/>
                  <p:nvPr/>
                </p:nvPicPr>
                <p:blipFill>
                  <a:blip r:embed="rId11"/>
                  <a:stretch/>
                </p:blipFill>
                <p:spPr>
                  <a:xfrm>
                    <a:off x="8794800" y="3370320"/>
                    <a:ext cx="156960" cy="156960"/>
                  </a:xfrm>
                  <a:prstGeom prst="rect">
                    <a:avLst/>
                  </a:prstGeom>
                  <a:ln w="0">
                    <a:noFill/>
                  </a:ln>
                </p:spPr>
              </p:pic>
              <p:pic>
                <p:nvPicPr>
                  <p:cNvPr id="589" name="Iran" descr="Mann"/>
                  <p:cNvPicPr/>
                  <p:nvPr/>
                </p:nvPicPr>
                <p:blipFill>
                  <a:blip r:embed="rId12"/>
                  <a:stretch/>
                </p:blipFill>
                <p:spPr>
                  <a:xfrm>
                    <a:off x="8577360" y="3271320"/>
                    <a:ext cx="156960" cy="156960"/>
                  </a:xfrm>
                  <a:prstGeom prst="rect">
                    <a:avLst/>
                  </a:prstGeom>
                  <a:ln w="0">
                    <a:noFill/>
                  </a:ln>
                </p:spPr>
              </p:pic>
              <p:pic>
                <p:nvPicPr>
                  <p:cNvPr id="590" name="Kasachstan" descr="Mann"/>
                  <p:cNvPicPr/>
                  <p:nvPr/>
                </p:nvPicPr>
                <p:blipFill>
                  <a:blip r:embed="rId13"/>
                  <a:stretch/>
                </p:blipFill>
                <p:spPr>
                  <a:xfrm>
                    <a:off x="8898840" y="2808000"/>
                    <a:ext cx="156960" cy="156960"/>
                  </a:xfrm>
                  <a:prstGeom prst="rect">
                    <a:avLst/>
                  </a:prstGeom>
                  <a:ln w="0">
                    <a:noFill/>
                  </a:ln>
                </p:spPr>
              </p:pic>
              <p:pic>
                <p:nvPicPr>
                  <p:cNvPr id="591" name="Sudan" descr="Mann"/>
                  <p:cNvPicPr/>
                  <p:nvPr/>
                </p:nvPicPr>
                <p:blipFill>
                  <a:blip r:embed="rId14"/>
                  <a:stretch/>
                </p:blipFill>
                <p:spPr>
                  <a:xfrm>
                    <a:off x="7935120" y="3709800"/>
                    <a:ext cx="156960" cy="156960"/>
                  </a:xfrm>
                  <a:prstGeom prst="rect">
                    <a:avLst/>
                  </a:prstGeom>
                  <a:ln w="0">
                    <a:noFill/>
                  </a:ln>
                </p:spPr>
              </p:pic>
              <p:pic>
                <p:nvPicPr>
                  <p:cNvPr id="592" name="Irak" descr="Mann"/>
                  <p:cNvPicPr/>
                  <p:nvPr/>
                </p:nvPicPr>
                <p:blipFill>
                  <a:blip r:embed="rId15"/>
                  <a:stretch/>
                </p:blipFill>
                <p:spPr>
                  <a:xfrm>
                    <a:off x="8320680" y="3266280"/>
                    <a:ext cx="156960" cy="156960"/>
                  </a:xfrm>
                  <a:prstGeom prst="rect">
                    <a:avLst/>
                  </a:prstGeom>
                  <a:ln w="0">
                    <a:noFill/>
                  </a:ln>
                </p:spPr>
              </p:pic>
              <p:pic>
                <p:nvPicPr>
                  <p:cNvPr id="593" name="Türkei" descr="Mann"/>
                  <p:cNvPicPr/>
                  <p:nvPr/>
                </p:nvPicPr>
                <p:blipFill>
                  <a:blip r:embed="rId16"/>
                  <a:stretch/>
                </p:blipFill>
                <p:spPr>
                  <a:xfrm>
                    <a:off x="8165520" y="3106440"/>
                    <a:ext cx="156960" cy="156960"/>
                  </a:xfrm>
                  <a:prstGeom prst="rect">
                    <a:avLst/>
                  </a:prstGeom>
                  <a:ln w="0">
                    <a:noFill/>
                  </a:ln>
                </p:spPr>
              </p:pic>
              <p:pic>
                <p:nvPicPr>
                  <p:cNvPr id="594" name="Armenien" descr="Mann"/>
                  <p:cNvPicPr/>
                  <p:nvPr/>
                </p:nvPicPr>
                <p:blipFill>
                  <a:blip r:embed="rId17"/>
                  <a:stretch/>
                </p:blipFill>
                <p:spPr>
                  <a:xfrm>
                    <a:off x="8263080" y="2901600"/>
                    <a:ext cx="299880" cy="299880"/>
                  </a:xfrm>
                  <a:prstGeom prst="rect">
                    <a:avLst/>
                  </a:prstGeom>
                  <a:ln w="0">
                    <a:noFill/>
                  </a:ln>
                </p:spPr>
              </p:pic>
              <p:pic>
                <p:nvPicPr>
                  <p:cNvPr id="595" name="Georgien" descr="Mann"/>
                  <p:cNvPicPr/>
                  <p:nvPr/>
                </p:nvPicPr>
                <p:blipFill>
                  <a:blip r:embed="rId18"/>
                  <a:stretch/>
                </p:blipFill>
                <p:spPr>
                  <a:xfrm>
                    <a:off x="8243280" y="2972160"/>
                    <a:ext cx="156960" cy="156960"/>
                  </a:xfrm>
                  <a:prstGeom prst="rect">
                    <a:avLst/>
                  </a:prstGeom>
                  <a:ln w="0">
                    <a:noFill/>
                  </a:ln>
                </p:spPr>
              </p:pic>
              <p:pic>
                <p:nvPicPr>
                  <p:cNvPr id="596" name="Südafrika" descr="Mann"/>
                  <p:cNvPicPr/>
                  <p:nvPr/>
                </p:nvPicPr>
                <p:blipFill>
                  <a:blip r:embed="rId19"/>
                  <a:stretch/>
                </p:blipFill>
                <p:spPr>
                  <a:xfrm>
                    <a:off x="7805880" y="4758840"/>
                    <a:ext cx="156960" cy="156960"/>
                  </a:xfrm>
                  <a:prstGeom prst="rect">
                    <a:avLst/>
                  </a:prstGeom>
                  <a:ln w="0">
                    <a:noFill/>
                  </a:ln>
                </p:spPr>
              </p:pic>
              <p:pic>
                <p:nvPicPr>
                  <p:cNvPr id="597" name="Kamerun" descr="Mann"/>
                  <p:cNvPicPr/>
                  <p:nvPr/>
                </p:nvPicPr>
                <p:blipFill>
                  <a:blip r:embed="rId20"/>
                  <a:stretch/>
                </p:blipFill>
                <p:spPr>
                  <a:xfrm>
                    <a:off x="7549200" y="3926160"/>
                    <a:ext cx="156960" cy="156960"/>
                  </a:xfrm>
                  <a:prstGeom prst="rect">
                    <a:avLst/>
                  </a:prstGeom>
                  <a:ln w="0">
                    <a:noFill/>
                  </a:ln>
                </p:spPr>
              </p:pic>
              <p:pic>
                <p:nvPicPr>
                  <p:cNvPr id="598" name="Zypern" descr="Mann"/>
                  <p:cNvPicPr/>
                  <p:nvPr/>
                </p:nvPicPr>
                <p:blipFill>
                  <a:blip r:embed="rId21"/>
                  <a:stretch/>
                </p:blipFill>
                <p:spPr>
                  <a:xfrm>
                    <a:off x="8044200" y="3188160"/>
                    <a:ext cx="156960" cy="156960"/>
                  </a:xfrm>
                  <a:prstGeom prst="rect">
                    <a:avLst/>
                  </a:prstGeom>
                  <a:ln w="0">
                    <a:noFill/>
                  </a:ln>
                </p:spPr>
              </p:pic>
              <p:pic>
                <p:nvPicPr>
                  <p:cNvPr id="599" name="Israel" descr="Mann"/>
                  <p:cNvPicPr/>
                  <p:nvPr/>
                </p:nvPicPr>
                <p:blipFill>
                  <a:blip r:embed="rId22"/>
                  <a:stretch/>
                </p:blipFill>
                <p:spPr>
                  <a:xfrm>
                    <a:off x="8090640" y="3206160"/>
                    <a:ext cx="209520" cy="209520"/>
                  </a:xfrm>
                  <a:prstGeom prst="rect">
                    <a:avLst/>
                  </a:prstGeom>
                  <a:ln w="0">
                    <a:noFill/>
                  </a:ln>
                </p:spPr>
              </p:pic>
              <p:pic>
                <p:nvPicPr>
                  <p:cNvPr id="600" name="Algerien" descr="Mann"/>
                  <p:cNvPicPr/>
                  <p:nvPr/>
                </p:nvPicPr>
                <p:blipFill>
                  <a:blip r:embed="rId23"/>
                  <a:stretch/>
                </p:blipFill>
                <p:spPr>
                  <a:xfrm>
                    <a:off x="7350480" y="3464280"/>
                    <a:ext cx="156960" cy="156960"/>
                  </a:xfrm>
                  <a:prstGeom prst="rect">
                    <a:avLst/>
                  </a:prstGeom>
                  <a:ln w="0">
                    <a:noFill/>
                  </a:ln>
                </p:spPr>
              </p:pic>
              <p:pic>
                <p:nvPicPr>
                  <p:cNvPr id="601" name="Mexiko" descr="Mann"/>
                  <p:cNvPicPr/>
                  <p:nvPr/>
                </p:nvPicPr>
                <p:blipFill>
                  <a:blip r:embed="rId24"/>
                  <a:stretch/>
                </p:blipFill>
                <p:spPr>
                  <a:xfrm>
                    <a:off x="4894920" y="3450600"/>
                    <a:ext cx="156960" cy="156960"/>
                  </a:xfrm>
                  <a:prstGeom prst="rect">
                    <a:avLst/>
                  </a:prstGeom>
                  <a:ln w="0">
                    <a:noFill/>
                  </a:ln>
                </p:spPr>
              </p:pic>
              <p:pic>
                <p:nvPicPr>
                  <p:cNvPr id="602" name="Kanada" descr="Mann"/>
                  <p:cNvPicPr/>
                  <p:nvPr/>
                </p:nvPicPr>
                <p:blipFill>
                  <a:blip r:embed="rId25"/>
                  <a:stretch/>
                </p:blipFill>
                <p:spPr>
                  <a:xfrm>
                    <a:off x="5054040" y="2610000"/>
                    <a:ext cx="209520" cy="209520"/>
                  </a:xfrm>
                  <a:prstGeom prst="rect">
                    <a:avLst/>
                  </a:prstGeom>
                  <a:ln w="0">
                    <a:noFill/>
                  </a:ln>
                </p:spPr>
              </p:pic>
              <p:pic>
                <p:nvPicPr>
                  <p:cNvPr id="603" name="USA" descr="Mann"/>
                  <p:cNvPicPr/>
                  <p:nvPr/>
                </p:nvPicPr>
                <p:blipFill>
                  <a:blip r:embed="rId26"/>
                  <a:stretch/>
                </p:blipFill>
                <p:spPr>
                  <a:xfrm>
                    <a:off x="4994280" y="2934000"/>
                    <a:ext cx="299880" cy="299880"/>
                  </a:xfrm>
                  <a:prstGeom prst="rect">
                    <a:avLst/>
                  </a:prstGeom>
                  <a:ln w="0">
                    <a:noFill/>
                  </a:ln>
                </p:spPr>
              </p:pic>
              <p:pic>
                <p:nvPicPr>
                  <p:cNvPr id="604" name="Kuba" descr="Mann"/>
                  <p:cNvPicPr/>
                  <p:nvPr/>
                </p:nvPicPr>
                <p:blipFill>
                  <a:blip r:embed="rId27"/>
                  <a:stretch/>
                </p:blipFill>
                <p:spPr>
                  <a:xfrm>
                    <a:off x="5512680" y="3536280"/>
                    <a:ext cx="156960" cy="156960"/>
                  </a:xfrm>
                  <a:prstGeom prst="rect">
                    <a:avLst/>
                  </a:prstGeom>
                  <a:ln w="0">
                    <a:noFill/>
                  </a:ln>
                </p:spPr>
              </p:pic>
              <p:pic>
                <p:nvPicPr>
                  <p:cNvPr id="605" name="Costa Rica" descr="Mann"/>
                  <p:cNvPicPr/>
                  <p:nvPr/>
                </p:nvPicPr>
                <p:blipFill>
                  <a:blip r:embed="rId28"/>
                  <a:stretch/>
                </p:blipFill>
                <p:spPr>
                  <a:xfrm>
                    <a:off x="5337360" y="3789360"/>
                    <a:ext cx="156960" cy="156960"/>
                  </a:xfrm>
                  <a:prstGeom prst="rect">
                    <a:avLst/>
                  </a:prstGeom>
                  <a:ln w="0">
                    <a:noFill/>
                  </a:ln>
                </p:spPr>
              </p:pic>
              <p:pic>
                <p:nvPicPr>
                  <p:cNvPr id="606" name="Venezuela" descr="Mann"/>
                  <p:cNvPicPr/>
                  <p:nvPr/>
                </p:nvPicPr>
                <p:blipFill>
                  <a:blip r:embed="rId29"/>
                  <a:stretch/>
                </p:blipFill>
                <p:spPr>
                  <a:xfrm>
                    <a:off x="5696640" y="3856680"/>
                    <a:ext cx="156960" cy="156960"/>
                  </a:xfrm>
                  <a:prstGeom prst="rect">
                    <a:avLst/>
                  </a:prstGeom>
                  <a:ln w="0">
                    <a:noFill/>
                  </a:ln>
                </p:spPr>
              </p:pic>
              <p:pic>
                <p:nvPicPr>
                  <p:cNvPr id="607" name="Trinidad" descr="Mann"/>
                  <p:cNvPicPr/>
                  <p:nvPr/>
                </p:nvPicPr>
                <p:blipFill>
                  <a:blip r:embed="rId30"/>
                  <a:stretch/>
                </p:blipFill>
                <p:spPr>
                  <a:xfrm>
                    <a:off x="5862600" y="3794040"/>
                    <a:ext cx="156960" cy="156960"/>
                  </a:xfrm>
                  <a:prstGeom prst="rect">
                    <a:avLst/>
                  </a:prstGeom>
                  <a:ln w="0">
                    <a:noFill/>
                  </a:ln>
                </p:spPr>
              </p:pic>
              <p:pic>
                <p:nvPicPr>
                  <p:cNvPr id="608" name="Ecuador" descr="Mann"/>
                  <p:cNvPicPr/>
                  <p:nvPr/>
                </p:nvPicPr>
                <p:blipFill>
                  <a:blip r:embed="rId31"/>
                  <a:stretch/>
                </p:blipFill>
                <p:spPr>
                  <a:xfrm>
                    <a:off x="5464800" y="4083480"/>
                    <a:ext cx="156960" cy="156960"/>
                  </a:xfrm>
                  <a:prstGeom prst="rect">
                    <a:avLst/>
                  </a:prstGeom>
                  <a:ln w="0">
                    <a:noFill/>
                  </a:ln>
                </p:spPr>
              </p:pic>
              <p:pic>
                <p:nvPicPr>
                  <p:cNvPr id="609" name="Peru" descr="Mann"/>
                  <p:cNvPicPr/>
                  <p:nvPr/>
                </p:nvPicPr>
                <p:blipFill>
                  <a:blip r:embed="rId32"/>
                  <a:stretch/>
                </p:blipFill>
                <p:spPr>
                  <a:xfrm>
                    <a:off x="5565600" y="4325400"/>
                    <a:ext cx="156960" cy="156960"/>
                  </a:xfrm>
                  <a:prstGeom prst="rect">
                    <a:avLst/>
                  </a:prstGeom>
                  <a:ln w="0">
                    <a:noFill/>
                  </a:ln>
                </p:spPr>
              </p:pic>
              <p:pic>
                <p:nvPicPr>
                  <p:cNvPr id="610" name="Brasilien" descr="Mann"/>
                  <p:cNvPicPr/>
                  <p:nvPr/>
                </p:nvPicPr>
                <p:blipFill>
                  <a:blip r:embed="rId33"/>
                  <a:stretch/>
                </p:blipFill>
                <p:spPr>
                  <a:xfrm>
                    <a:off x="6030720" y="4250520"/>
                    <a:ext cx="156960" cy="156960"/>
                  </a:xfrm>
                  <a:prstGeom prst="rect">
                    <a:avLst/>
                  </a:prstGeom>
                  <a:ln w="0">
                    <a:noFill/>
                  </a:ln>
                </p:spPr>
              </p:pic>
              <p:pic>
                <p:nvPicPr>
                  <p:cNvPr id="611" name="Chile" descr="Mann"/>
                  <p:cNvPicPr/>
                  <p:nvPr/>
                </p:nvPicPr>
                <p:blipFill>
                  <a:blip r:embed="rId34"/>
                  <a:stretch/>
                </p:blipFill>
                <p:spPr>
                  <a:xfrm>
                    <a:off x="5657760" y="4714200"/>
                    <a:ext cx="156960" cy="156960"/>
                  </a:xfrm>
                  <a:prstGeom prst="rect">
                    <a:avLst/>
                  </a:prstGeom>
                  <a:ln w="0">
                    <a:noFill/>
                  </a:ln>
                </p:spPr>
              </p:pic>
              <p:pic>
                <p:nvPicPr>
                  <p:cNvPr id="612" name="Russland" descr="Mann"/>
                  <p:cNvPicPr/>
                  <p:nvPr/>
                </p:nvPicPr>
                <p:blipFill>
                  <a:blip r:embed="rId35"/>
                  <a:stretch/>
                </p:blipFill>
                <p:spPr>
                  <a:xfrm>
                    <a:off x="8746560" y="2214000"/>
                    <a:ext cx="299880" cy="299880"/>
                  </a:xfrm>
                  <a:prstGeom prst="rect">
                    <a:avLst/>
                  </a:prstGeom>
                  <a:ln w="0">
                    <a:noFill/>
                  </a:ln>
                </p:spPr>
              </p:pic>
              <p:pic>
                <p:nvPicPr>
                  <p:cNvPr id="613" name="Antarktis" descr="Mann"/>
                  <p:cNvPicPr/>
                  <p:nvPr/>
                </p:nvPicPr>
                <p:blipFill>
                  <a:blip r:embed="rId36"/>
                  <a:stretch/>
                </p:blipFill>
                <p:spPr>
                  <a:xfrm>
                    <a:off x="8084880" y="5806800"/>
                    <a:ext cx="156960" cy="156960"/>
                  </a:xfrm>
                  <a:prstGeom prst="rect">
                    <a:avLst/>
                  </a:prstGeom>
                  <a:ln w="0">
                    <a:noFill/>
                  </a:ln>
                </p:spPr>
              </p:pic>
            </p:grpSp>
            <p:grpSp>
              <p:nvGrpSpPr>
                <p:cNvPr id="614" name="Verbinder"/>
                <p:cNvGrpSpPr/>
                <p:nvPr/>
              </p:nvGrpSpPr>
              <p:grpSpPr>
                <a:xfrm>
                  <a:off x="5005440" y="2386800"/>
                  <a:ext cx="5541480" cy="3510000"/>
                  <a:chOff x="5005440" y="2386800"/>
                  <a:chExt cx="5541480" cy="3510000"/>
                </a:xfrm>
              </p:grpSpPr>
              <p:cxnSp>
                <p:nvCxnSpPr>
                  <p:cNvPr id="615" name="Russland Verbinder 2"/>
                  <p:cNvCxnSpPr/>
                  <p:nvPr/>
                </p:nvCxnSpPr>
                <p:spPr>
                  <a:xfrm flipH="1">
                    <a:off x="7611480" y="2386800"/>
                    <a:ext cx="1222200" cy="460080"/>
                  </a:xfrm>
                  <a:prstGeom prst="straightConnector1">
                    <a:avLst/>
                  </a:prstGeom>
                  <a:ln w="3175">
                    <a:solidFill>
                      <a:srgbClr val="004b7d"/>
                    </a:solidFill>
                  </a:ln>
                </p:spPr>
              </p:cxnSp>
              <p:cxnSp>
                <p:nvCxnSpPr>
                  <p:cNvPr id="616" name="Georgien Verbinder 258"/>
                  <p:cNvCxnSpPr/>
                  <p:nvPr/>
                </p:nvCxnSpPr>
                <p:spPr>
                  <a:xfrm flipH="1" flipV="1">
                    <a:off x="7603200" y="2867040"/>
                    <a:ext cx="689760" cy="191520"/>
                  </a:xfrm>
                  <a:prstGeom prst="straightConnector1">
                    <a:avLst/>
                  </a:prstGeom>
                  <a:ln w="3175">
                    <a:solidFill>
                      <a:srgbClr val="004b7d"/>
                    </a:solidFill>
                  </a:ln>
                </p:spPr>
              </p:cxnSp>
              <p:cxnSp>
                <p:nvCxnSpPr>
                  <p:cNvPr id="617" name="Armenien Verbinder 290"/>
                  <p:cNvCxnSpPr/>
                  <p:nvPr/>
                </p:nvCxnSpPr>
                <p:spPr>
                  <a:xfrm flipH="1" flipV="1">
                    <a:off x="7603200" y="2867040"/>
                    <a:ext cx="761400" cy="198720"/>
                  </a:xfrm>
                  <a:prstGeom prst="straightConnector1">
                    <a:avLst/>
                  </a:prstGeom>
                  <a:ln w="3175">
                    <a:solidFill>
                      <a:srgbClr val="004b7d"/>
                    </a:solidFill>
                  </a:ln>
                </p:spPr>
              </p:cxnSp>
              <p:cxnSp>
                <p:nvCxnSpPr>
                  <p:cNvPr id="618" name="Kasachstan Verbinder 291"/>
                  <p:cNvCxnSpPr/>
                  <p:nvPr/>
                </p:nvCxnSpPr>
                <p:spPr>
                  <a:xfrm flipH="1" flipV="1">
                    <a:off x="7603200" y="2867040"/>
                    <a:ext cx="1347120" cy="24840"/>
                  </a:xfrm>
                  <a:prstGeom prst="straightConnector1">
                    <a:avLst/>
                  </a:prstGeom>
                  <a:ln w="3175">
                    <a:solidFill>
                      <a:srgbClr val="004b7d"/>
                    </a:solidFill>
                  </a:ln>
                </p:spPr>
              </p:cxnSp>
              <p:cxnSp>
                <p:nvCxnSpPr>
                  <p:cNvPr id="619" name="Türkei Verbinder 293"/>
                  <p:cNvCxnSpPr/>
                  <p:nvPr/>
                </p:nvCxnSpPr>
                <p:spPr>
                  <a:xfrm flipH="1" flipV="1">
                    <a:off x="7603200" y="2867040"/>
                    <a:ext cx="613440" cy="320400"/>
                  </a:xfrm>
                  <a:prstGeom prst="straightConnector1">
                    <a:avLst/>
                  </a:prstGeom>
                  <a:ln w="3175">
                    <a:solidFill>
                      <a:srgbClr val="004b7d"/>
                    </a:solidFill>
                  </a:ln>
                </p:spPr>
              </p:cxnSp>
              <p:cxnSp>
                <p:nvCxnSpPr>
                  <p:cNvPr id="620" name="Zypern Verbinder 295"/>
                  <p:cNvCxnSpPr/>
                  <p:nvPr/>
                </p:nvCxnSpPr>
                <p:spPr>
                  <a:xfrm flipH="1" flipV="1">
                    <a:off x="7603200" y="2867040"/>
                    <a:ext cx="494640" cy="406080"/>
                  </a:xfrm>
                  <a:prstGeom prst="straightConnector1">
                    <a:avLst/>
                  </a:prstGeom>
                  <a:ln w="3175">
                    <a:solidFill>
                      <a:srgbClr val="004b7d"/>
                    </a:solidFill>
                  </a:ln>
                </p:spPr>
              </p:cxnSp>
              <p:cxnSp>
                <p:nvCxnSpPr>
                  <p:cNvPr id="621" name="Israel Verbinder 301"/>
                  <p:cNvCxnSpPr/>
                  <p:nvPr/>
                </p:nvCxnSpPr>
                <p:spPr>
                  <a:xfrm flipH="1" flipV="1">
                    <a:off x="7603200" y="2867040"/>
                    <a:ext cx="551520" cy="460800"/>
                  </a:xfrm>
                  <a:prstGeom prst="straightConnector1">
                    <a:avLst/>
                  </a:prstGeom>
                  <a:ln w="3175">
                    <a:solidFill>
                      <a:srgbClr val="004b7d"/>
                    </a:solidFill>
                  </a:ln>
                </p:spPr>
              </p:cxnSp>
              <p:cxnSp>
                <p:nvCxnSpPr>
                  <p:cNvPr id="622" name="Irak Verbinder 305"/>
                  <p:cNvCxnSpPr/>
                  <p:nvPr/>
                </p:nvCxnSpPr>
                <p:spPr>
                  <a:xfrm flipH="1" flipV="1">
                    <a:off x="7603200" y="2867040"/>
                    <a:ext cx="766080" cy="489240"/>
                  </a:xfrm>
                  <a:prstGeom prst="straightConnector1">
                    <a:avLst/>
                  </a:prstGeom>
                  <a:ln w="3175">
                    <a:solidFill>
                      <a:srgbClr val="004b7d"/>
                    </a:solidFill>
                  </a:ln>
                </p:spPr>
              </p:cxnSp>
              <p:cxnSp>
                <p:nvCxnSpPr>
                  <p:cNvPr id="623" name="Iran Verbinder 309"/>
                  <p:cNvCxnSpPr/>
                  <p:nvPr/>
                </p:nvCxnSpPr>
                <p:spPr>
                  <a:xfrm flipH="1" flipV="1">
                    <a:off x="7603200" y="2867040"/>
                    <a:ext cx="1023120" cy="489240"/>
                  </a:xfrm>
                  <a:prstGeom prst="straightConnector1">
                    <a:avLst/>
                  </a:prstGeom>
                  <a:ln w="3175">
                    <a:solidFill>
                      <a:srgbClr val="004b7d"/>
                    </a:solidFill>
                  </a:ln>
                </p:spPr>
              </p:cxnSp>
              <p:cxnSp>
                <p:nvCxnSpPr>
                  <p:cNvPr id="624" name="Mongolei Verbinder 313"/>
                  <p:cNvCxnSpPr/>
                  <p:nvPr/>
                </p:nvCxnSpPr>
                <p:spPr>
                  <a:xfrm flipH="1" flipV="1">
                    <a:off x="7603200" y="2867040"/>
                    <a:ext cx="2087640" cy="60840"/>
                  </a:xfrm>
                  <a:prstGeom prst="straightConnector1">
                    <a:avLst/>
                  </a:prstGeom>
                  <a:ln w="3175">
                    <a:solidFill>
                      <a:srgbClr val="004b7d"/>
                    </a:solidFill>
                  </a:ln>
                </p:spPr>
              </p:cxnSp>
              <p:cxnSp>
                <p:nvCxnSpPr>
                  <p:cNvPr id="625" name="China Verbinder 318"/>
                  <p:cNvCxnSpPr/>
                  <p:nvPr/>
                </p:nvCxnSpPr>
                <p:spPr>
                  <a:xfrm flipH="1" flipV="1">
                    <a:off x="7603200" y="2867040"/>
                    <a:ext cx="1971000" cy="401400"/>
                  </a:xfrm>
                  <a:prstGeom prst="straightConnector1">
                    <a:avLst/>
                  </a:prstGeom>
                  <a:ln w="3175">
                    <a:solidFill>
                      <a:srgbClr val="004b7d"/>
                    </a:solidFill>
                  </a:ln>
                </p:spPr>
              </p:cxnSp>
              <p:cxnSp>
                <p:nvCxnSpPr>
                  <p:cNvPr id="626" name="Pakistan Verbinder 322"/>
                  <p:cNvCxnSpPr/>
                  <p:nvPr/>
                </p:nvCxnSpPr>
                <p:spPr>
                  <a:xfrm flipH="1" flipV="1">
                    <a:off x="7603200" y="2867040"/>
                    <a:ext cx="1237320" cy="591840"/>
                  </a:xfrm>
                  <a:prstGeom prst="straightConnector1">
                    <a:avLst/>
                  </a:prstGeom>
                  <a:ln w="3175">
                    <a:solidFill>
                      <a:srgbClr val="004b7d"/>
                    </a:solidFill>
                  </a:ln>
                </p:spPr>
              </p:cxnSp>
              <p:cxnSp>
                <p:nvCxnSpPr>
                  <p:cNvPr id="627" name="Indien Verbinder 325"/>
                  <p:cNvCxnSpPr/>
                  <p:nvPr/>
                </p:nvCxnSpPr>
                <p:spPr>
                  <a:xfrm flipH="1" flipV="1">
                    <a:off x="7603200" y="2867040"/>
                    <a:ext cx="1480320" cy="744120"/>
                  </a:xfrm>
                  <a:prstGeom prst="straightConnector1">
                    <a:avLst/>
                  </a:prstGeom>
                  <a:ln w="3175">
                    <a:solidFill>
                      <a:srgbClr val="004b7d"/>
                    </a:solidFill>
                  </a:ln>
                </p:spPr>
              </p:cxnSp>
              <p:cxnSp>
                <p:nvCxnSpPr>
                  <p:cNvPr id="628" name="Bangladesch Verbinder 358"/>
                  <p:cNvCxnSpPr/>
                  <p:nvPr/>
                </p:nvCxnSpPr>
                <p:spPr>
                  <a:xfrm flipH="1" flipV="1">
                    <a:off x="7603200" y="2867040"/>
                    <a:ext cx="1875600" cy="632160"/>
                  </a:xfrm>
                  <a:prstGeom prst="straightConnector1">
                    <a:avLst/>
                  </a:prstGeom>
                  <a:ln w="3175">
                    <a:solidFill>
                      <a:srgbClr val="004b7d"/>
                    </a:solidFill>
                  </a:ln>
                </p:spPr>
              </p:cxnSp>
              <p:cxnSp>
                <p:nvCxnSpPr>
                  <p:cNvPr id="629" name="Südkorea Verbinder 360"/>
                  <p:cNvCxnSpPr/>
                  <p:nvPr/>
                </p:nvCxnSpPr>
                <p:spPr>
                  <a:xfrm flipH="1" flipV="1">
                    <a:off x="7603200" y="2867040"/>
                    <a:ext cx="2718720" cy="356400"/>
                  </a:xfrm>
                  <a:prstGeom prst="straightConnector1">
                    <a:avLst/>
                  </a:prstGeom>
                  <a:ln w="3175">
                    <a:solidFill>
                      <a:srgbClr val="004b7d"/>
                    </a:solidFill>
                  </a:ln>
                </p:spPr>
              </p:cxnSp>
              <p:cxnSp>
                <p:nvCxnSpPr>
                  <p:cNvPr id="630" name="Japan Verbinder 362"/>
                  <p:cNvCxnSpPr/>
                  <p:nvPr/>
                </p:nvCxnSpPr>
                <p:spPr>
                  <a:xfrm flipH="1" flipV="1">
                    <a:off x="7603200" y="2867040"/>
                    <a:ext cx="2944080" cy="259200"/>
                  </a:xfrm>
                  <a:prstGeom prst="straightConnector1">
                    <a:avLst/>
                  </a:prstGeom>
                  <a:ln w="3175">
                    <a:solidFill>
                      <a:srgbClr val="004b7d"/>
                    </a:solidFill>
                  </a:ln>
                </p:spPr>
              </p:cxnSp>
              <p:cxnSp>
                <p:nvCxnSpPr>
                  <p:cNvPr id="631" name="Thailand Verbinder 364"/>
                  <p:cNvCxnSpPr/>
                  <p:nvPr/>
                </p:nvCxnSpPr>
                <p:spPr>
                  <a:xfrm flipH="1" flipV="1">
                    <a:off x="7603200" y="2867040"/>
                    <a:ext cx="2058480" cy="880200"/>
                  </a:xfrm>
                  <a:prstGeom prst="straightConnector1">
                    <a:avLst/>
                  </a:prstGeom>
                  <a:ln w="3175">
                    <a:solidFill>
                      <a:srgbClr val="004b7d"/>
                    </a:solidFill>
                  </a:ln>
                </p:spPr>
              </p:cxnSp>
              <p:cxnSp>
                <p:nvCxnSpPr>
                  <p:cNvPr id="632" name="Thaiwan Verbinder 366"/>
                  <p:cNvCxnSpPr/>
                  <p:nvPr/>
                </p:nvCxnSpPr>
                <p:spPr>
                  <a:xfrm flipH="1" flipV="1">
                    <a:off x="7603200" y="2867040"/>
                    <a:ext cx="2564280" cy="673200"/>
                  </a:xfrm>
                  <a:prstGeom prst="straightConnector1">
                    <a:avLst/>
                  </a:prstGeom>
                  <a:ln w="3175">
                    <a:solidFill>
                      <a:srgbClr val="004b7d"/>
                    </a:solidFill>
                  </a:ln>
                </p:spPr>
              </p:cxnSp>
              <p:cxnSp>
                <p:nvCxnSpPr>
                  <p:cNvPr id="633" name="Singapur Verbinder 367"/>
                  <p:cNvCxnSpPr/>
                  <p:nvPr/>
                </p:nvCxnSpPr>
                <p:spPr>
                  <a:xfrm flipH="1" flipV="1">
                    <a:off x="7603200" y="2867040"/>
                    <a:ext cx="2142360" cy="1236600"/>
                  </a:xfrm>
                  <a:prstGeom prst="straightConnector1">
                    <a:avLst/>
                  </a:prstGeom>
                  <a:ln w="3175">
                    <a:solidFill>
                      <a:srgbClr val="004b7d"/>
                    </a:solidFill>
                  </a:ln>
                </p:spPr>
              </p:cxnSp>
              <p:cxnSp>
                <p:nvCxnSpPr>
                  <p:cNvPr id="634" name="Algerien Verbinder 298"/>
                  <p:cNvCxnSpPr/>
                  <p:nvPr/>
                </p:nvCxnSpPr>
                <p:spPr>
                  <a:xfrm flipV="1">
                    <a:off x="7461720" y="2875680"/>
                    <a:ext cx="120960" cy="671040"/>
                  </a:xfrm>
                  <a:prstGeom prst="straightConnector1">
                    <a:avLst/>
                  </a:prstGeom>
                  <a:ln w="3175">
                    <a:solidFill>
                      <a:srgbClr val="004b7d"/>
                    </a:solidFill>
                  </a:ln>
                </p:spPr>
              </p:cxnSp>
              <p:cxnSp>
                <p:nvCxnSpPr>
                  <p:cNvPr id="635" name="Kamerun Verbinder 299"/>
                  <p:cNvCxnSpPr/>
                  <p:nvPr/>
                </p:nvCxnSpPr>
                <p:spPr>
                  <a:xfrm flipH="1" flipV="1">
                    <a:off x="7582320" y="2875680"/>
                    <a:ext cx="72360" cy="1135440"/>
                  </a:xfrm>
                  <a:prstGeom prst="straightConnector1">
                    <a:avLst/>
                  </a:prstGeom>
                  <a:ln w="3175">
                    <a:solidFill>
                      <a:srgbClr val="004b7d"/>
                    </a:solidFill>
                  </a:ln>
                </p:spPr>
              </p:cxnSp>
              <p:cxnSp>
                <p:nvCxnSpPr>
                  <p:cNvPr id="636" name="Sudan Verbinder 300"/>
                  <p:cNvCxnSpPr/>
                  <p:nvPr/>
                </p:nvCxnSpPr>
                <p:spPr>
                  <a:xfrm flipH="1" flipV="1">
                    <a:off x="7582320" y="2875680"/>
                    <a:ext cx="398880" cy="918720"/>
                  </a:xfrm>
                  <a:prstGeom prst="straightConnector1">
                    <a:avLst/>
                  </a:prstGeom>
                  <a:ln w="3175">
                    <a:solidFill>
                      <a:srgbClr val="004b7d"/>
                    </a:solidFill>
                  </a:ln>
                </p:spPr>
              </p:cxnSp>
              <p:cxnSp>
                <p:nvCxnSpPr>
                  <p:cNvPr id="637" name="Südafrika Verbinder 302"/>
                  <p:cNvCxnSpPr/>
                  <p:nvPr/>
                </p:nvCxnSpPr>
                <p:spPr>
                  <a:xfrm flipH="1" flipV="1">
                    <a:off x="7582320" y="2875680"/>
                    <a:ext cx="272520" cy="1971360"/>
                  </a:xfrm>
                  <a:prstGeom prst="straightConnector1">
                    <a:avLst/>
                  </a:prstGeom>
                  <a:ln w="3175">
                    <a:solidFill>
                      <a:srgbClr val="004b7d"/>
                    </a:solidFill>
                  </a:ln>
                </p:spPr>
              </p:cxnSp>
              <p:cxnSp>
                <p:nvCxnSpPr>
                  <p:cNvPr id="638" name="Australien Verbinder 303"/>
                  <p:cNvCxnSpPr/>
                  <p:nvPr/>
                </p:nvCxnSpPr>
                <p:spPr>
                  <a:xfrm flipH="1" flipV="1">
                    <a:off x="7603200" y="2867040"/>
                    <a:ext cx="2791440" cy="1817280"/>
                  </a:xfrm>
                  <a:prstGeom prst="straightConnector1">
                    <a:avLst/>
                  </a:prstGeom>
                  <a:ln w="3175">
                    <a:solidFill>
                      <a:srgbClr val="004b7d"/>
                    </a:solidFill>
                  </a:ln>
                </p:spPr>
              </p:cxnSp>
              <p:cxnSp>
                <p:nvCxnSpPr>
                  <p:cNvPr id="639" name="Kanada Verbinder 304"/>
                  <p:cNvCxnSpPr/>
                  <p:nvPr/>
                </p:nvCxnSpPr>
                <p:spPr>
                  <a:xfrm>
                    <a:off x="5197680" y="2721960"/>
                    <a:ext cx="2355840" cy="124920"/>
                  </a:xfrm>
                  <a:prstGeom prst="straightConnector1">
                    <a:avLst/>
                  </a:prstGeom>
                  <a:ln w="3175">
                    <a:solidFill>
                      <a:srgbClr val="004b7d"/>
                    </a:solidFill>
                  </a:ln>
                </p:spPr>
              </p:cxnSp>
              <p:cxnSp>
                <p:nvCxnSpPr>
                  <p:cNvPr id="640" name="USA Verbinder 306"/>
                  <p:cNvCxnSpPr/>
                  <p:nvPr/>
                </p:nvCxnSpPr>
                <p:spPr>
                  <a:xfrm flipV="1">
                    <a:off x="5203800" y="2846520"/>
                    <a:ext cx="2349720" cy="254520"/>
                  </a:xfrm>
                  <a:prstGeom prst="straightConnector1">
                    <a:avLst/>
                  </a:prstGeom>
                  <a:ln w="3175">
                    <a:solidFill>
                      <a:srgbClr val="004b7d"/>
                    </a:solidFill>
                  </a:ln>
                </p:spPr>
              </p:cxnSp>
              <p:cxnSp>
                <p:nvCxnSpPr>
                  <p:cNvPr id="641" name="Mexiko Verbinder 310"/>
                  <p:cNvCxnSpPr/>
                  <p:nvPr/>
                </p:nvCxnSpPr>
                <p:spPr>
                  <a:xfrm flipV="1">
                    <a:off x="5005440" y="2867040"/>
                    <a:ext cx="2556720" cy="669240"/>
                  </a:xfrm>
                  <a:prstGeom prst="straightConnector1">
                    <a:avLst/>
                  </a:prstGeom>
                  <a:ln w="3175">
                    <a:solidFill>
                      <a:srgbClr val="004b7d"/>
                    </a:solidFill>
                  </a:ln>
                </p:spPr>
              </p:cxnSp>
              <p:cxnSp>
                <p:nvCxnSpPr>
                  <p:cNvPr id="642" name="Kuba Verbinder 314"/>
                  <p:cNvCxnSpPr/>
                  <p:nvPr/>
                </p:nvCxnSpPr>
                <p:spPr>
                  <a:xfrm flipV="1">
                    <a:off x="5623920" y="2867040"/>
                    <a:ext cx="1938240" cy="752040"/>
                  </a:xfrm>
                  <a:prstGeom prst="straightConnector1">
                    <a:avLst/>
                  </a:prstGeom>
                  <a:ln w="3175">
                    <a:solidFill>
                      <a:srgbClr val="004b7d"/>
                    </a:solidFill>
                  </a:ln>
                </p:spPr>
              </p:cxnSp>
              <p:cxnSp>
                <p:nvCxnSpPr>
                  <p:cNvPr id="643" name="Costa Rica Verbinder 323"/>
                  <p:cNvCxnSpPr/>
                  <p:nvPr/>
                </p:nvCxnSpPr>
                <p:spPr>
                  <a:xfrm flipV="1">
                    <a:off x="5446440" y="2867040"/>
                    <a:ext cx="2115720" cy="1003680"/>
                  </a:xfrm>
                  <a:prstGeom prst="straightConnector1">
                    <a:avLst/>
                  </a:prstGeom>
                  <a:ln w="3175">
                    <a:solidFill>
                      <a:srgbClr val="004b7d"/>
                    </a:solidFill>
                  </a:ln>
                </p:spPr>
              </p:cxnSp>
              <p:cxnSp>
                <p:nvCxnSpPr>
                  <p:cNvPr id="644" name="Venezuela Verbinder 370"/>
                  <p:cNvCxnSpPr/>
                  <p:nvPr/>
                </p:nvCxnSpPr>
                <p:spPr>
                  <a:xfrm flipV="1">
                    <a:off x="5810400" y="2867040"/>
                    <a:ext cx="1751760" cy="1074600"/>
                  </a:xfrm>
                  <a:prstGeom prst="straightConnector1">
                    <a:avLst/>
                  </a:prstGeom>
                  <a:ln w="3175">
                    <a:solidFill>
                      <a:srgbClr val="004b7d"/>
                    </a:solidFill>
                  </a:ln>
                </p:spPr>
              </p:cxnSp>
              <p:cxnSp>
                <p:nvCxnSpPr>
                  <p:cNvPr id="645" name="Trinidad Verbinder 374"/>
                  <p:cNvCxnSpPr/>
                  <p:nvPr/>
                </p:nvCxnSpPr>
                <p:spPr>
                  <a:xfrm flipV="1">
                    <a:off x="5973120" y="2867040"/>
                    <a:ext cx="1589040" cy="1010880"/>
                  </a:xfrm>
                  <a:prstGeom prst="straightConnector1">
                    <a:avLst/>
                  </a:prstGeom>
                  <a:ln w="3175">
                    <a:solidFill>
                      <a:srgbClr val="004b7d"/>
                    </a:solidFill>
                  </a:ln>
                </p:spPr>
              </p:cxnSp>
              <p:cxnSp>
                <p:nvCxnSpPr>
                  <p:cNvPr id="646" name="Ecuador Verbinder 381"/>
                  <p:cNvCxnSpPr/>
                  <p:nvPr/>
                </p:nvCxnSpPr>
                <p:spPr>
                  <a:xfrm flipV="1">
                    <a:off x="5577840" y="2867040"/>
                    <a:ext cx="1984320" cy="1301400"/>
                  </a:xfrm>
                  <a:prstGeom prst="straightConnector1">
                    <a:avLst/>
                  </a:prstGeom>
                  <a:ln w="3175">
                    <a:solidFill>
                      <a:srgbClr val="004b7d"/>
                    </a:solidFill>
                  </a:ln>
                </p:spPr>
              </p:cxnSp>
              <p:cxnSp>
                <p:nvCxnSpPr>
                  <p:cNvPr id="647" name="Peru Verbinder 383"/>
                  <p:cNvCxnSpPr/>
                  <p:nvPr/>
                </p:nvCxnSpPr>
                <p:spPr>
                  <a:xfrm flipV="1">
                    <a:off x="5675760" y="2867040"/>
                    <a:ext cx="1886400" cy="1546560"/>
                  </a:xfrm>
                  <a:prstGeom prst="straightConnector1">
                    <a:avLst/>
                  </a:prstGeom>
                  <a:ln w="3175">
                    <a:solidFill>
                      <a:srgbClr val="004b7d"/>
                    </a:solidFill>
                  </a:ln>
                </p:spPr>
              </p:cxnSp>
              <p:cxnSp>
                <p:nvCxnSpPr>
                  <p:cNvPr id="648" name="Brasilien Verbinder 384"/>
                  <p:cNvCxnSpPr/>
                  <p:nvPr/>
                </p:nvCxnSpPr>
                <p:spPr>
                  <a:xfrm flipV="1">
                    <a:off x="6139800" y="2867040"/>
                    <a:ext cx="1422360" cy="1477440"/>
                  </a:xfrm>
                  <a:prstGeom prst="straightConnector1">
                    <a:avLst/>
                  </a:prstGeom>
                  <a:ln w="3175">
                    <a:solidFill>
                      <a:srgbClr val="004b7d"/>
                    </a:solidFill>
                  </a:ln>
                </p:spPr>
              </p:cxnSp>
              <p:cxnSp>
                <p:nvCxnSpPr>
                  <p:cNvPr id="649" name="Chile Verbinder 385"/>
                  <p:cNvCxnSpPr/>
                  <p:nvPr/>
                </p:nvCxnSpPr>
                <p:spPr>
                  <a:xfrm flipV="1">
                    <a:off x="5763600" y="2867040"/>
                    <a:ext cx="1798560" cy="1932480"/>
                  </a:xfrm>
                  <a:prstGeom prst="straightConnector1">
                    <a:avLst/>
                  </a:prstGeom>
                  <a:ln w="3175">
                    <a:solidFill>
                      <a:srgbClr val="004b7d"/>
                    </a:solidFill>
                  </a:ln>
                </p:spPr>
              </p:cxnSp>
              <p:cxnSp>
                <p:nvCxnSpPr>
                  <p:cNvPr id="650" name="Antarktis Verbinder 649"/>
                  <p:cNvCxnSpPr/>
                  <p:nvPr/>
                </p:nvCxnSpPr>
                <p:spPr>
                  <a:xfrm flipH="1" flipV="1">
                    <a:off x="7582320" y="2875680"/>
                    <a:ext cx="554760" cy="3021480"/>
                  </a:xfrm>
                  <a:prstGeom prst="straightConnector1">
                    <a:avLst/>
                  </a:prstGeom>
                  <a:ln w="3175">
                    <a:solidFill>
                      <a:srgbClr val="004b7d"/>
                    </a:solidFill>
                  </a:ln>
                </p:spPr>
              </p:cxnSp>
            </p:grpSp>
          </p:grpSp>
          <p:sp>
            <p:nvSpPr>
              <p:cNvPr id="651" name="transparenter Kreis"/>
              <p:cNvSpPr/>
              <p:nvPr/>
            </p:nvSpPr>
            <p:spPr>
              <a:xfrm>
                <a:off x="4047120" y="-677520"/>
                <a:ext cx="7057800" cy="7057800"/>
              </a:xfrm>
              <a:prstGeom prst="ellipse">
                <a:avLst/>
              </a:prstGeom>
              <a:noFill/>
              <a:ln w="9525">
                <a:noFill/>
              </a:ln>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defTabSz="457200">
                  <a:lnSpc>
                    <a:spcPct val="100000"/>
                  </a:lnSpc>
                  <a:tabLst>
                    <a:tab algn="l" pos="0"/>
                  </a:tabLst>
                </a:pPr>
                <a:endParaRPr b="0" lang="de-DE" sz="1600" spc="-1" strike="noStrike">
                  <a:solidFill>
                    <a:srgbClr val="000000"/>
                  </a:solidFill>
                  <a:latin typeface="Arial"/>
                  <a:ea typeface="Arial"/>
                </a:endParaRPr>
              </a:p>
            </p:txBody>
          </p:sp>
        </p:grpSp>
      </p:grpSp>
      <p:sp>
        <p:nvSpPr>
          <p:cNvPr id="652" name="Kreis kleines Europa"/>
          <p:cNvSpPr/>
          <p:nvPr/>
        </p:nvSpPr>
        <p:spPr>
          <a:xfrm>
            <a:off x="6971040" y="2234160"/>
            <a:ext cx="1208880" cy="1208880"/>
          </a:xfrm>
          <a:prstGeom prst="ellipse">
            <a:avLst/>
          </a:prstGeom>
          <a:noFill/>
          <a:ln w="25400">
            <a:solidFill>
              <a:srgbClr val="f18f1f"/>
            </a:solidFill>
          </a:ln>
        </p:spPr>
        <p:style>
          <a:lnRef idx="2">
            <a:schemeClr val="accent1">
              <a:shade val="50000"/>
            </a:schemeClr>
          </a:lnRef>
          <a:fillRef idx="1">
            <a:schemeClr val="accent1"/>
          </a:fillRef>
          <a:effectRef idx="0">
            <a:schemeClr val="accent1"/>
          </a:effectRef>
          <a:fontRef idx="minor"/>
        </p:style>
        <p:txBody>
          <a:bodyPr lIns="274320" rIns="274320" tIns="137160" bIns="137160" anchor="ctr">
            <a:noAutofit/>
          </a:bodyPr>
          <a:p>
            <a:pPr algn="ctr" defTabSz="457200">
              <a:lnSpc>
                <a:spcPct val="100000"/>
              </a:lnSpc>
              <a:tabLst>
                <a:tab algn="l" pos="0"/>
              </a:tabLst>
            </a:pPr>
            <a:endParaRPr b="0" lang="de-DE" sz="1600" spc="-1" strike="noStrike">
              <a:solidFill>
                <a:srgbClr val="000000"/>
              </a:solidFill>
              <a:latin typeface="Arial"/>
              <a:ea typeface="Arial"/>
            </a:endParaRPr>
          </a:p>
        </p:txBody>
      </p:sp>
      <p:grpSp>
        <p:nvGrpSpPr>
          <p:cNvPr id="653" name="Legende"/>
          <p:cNvGrpSpPr/>
          <p:nvPr/>
        </p:nvGrpSpPr>
        <p:grpSpPr>
          <a:xfrm>
            <a:off x="9538920" y="5533200"/>
            <a:ext cx="2216880" cy="520200"/>
            <a:chOff x="9538920" y="5533200"/>
            <a:chExt cx="2216880" cy="520200"/>
          </a:xfrm>
        </p:grpSpPr>
        <p:pic>
          <p:nvPicPr>
            <p:cNvPr id="654" name="Grafik 477" descr="Mann"/>
            <p:cNvPicPr/>
            <p:nvPr/>
          </p:nvPicPr>
          <p:blipFill>
            <a:blip r:embed="rId37"/>
            <a:stretch/>
          </p:blipFill>
          <p:spPr>
            <a:xfrm>
              <a:off x="10404360" y="5533200"/>
              <a:ext cx="299880" cy="299880"/>
            </a:xfrm>
            <a:prstGeom prst="rect">
              <a:avLst/>
            </a:prstGeom>
            <a:ln w="0">
              <a:noFill/>
            </a:ln>
          </p:spPr>
        </p:pic>
        <p:pic>
          <p:nvPicPr>
            <p:cNvPr id="655" name="Grafik 478" descr="Mann"/>
            <p:cNvPicPr/>
            <p:nvPr/>
          </p:nvPicPr>
          <p:blipFill>
            <a:blip r:embed="rId38"/>
            <a:stretch/>
          </p:blipFill>
          <p:spPr>
            <a:xfrm>
              <a:off x="9993960" y="5615280"/>
              <a:ext cx="209520" cy="209520"/>
            </a:xfrm>
            <a:prstGeom prst="rect">
              <a:avLst/>
            </a:prstGeom>
            <a:ln w="0">
              <a:noFill/>
            </a:ln>
          </p:spPr>
        </p:pic>
        <p:pic>
          <p:nvPicPr>
            <p:cNvPr id="656" name="Grafik 479" descr="Mann"/>
            <p:cNvPicPr/>
            <p:nvPr/>
          </p:nvPicPr>
          <p:blipFill>
            <a:blip r:embed="rId39"/>
            <a:stretch/>
          </p:blipFill>
          <p:spPr>
            <a:xfrm>
              <a:off x="9538920" y="5667480"/>
              <a:ext cx="156960" cy="156960"/>
            </a:xfrm>
            <a:prstGeom prst="rect">
              <a:avLst/>
            </a:prstGeom>
            <a:ln w="0">
              <a:noFill/>
            </a:ln>
          </p:spPr>
        </p:pic>
        <p:sp>
          <p:nvSpPr>
            <p:cNvPr id="657" name="Textfeld 480"/>
            <p:cNvSpPr/>
            <p:nvPr/>
          </p:nvSpPr>
          <p:spPr>
            <a:xfrm>
              <a:off x="9717840" y="5722560"/>
              <a:ext cx="170280" cy="122760"/>
            </a:xfrm>
            <a:prstGeom prst="rect">
              <a:avLst/>
            </a:prstGeom>
            <a:noFill/>
            <a:ln w="0">
              <a:noFill/>
            </a:ln>
          </p:spPr>
          <p:style>
            <a:lnRef idx="0"/>
            <a:fillRef idx="0"/>
            <a:effectRef idx="0"/>
            <a:fontRef idx="minor"/>
          </p:style>
          <p:txBody>
            <a:bodyPr lIns="0" rIns="0" tIns="0" bIns="0" anchor="t">
              <a:noAutofit/>
            </a:bodyPr>
            <a:p>
              <a:pPr defTabSz="457200">
                <a:lnSpc>
                  <a:spcPct val="100000"/>
                </a:lnSpc>
                <a:tabLst>
                  <a:tab algn="l" pos="0"/>
                </a:tabLst>
              </a:pPr>
              <a:r>
                <a:rPr b="0" lang="de-DE" sz="800" spc="-1" strike="noStrike">
                  <a:solidFill>
                    <a:srgbClr val="004b7d"/>
                  </a:solidFill>
                  <a:latin typeface="Arial"/>
                  <a:ea typeface="Arial"/>
                </a:rPr>
                <a:t>1-5</a:t>
              </a:r>
              <a:endParaRPr b="0" lang="en-US" sz="800" spc="-1" strike="noStrike">
                <a:solidFill>
                  <a:srgbClr val="ffffff"/>
                </a:solidFill>
                <a:latin typeface="Calibri"/>
              </a:endParaRPr>
            </a:p>
          </p:txBody>
        </p:sp>
        <p:sp>
          <p:nvSpPr>
            <p:cNvPr id="658" name="Textfeld 481"/>
            <p:cNvSpPr/>
            <p:nvPr/>
          </p:nvSpPr>
          <p:spPr>
            <a:xfrm>
              <a:off x="10158480" y="5722560"/>
              <a:ext cx="257760" cy="122760"/>
            </a:xfrm>
            <a:prstGeom prst="rect">
              <a:avLst/>
            </a:prstGeom>
            <a:noFill/>
            <a:ln w="0">
              <a:noFill/>
            </a:ln>
          </p:spPr>
          <p:style>
            <a:lnRef idx="0"/>
            <a:fillRef idx="0"/>
            <a:effectRef idx="0"/>
            <a:fontRef idx="minor"/>
          </p:style>
          <p:txBody>
            <a:bodyPr lIns="0" rIns="0" tIns="0" bIns="0" anchor="t">
              <a:noAutofit/>
            </a:bodyPr>
            <a:p>
              <a:pPr defTabSz="457200">
                <a:lnSpc>
                  <a:spcPct val="100000"/>
                </a:lnSpc>
                <a:tabLst>
                  <a:tab algn="l" pos="0"/>
                </a:tabLst>
              </a:pPr>
              <a:r>
                <a:rPr b="0" lang="de-DE" sz="800" spc="-1" strike="noStrike">
                  <a:solidFill>
                    <a:srgbClr val="004b7d"/>
                  </a:solidFill>
                  <a:latin typeface="Arial"/>
                  <a:ea typeface="Arial"/>
                </a:rPr>
                <a:t>6-45</a:t>
              </a:r>
              <a:endParaRPr b="0" lang="en-US" sz="800" spc="-1" strike="noStrike">
                <a:solidFill>
                  <a:srgbClr val="ffffff"/>
                </a:solidFill>
                <a:latin typeface="Calibri"/>
              </a:endParaRPr>
            </a:p>
          </p:txBody>
        </p:sp>
        <p:sp>
          <p:nvSpPr>
            <p:cNvPr id="659" name="Textfeld 482"/>
            <p:cNvSpPr/>
            <p:nvPr/>
          </p:nvSpPr>
          <p:spPr>
            <a:xfrm>
              <a:off x="10630080" y="5722560"/>
              <a:ext cx="398160" cy="122760"/>
            </a:xfrm>
            <a:prstGeom prst="rect">
              <a:avLst/>
            </a:prstGeom>
            <a:noFill/>
            <a:ln w="0">
              <a:noFill/>
            </a:ln>
          </p:spPr>
          <p:style>
            <a:lnRef idx="0"/>
            <a:fillRef idx="0"/>
            <a:effectRef idx="0"/>
            <a:fontRef idx="minor"/>
          </p:style>
          <p:txBody>
            <a:bodyPr lIns="0" rIns="0" tIns="0" bIns="0" anchor="t">
              <a:noAutofit/>
            </a:bodyPr>
            <a:p>
              <a:pPr defTabSz="457200">
                <a:lnSpc>
                  <a:spcPct val="100000"/>
                </a:lnSpc>
                <a:tabLst>
                  <a:tab algn="l" pos="0"/>
                </a:tabLst>
              </a:pPr>
              <a:r>
                <a:rPr b="0" lang="de-DE" sz="800" spc="-1" strike="noStrike">
                  <a:solidFill>
                    <a:srgbClr val="004b7d"/>
                  </a:solidFill>
                  <a:latin typeface="Arial"/>
                  <a:ea typeface="Arial"/>
                </a:rPr>
                <a:t>46-200</a:t>
              </a:r>
              <a:endParaRPr b="0" lang="en-US" sz="800" spc="-1" strike="noStrike">
                <a:solidFill>
                  <a:srgbClr val="ffffff"/>
                </a:solidFill>
                <a:latin typeface="Calibri"/>
              </a:endParaRPr>
            </a:p>
          </p:txBody>
        </p:sp>
        <p:sp>
          <p:nvSpPr>
            <p:cNvPr id="660" name="Textfeld 483"/>
            <p:cNvSpPr/>
            <p:nvPr/>
          </p:nvSpPr>
          <p:spPr>
            <a:xfrm>
              <a:off x="9565200" y="5912640"/>
              <a:ext cx="2190600" cy="140760"/>
            </a:xfrm>
            <a:prstGeom prst="rect">
              <a:avLst/>
            </a:prstGeom>
            <a:noFill/>
            <a:ln w="0">
              <a:noFill/>
            </a:ln>
          </p:spPr>
          <p:style>
            <a:lnRef idx="0"/>
            <a:fillRef idx="0"/>
            <a:effectRef idx="0"/>
            <a:fontRef idx="minor"/>
          </p:style>
          <p:txBody>
            <a:bodyPr lIns="0" rIns="0" tIns="0" bIns="0" anchor="t">
              <a:noAutofit/>
            </a:bodyPr>
            <a:p>
              <a:pPr defTabSz="457200">
                <a:lnSpc>
                  <a:spcPct val="100000"/>
                </a:lnSpc>
                <a:tabLst>
                  <a:tab algn="l" pos="0"/>
                </a:tabLst>
              </a:pPr>
              <a:r>
                <a:rPr b="0" lang="de-DE" sz="800" spc="-1" strike="noStrike">
                  <a:solidFill>
                    <a:srgbClr val="004b7d"/>
                  </a:solidFill>
                  <a:latin typeface="Arial"/>
                  <a:ea typeface="Arial"/>
                </a:rPr>
                <a:t>International guest scientists at DESY</a:t>
              </a:r>
              <a:endParaRPr b="0" lang="en-US" sz="800" spc="-1" strike="noStrike">
                <a:solidFill>
                  <a:srgbClr val="ffffff"/>
                </a:solidFill>
                <a:latin typeface="Calibri"/>
              </a:endParaRPr>
            </a:p>
          </p:txBody>
        </p:sp>
        <p:cxnSp>
          <p:nvCxnSpPr>
            <p:cNvPr id="661" name="Gerader Verbinder 184"/>
            <p:cNvCxnSpPr/>
            <p:nvPr/>
          </p:nvCxnSpPr>
          <p:spPr>
            <a:xfrm>
              <a:off x="9555840" y="5888520"/>
              <a:ext cx="2034360" cy="360"/>
            </a:xfrm>
            <a:prstGeom prst="straightConnector1">
              <a:avLst/>
            </a:prstGeom>
            <a:ln w="9525">
              <a:solidFill>
                <a:srgbClr val="004b7d"/>
              </a:solidFill>
            </a:ln>
          </p:spPr>
        </p:cxnSp>
      </p:grpSp>
      <p:grpSp>
        <p:nvGrpSpPr>
          <p:cNvPr id="662" name="Verlauf zum grossen Europa"/>
          <p:cNvGrpSpPr/>
          <p:nvPr/>
        </p:nvGrpSpPr>
        <p:grpSpPr>
          <a:xfrm>
            <a:off x="438120" y="912960"/>
            <a:ext cx="7828920" cy="5356080"/>
            <a:chOff x="438120" y="912960"/>
            <a:chExt cx="7828920" cy="5356080"/>
          </a:xfrm>
        </p:grpSpPr>
        <p:sp>
          <p:nvSpPr>
            <p:cNvPr id="663" name="Verlauf"/>
            <p:cNvSpPr/>
            <p:nvPr/>
          </p:nvSpPr>
          <p:spPr>
            <a:xfrm flipV="1" rot="20640000">
              <a:off x="2674440" y="1546920"/>
              <a:ext cx="5151600" cy="3921840"/>
            </a:xfrm>
            <a:custGeom>
              <a:avLst/>
              <a:gdLst>
                <a:gd name="textAreaLeft" fmla="*/ 0 w 5151600"/>
                <a:gd name="textAreaRight" fmla="*/ 5151960 w 5151600"/>
                <a:gd name="textAreaTop" fmla="*/ 360 h 3921840"/>
                <a:gd name="textAreaBottom" fmla="*/ 3922560 h 3921840"/>
              </a:gdLst>
              <a:ahLst/>
              <a:rect l="textAreaLeft" t="textAreaTop" r="textAreaRight" b="textAreaBottom"/>
              <a:pathLst>
                <a:path w="5151889" h="3922138">
                  <a:moveTo>
                    <a:pt x="5113136" y="2553510"/>
                  </a:moveTo>
                  <a:lnTo>
                    <a:pt x="5041820" y="2566397"/>
                  </a:lnTo>
                  <a:cubicBezTo>
                    <a:pt x="4761402" y="2588148"/>
                    <a:pt x="4494951" y="2410920"/>
                    <a:pt x="4414404" y="2130021"/>
                  </a:cubicBezTo>
                  <a:cubicBezTo>
                    <a:pt x="4322351" y="1808993"/>
                    <a:pt x="4507971" y="1474125"/>
                    <a:pt x="4828999" y="1382072"/>
                  </a:cubicBezTo>
                  <a:cubicBezTo>
                    <a:pt x="4909256" y="1359058"/>
                    <a:pt x="4990378" y="1353400"/>
                    <a:pt x="5068355" y="1362872"/>
                  </a:cubicBezTo>
                  <a:lnTo>
                    <a:pt x="5151863" y="1381374"/>
                  </a:lnTo>
                  <a:lnTo>
                    <a:pt x="5151889" y="1379001"/>
                  </a:lnTo>
                  <a:lnTo>
                    <a:pt x="0" y="0"/>
                  </a:lnTo>
                  <a:lnTo>
                    <a:pt x="0" y="65660"/>
                  </a:lnTo>
                  <a:lnTo>
                    <a:pt x="10999" y="67544"/>
                  </a:lnTo>
                  <a:cubicBezTo>
                    <a:pt x="682642" y="216594"/>
                    <a:pt x="1253686" y="719168"/>
                    <a:pt x="1456654" y="1427002"/>
                  </a:cubicBezTo>
                  <a:cubicBezTo>
                    <a:pt x="1751880" y="2456579"/>
                    <a:pt x="1156572" y="3530544"/>
                    <a:pt x="126995" y="3825770"/>
                  </a:cubicBezTo>
                  <a:lnTo>
                    <a:pt x="0" y="3855345"/>
                  </a:lnTo>
                  <a:lnTo>
                    <a:pt x="0" y="3922138"/>
                  </a:lnTo>
                  <a:close/>
                </a:path>
              </a:pathLst>
            </a:custGeom>
            <a:gradFill rotWithShape="0">
              <a:gsLst>
                <a:gs pos="1000">
                  <a:srgbClr val="004b7d">
                    <a:alpha val="50000"/>
                  </a:srgbClr>
                </a:gs>
                <a:gs pos="40000">
                  <a:srgbClr val="004b7d">
                    <a:alpha val="20000"/>
                  </a:srgbClr>
                </a:gs>
                <a:gs pos="100000">
                  <a:srgbClr val="004b7d">
                    <a:alpha val="15000"/>
                  </a:srgbClr>
                </a:gs>
              </a:gsLst>
              <a:lin ang="20640000"/>
            </a:gradFill>
            <a:ln w="9525">
              <a:noFill/>
            </a:ln>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defTabSz="457200">
                <a:lnSpc>
                  <a:spcPct val="100000"/>
                </a:lnSpc>
                <a:tabLst>
                  <a:tab algn="l" pos="0"/>
                </a:tabLst>
              </a:pPr>
              <a:endParaRPr b="0" lang="de-DE" sz="1600" spc="-1" strike="noStrike">
                <a:solidFill>
                  <a:srgbClr val="000000"/>
                </a:solidFill>
                <a:latin typeface="Arial"/>
                <a:ea typeface="Arial"/>
              </a:endParaRPr>
            </a:p>
          </p:txBody>
        </p:sp>
        <p:grpSp>
          <p:nvGrpSpPr>
            <p:cNvPr id="664" name="grosses Europa"/>
            <p:cNvGrpSpPr/>
            <p:nvPr/>
          </p:nvGrpSpPr>
          <p:grpSpPr>
            <a:xfrm>
              <a:off x="438120" y="2380680"/>
              <a:ext cx="3889080" cy="3888360"/>
              <a:chOff x="438120" y="2380680"/>
              <a:chExt cx="3889080" cy="3888360"/>
            </a:xfrm>
          </p:grpSpPr>
          <p:grpSp>
            <p:nvGrpSpPr>
              <p:cNvPr id="665" name="Gruppieren 488"/>
              <p:cNvGrpSpPr/>
              <p:nvPr/>
            </p:nvGrpSpPr>
            <p:grpSpPr>
              <a:xfrm>
                <a:off x="1175400" y="2524320"/>
                <a:ext cx="3145680" cy="3744360"/>
                <a:chOff x="1175400" y="2524320"/>
                <a:chExt cx="3145680" cy="3744360"/>
              </a:xfrm>
            </p:grpSpPr>
            <p:sp>
              <p:nvSpPr>
                <p:cNvPr id="666" name="Freeform 31"/>
                <p:cNvSpPr/>
                <p:nvPr/>
              </p:nvSpPr>
              <p:spPr>
                <a:xfrm>
                  <a:off x="2423880" y="3767760"/>
                  <a:ext cx="317520" cy="286200"/>
                </a:xfrm>
                <a:custGeom>
                  <a:avLst/>
                  <a:gdLst>
                    <a:gd name="textAreaLeft" fmla="*/ 0 w 317520"/>
                    <a:gd name="textAreaRight" fmla="*/ 317880 w 317520"/>
                    <a:gd name="textAreaTop" fmla="*/ 0 h 286200"/>
                    <a:gd name="textAreaBottom" fmla="*/ 286560 h 286200"/>
                  </a:gdLst>
                  <a:ahLst/>
                  <a:rect l="textAreaLeft" t="textAreaTop" r="textAreaRight" b="textAreaBottom"/>
                  <a:pathLst>
                    <a:path w="106181" h="95686">
                      <a:moveTo>
                        <a:pt x="98815" y="53343"/>
                      </a:moveTo>
                      <a:lnTo>
                        <a:pt x="106181" y="69623"/>
                      </a:lnTo>
                      <a:lnTo>
                        <a:pt x="92331" y="95686"/>
                      </a:lnTo>
                      <a:lnTo>
                        <a:pt x="68176" y="77541"/>
                      </a:lnTo>
                      <a:lnTo>
                        <a:pt x="64953" y="64117"/>
                      </a:lnTo>
                      <a:close/>
                      <a:moveTo>
                        <a:pt x="57476" y="0"/>
                      </a:moveTo>
                      <a:lnTo>
                        <a:pt x="56694" y="17082"/>
                      </a:lnTo>
                      <a:lnTo>
                        <a:pt x="49859" y="27836"/>
                      </a:lnTo>
                      <a:lnTo>
                        <a:pt x="52629" y="37042"/>
                      </a:lnTo>
                      <a:lnTo>
                        <a:pt x="65144" y="42003"/>
                      </a:lnTo>
                      <a:lnTo>
                        <a:pt x="59503" y="54321"/>
                      </a:lnTo>
                      <a:lnTo>
                        <a:pt x="52629" y="50781"/>
                      </a:lnTo>
                      <a:lnTo>
                        <a:pt x="36009" y="74148"/>
                      </a:lnTo>
                      <a:lnTo>
                        <a:pt x="42286" y="89820"/>
                      </a:lnTo>
                      <a:lnTo>
                        <a:pt x="27516" y="94699"/>
                      </a:lnTo>
                      <a:lnTo>
                        <a:pt x="10070" y="90473"/>
                      </a:lnTo>
                      <a:lnTo>
                        <a:pt x="700" y="72606"/>
                      </a:lnTo>
                      <a:lnTo>
                        <a:pt x="0" y="39337"/>
                      </a:lnTo>
                      <a:lnTo>
                        <a:pt x="3846" y="30471"/>
                      </a:lnTo>
                      <a:lnTo>
                        <a:pt x="10467" y="20578"/>
                      </a:lnTo>
                      <a:lnTo>
                        <a:pt x="30803" y="18527"/>
                      </a:lnTo>
                      <a:lnTo>
                        <a:pt x="38907" y="9385"/>
                      </a:lnTo>
                      <a:close/>
                    </a:path>
                  </a:pathLst>
                </a:custGeom>
                <a:solidFill>
                  <a:schemeClr val="accent1"/>
                </a:solidFill>
                <a:ln cap="rnd" w="9525">
                  <a:solidFill>
                    <a:srgbClr val="009fdf">
                      <a:lumMod val="60000"/>
                      <a:lumOff val="40000"/>
                    </a:srgbClr>
                  </a:solidFill>
                </a:ln>
              </p:spPr>
              <p:style>
                <a:lnRef idx="2">
                  <a:schemeClr val="accent1">
                    <a:shade val="50000"/>
                  </a:schemeClr>
                </a:lnRef>
                <a:fillRef idx="1">
                  <a:schemeClr val="accent1"/>
                </a:fillRef>
                <a:effectRef idx="0">
                  <a:schemeClr val="accent1"/>
                </a:effectRef>
                <a:fontRef idx="minor"/>
              </p:style>
              <p:txBody>
                <a:bodyPr numCol="1" spcCol="0" horzOverflow="overflow" lIns="216000" rIns="216000" tIns="143280" bIns="143280" anchor="ctr">
                  <a:noAutofit/>
                </a:bodyPr>
                <a:p>
                  <a:pPr algn="ctr" defTabSz="457200">
                    <a:lnSpc>
                      <a:spcPct val="100000"/>
                    </a:lnSpc>
                    <a:tabLst>
                      <a:tab algn="l" pos="0"/>
                    </a:tabLst>
                  </a:pPr>
                  <a:endParaRPr b="0" lang="de-DE" sz="1600" spc="-1" strike="noStrike">
                    <a:solidFill>
                      <a:srgbClr val="000000"/>
                    </a:solidFill>
                    <a:latin typeface="Arial"/>
                    <a:ea typeface="Arial"/>
                  </a:endParaRPr>
                </a:p>
              </p:txBody>
            </p:sp>
            <p:sp>
              <p:nvSpPr>
                <p:cNvPr id="667" name="Freeform 32"/>
                <p:cNvSpPr/>
                <p:nvPr/>
              </p:nvSpPr>
              <p:spPr>
                <a:xfrm>
                  <a:off x="1341360" y="3676680"/>
                  <a:ext cx="639000" cy="826560"/>
                </a:xfrm>
                <a:custGeom>
                  <a:avLst/>
                  <a:gdLst>
                    <a:gd name="textAreaLeft" fmla="*/ 0 w 639000"/>
                    <a:gd name="textAreaRight" fmla="*/ 639360 w 639000"/>
                    <a:gd name="textAreaTop" fmla="*/ 0 h 826560"/>
                    <a:gd name="textAreaBottom" fmla="*/ 826920 h 826560"/>
                  </a:gdLst>
                  <a:ahLst/>
                  <a:rect l="textAreaLeft" t="textAreaTop" r="textAreaRight" b="textAreaBottom"/>
                  <a:pathLst>
                    <a:path w="213600" h="276243">
                      <a:moveTo>
                        <a:pt x="19350" y="114098"/>
                      </a:moveTo>
                      <a:lnTo>
                        <a:pt x="44092" y="133901"/>
                      </a:lnTo>
                      <a:lnTo>
                        <a:pt x="31722" y="155717"/>
                      </a:lnTo>
                      <a:lnTo>
                        <a:pt x="14275" y="149192"/>
                      </a:lnTo>
                      <a:lnTo>
                        <a:pt x="0" y="149628"/>
                      </a:lnTo>
                      <a:lnTo>
                        <a:pt x="4758" y="132586"/>
                      </a:lnTo>
                      <a:lnTo>
                        <a:pt x="0" y="115424"/>
                      </a:lnTo>
                      <a:close/>
                      <a:moveTo>
                        <a:pt x="105422" y="0"/>
                      </a:moveTo>
                      <a:lnTo>
                        <a:pt x="80751" y="36267"/>
                      </a:lnTo>
                      <a:lnTo>
                        <a:pt x="104268" y="31707"/>
                      </a:lnTo>
                      <a:lnTo>
                        <a:pt x="129560" y="31881"/>
                      </a:lnTo>
                      <a:lnTo>
                        <a:pt x="123542" y="58869"/>
                      </a:lnTo>
                      <a:lnTo>
                        <a:pt x="102791" y="88196"/>
                      </a:lnTo>
                      <a:lnTo>
                        <a:pt x="126658" y="90270"/>
                      </a:lnTo>
                      <a:lnTo>
                        <a:pt x="128489" y="93682"/>
                      </a:lnTo>
                      <a:lnTo>
                        <a:pt x="149048" y="131655"/>
                      </a:lnTo>
                      <a:lnTo>
                        <a:pt x="164849" y="136778"/>
                      </a:lnTo>
                      <a:lnTo>
                        <a:pt x="179055" y="172807"/>
                      </a:lnTo>
                      <a:lnTo>
                        <a:pt x="185634" y="185174"/>
                      </a:lnTo>
                      <a:lnTo>
                        <a:pt x="213600" y="191116"/>
                      </a:lnTo>
                      <a:lnTo>
                        <a:pt x="210794" y="210960"/>
                      </a:lnTo>
                      <a:lnTo>
                        <a:pt x="199035" y="220006"/>
                      </a:lnTo>
                      <a:lnTo>
                        <a:pt x="208252" y="235886"/>
                      </a:lnTo>
                      <a:lnTo>
                        <a:pt x="187489" y="251860"/>
                      </a:lnTo>
                      <a:lnTo>
                        <a:pt x="156608" y="251579"/>
                      </a:lnTo>
                      <a:lnTo>
                        <a:pt x="117310" y="259927"/>
                      </a:lnTo>
                      <a:lnTo>
                        <a:pt x="106547" y="253953"/>
                      </a:lnTo>
                      <a:lnTo>
                        <a:pt x="91285" y="268149"/>
                      </a:lnTo>
                      <a:lnTo>
                        <a:pt x="69932" y="264717"/>
                      </a:lnTo>
                      <a:lnTo>
                        <a:pt x="53716" y="276243"/>
                      </a:lnTo>
                      <a:lnTo>
                        <a:pt x="41447" y="270223"/>
                      </a:lnTo>
                      <a:lnTo>
                        <a:pt x="75299" y="238316"/>
                      </a:lnTo>
                      <a:lnTo>
                        <a:pt x="95962" y="231704"/>
                      </a:lnTo>
                      <a:lnTo>
                        <a:pt x="95780" y="231678"/>
                      </a:lnTo>
                      <a:lnTo>
                        <a:pt x="59733" y="226566"/>
                      </a:lnTo>
                      <a:lnTo>
                        <a:pt x="53202" y="214314"/>
                      </a:lnTo>
                      <a:lnTo>
                        <a:pt x="77322" y="204729"/>
                      </a:lnTo>
                      <a:lnTo>
                        <a:pt x="64681" y="187983"/>
                      </a:lnTo>
                      <a:lnTo>
                        <a:pt x="69067" y="167465"/>
                      </a:lnTo>
                      <a:lnTo>
                        <a:pt x="103372" y="170309"/>
                      </a:lnTo>
                      <a:lnTo>
                        <a:pt x="103412" y="170312"/>
                      </a:lnTo>
                      <a:lnTo>
                        <a:pt x="106807" y="152002"/>
                      </a:lnTo>
                      <a:lnTo>
                        <a:pt x="91348" y="132423"/>
                      </a:lnTo>
                      <a:lnTo>
                        <a:pt x="90995" y="131974"/>
                      </a:lnTo>
                      <a:lnTo>
                        <a:pt x="62969" y="126350"/>
                      </a:lnTo>
                      <a:lnTo>
                        <a:pt x="57467" y="117674"/>
                      </a:lnTo>
                      <a:lnTo>
                        <a:pt x="65856" y="103279"/>
                      </a:lnTo>
                      <a:lnTo>
                        <a:pt x="58265" y="94360"/>
                      </a:lnTo>
                      <a:lnTo>
                        <a:pt x="45836" y="109646"/>
                      </a:lnTo>
                      <a:lnTo>
                        <a:pt x="44484" y="78380"/>
                      </a:lnTo>
                      <a:lnTo>
                        <a:pt x="32828" y="61666"/>
                      </a:lnTo>
                      <a:lnTo>
                        <a:pt x="41210" y="27410"/>
                      </a:lnTo>
                      <a:lnTo>
                        <a:pt x="59141" y="169"/>
                      </a:lnTo>
                      <a:lnTo>
                        <a:pt x="77573" y="2842"/>
                      </a:lnTo>
                      <a:close/>
                    </a:path>
                  </a:pathLst>
                </a:custGeom>
                <a:solidFill>
                  <a:schemeClr val="accent1"/>
                </a:solidFill>
                <a:ln cap="rnd" w="9525">
                  <a:solidFill>
                    <a:srgbClr val="009fdf">
                      <a:lumMod val="60000"/>
                      <a:lumOff val="40000"/>
                    </a:srgbClr>
                  </a:solidFill>
                </a:ln>
              </p:spPr>
              <p:style>
                <a:lnRef idx="2">
                  <a:schemeClr val="accent1">
                    <a:shade val="50000"/>
                  </a:schemeClr>
                </a:lnRef>
                <a:fillRef idx="1">
                  <a:schemeClr val="accent1"/>
                </a:fillRef>
                <a:effectRef idx="0">
                  <a:schemeClr val="accent1"/>
                </a:effectRef>
                <a:fontRef idx="minor"/>
              </p:style>
              <p:txBody>
                <a:bodyPr numCol="1" spcCol="0" horzOverflow="overflow" lIns="216000" rIns="216000" tIns="216000" bIns="216000" anchor="ctr">
                  <a:noAutofit/>
                </a:bodyPr>
                <a:p>
                  <a:pPr algn="ctr" defTabSz="457200">
                    <a:lnSpc>
                      <a:spcPct val="100000"/>
                    </a:lnSpc>
                    <a:tabLst>
                      <a:tab algn="l" pos="0"/>
                    </a:tabLst>
                  </a:pPr>
                  <a:endParaRPr b="0" lang="de-DE" sz="1600" spc="-1" strike="noStrike">
                    <a:solidFill>
                      <a:srgbClr val="000000"/>
                    </a:solidFill>
                    <a:latin typeface="Arial"/>
                    <a:ea typeface="Arial"/>
                  </a:endParaRPr>
                </a:p>
              </p:txBody>
            </p:sp>
            <p:sp>
              <p:nvSpPr>
                <p:cNvPr id="668" name="Freeform 35"/>
                <p:cNvSpPr/>
                <p:nvPr/>
              </p:nvSpPr>
              <p:spPr>
                <a:xfrm>
                  <a:off x="3198960" y="5134320"/>
                  <a:ext cx="118080" cy="252000"/>
                </a:xfrm>
                <a:custGeom>
                  <a:avLst/>
                  <a:gdLst/>
                  <a:ahLst/>
                  <a:rect l="l" t="t" r="r" b="b"/>
                  <a:pathLst>
                    <a:path w="39600" h="84252">
                      <a:moveTo>
                        <a:pt x="29679" y="23140"/>
                      </a:moveTo>
                      <a:lnTo>
                        <a:pt x="26745" y="32543"/>
                      </a:lnTo>
                      <a:lnTo>
                        <a:pt x="30023" y="44352"/>
                      </a:lnTo>
                      <a:lnTo>
                        <a:pt x="39599" y="51037"/>
                      </a:lnTo>
                      <a:lnTo>
                        <a:pt x="39136" y="58233"/>
                      </a:lnTo>
                      <a:lnTo>
                        <a:pt x="31635" y="62197"/>
                      </a:lnTo>
                      <a:lnTo>
                        <a:pt x="30250" y="71064"/>
                      </a:lnTo>
                      <a:lnTo>
                        <a:pt x="19517" y="84251"/>
                      </a:lnTo>
                      <a:lnTo>
                        <a:pt x="15592" y="82351"/>
                      </a:lnTo>
                      <a:lnTo>
                        <a:pt x="15131" y="76372"/>
                      </a:lnTo>
                      <a:lnTo>
                        <a:pt x="2345" y="67227"/>
                      </a:lnTo>
                      <a:lnTo>
                        <a:pt x="336" y="54203"/>
                      </a:lnTo>
                      <a:lnTo>
                        <a:pt x="2286" y="35453"/>
                      </a:lnTo>
                      <a:lnTo>
                        <a:pt x="5437" y="26885"/>
                      </a:lnTo>
                      <a:lnTo>
                        <a:pt x="1553" y="22527"/>
                      </a:lnTo>
                      <a:lnTo>
                        <a:pt x="0" y="13705"/>
                      </a:lnTo>
                      <a:lnTo>
                        <a:pt x="10008" y="0"/>
                      </a:lnTo>
                      <a:lnTo>
                        <a:pt x="11475" y="5244"/>
                      </a:lnTo>
                      <a:lnTo>
                        <a:pt x="17686" y="2777"/>
                      </a:lnTo>
                      <a:lnTo>
                        <a:pt x="22604" y="10246"/>
                      </a:lnTo>
                      <a:lnTo>
                        <a:pt x="28125" y="13091"/>
                      </a:lnTo>
                      <a:close/>
                    </a:path>
                  </a:pathLst>
                </a:custGeom>
                <a:solidFill>
                  <a:schemeClr val="accent1"/>
                </a:solidFill>
                <a:ln cap="rnd" w="9525">
                  <a:solidFill>
                    <a:srgbClr val="009fdf">
                      <a:lumMod val="60000"/>
                      <a:lumOff val="40000"/>
                    </a:srgbClr>
                  </a:solidFill>
                </a:ln>
              </p:spPr>
              <p:style>
                <a:lnRef idx="2">
                  <a:schemeClr val="accent1">
                    <a:shade val="50000"/>
                  </a:schemeClr>
                </a:lnRef>
                <a:fillRef idx="1">
                  <a:schemeClr val="accent1"/>
                </a:fillRef>
                <a:effectRef idx="0">
                  <a:schemeClr val="accent1"/>
                </a:effectRef>
                <a:fontRef idx="minor"/>
              </p:style>
              <p:txBody>
                <a:bodyPr numCol="1" spcCol="0" horzOverflow="overflow" lIns="216000" rIns="216000" tIns="126000" bIns="126000" anchor="ctr">
                  <a:noAutofit/>
                </a:bodyPr>
                <a:p>
                  <a:pPr algn="ctr" defTabSz="457200">
                    <a:lnSpc>
                      <a:spcPct val="100000"/>
                    </a:lnSpc>
                    <a:tabLst>
                      <a:tab algn="l" pos="0"/>
                    </a:tabLst>
                  </a:pPr>
                  <a:endParaRPr b="0" lang="de-DE" sz="1600" spc="-1" strike="noStrike">
                    <a:solidFill>
                      <a:srgbClr val="000000"/>
                    </a:solidFill>
                    <a:latin typeface="Arial"/>
                    <a:ea typeface="Arial"/>
                  </a:endParaRPr>
                </a:p>
              </p:txBody>
            </p:sp>
            <p:sp>
              <p:nvSpPr>
                <p:cNvPr id="669" name="Freeform 39"/>
                <p:cNvSpPr/>
                <p:nvPr/>
              </p:nvSpPr>
              <p:spPr>
                <a:xfrm>
                  <a:off x="2520000" y="4586400"/>
                  <a:ext cx="518040" cy="228960"/>
                </a:xfrm>
                <a:custGeom>
                  <a:avLst/>
                  <a:gdLst/>
                  <a:ahLst/>
                  <a:rect l="l" t="t" r="r" b="b"/>
                  <a:pathLst>
                    <a:path w="173114" h="76581">
                      <a:moveTo>
                        <a:pt x="173113" y="27143"/>
                      </a:moveTo>
                      <a:lnTo>
                        <a:pt x="171360" y="39169"/>
                      </a:lnTo>
                      <a:lnTo>
                        <a:pt x="158361" y="39226"/>
                      </a:lnTo>
                      <a:lnTo>
                        <a:pt x="162832" y="45582"/>
                      </a:lnTo>
                      <a:lnTo>
                        <a:pt x="155169" y="64374"/>
                      </a:lnTo>
                      <a:lnTo>
                        <a:pt x="150769" y="69278"/>
                      </a:lnTo>
                      <a:lnTo>
                        <a:pt x="130581" y="70002"/>
                      </a:lnTo>
                      <a:lnTo>
                        <a:pt x="118933" y="76580"/>
                      </a:lnTo>
                      <a:lnTo>
                        <a:pt x="99867" y="74335"/>
                      </a:lnTo>
                      <a:lnTo>
                        <a:pt x="66859" y="66840"/>
                      </a:lnTo>
                      <a:lnTo>
                        <a:pt x="61702" y="56713"/>
                      </a:lnTo>
                      <a:lnTo>
                        <a:pt x="38891" y="61778"/>
                      </a:lnTo>
                      <a:lnTo>
                        <a:pt x="36207" y="67311"/>
                      </a:lnTo>
                      <a:lnTo>
                        <a:pt x="22222" y="63176"/>
                      </a:lnTo>
                      <a:lnTo>
                        <a:pt x="10444" y="62385"/>
                      </a:lnTo>
                      <a:lnTo>
                        <a:pt x="0" y="57080"/>
                      </a:lnTo>
                      <a:lnTo>
                        <a:pt x="3530" y="49930"/>
                      </a:lnTo>
                      <a:lnTo>
                        <a:pt x="2637" y="44736"/>
                      </a:lnTo>
                      <a:lnTo>
                        <a:pt x="9604" y="43120"/>
                      </a:lnTo>
                      <a:lnTo>
                        <a:pt x="21284" y="51249"/>
                      </a:lnTo>
                      <a:lnTo>
                        <a:pt x="24572" y="43524"/>
                      </a:lnTo>
                      <a:lnTo>
                        <a:pt x="44929" y="44774"/>
                      </a:lnTo>
                      <a:lnTo>
                        <a:pt x="61432" y="39514"/>
                      </a:lnTo>
                      <a:lnTo>
                        <a:pt x="72498" y="40415"/>
                      </a:lnTo>
                      <a:lnTo>
                        <a:pt x="79696" y="46417"/>
                      </a:lnTo>
                      <a:lnTo>
                        <a:pt x="81848" y="41437"/>
                      </a:lnTo>
                      <a:lnTo>
                        <a:pt x="78576" y="22253"/>
                      </a:lnTo>
                      <a:lnTo>
                        <a:pt x="86869" y="18499"/>
                      </a:lnTo>
                      <a:lnTo>
                        <a:pt x="95007" y="4821"/>
                      </a:lnTo>
                      <a:lnTo>
                        <a:pt x="112157" y="14377"/>
                      </a:lnTo>
                      <a:lnTo>
                        <a:pt x="125142" y="2225"/>
                      </a:lnTo>
                      <a:lnTo>
                        <a:pt x="133266" y="0"/>
                      </a:lnTo>
                      <a:lnTo>
                        <a:pt x="151184" y="9079"/>
                      </a:lnTo>
                      <a:lnTo>
                        <a:pt x="162024" y="7537"/>
                      </a:lnTo>
                      <a:lnTo>
                        <a:pt x="172665" y="13142"/>
                      </a:lnTo>
                      <a:lnTo>
                        <a:pt x="170812" y="16904"/>
                      </a:lnTo>
                      <a:close/>
                    </a:path>
                  </a:pathLst>
                </a:custGeom>
                <a:solidFill>
                  <a:schemeClr val="accent1"/>
                </a:solidFill>
                <a:ln cap="rnd" w="9525">
                  <a:solidFill>
                    <a:srgbClr val="009fdf">
                      <a:lumMod val="60000"/>
                      <a:lumOff val="40000"/>
                    </a:srgbClr>
                  </a:solidFill>
                </a:ln>
              </p:spPr>
              <p:style>
                <a:lnRef idx="2">
                  <a:schemeClr val="accent1">
                    <a:shade val="50000"/>
                  </a:schemeClr>
                </a:lnRef>
                <a:fillRef idx="1">
                  <a:schemeClr val="accent1"/>
                </a:fillRef>
                <a:effectRef idx="0">
                  <a:schemeClr val="accent1"/>
                </a:effectRef>
                <a:fontRef idx="minor"/>
              </p:style>
              <p:txBody>
                <a:bodyPr numCol="1" spcCol="0" horzOverflow="overflow" lIns="216000" rIns="216000" tIns="114480" bIns="114480" anchor="ctr">
                  <a:noAutofit/>
                </a:bodyPr>
                <a:p>
                  <a:pPr algn="ctr" defTabSz="457200">
                    <a:lnSpc>
                      <a:spcPct val="100000"/>
                    </a:lnSpc>
                    <a:tabLst>
                      <a:tab algn="l" pos="0"/>
                    </a:tabLst>
                  </a:pPr>
                  <a:endParaRPr b="0" lang="de-DE" sz="1600" spc="-1" strike="noStrike">
                    <a:solidFill>
                      <a:srgbClr val="000000"/>
                    </a:solidFill>
                    <a:latin typeface="Arial"/>
                    <a:ea typeface="Arial"/>
                  </a:endParaRPr>
                </a:p>
              </p:txBody>
            </p:sp>
            <p:sp>
              <p:nvSpPr>
                <p:cNvPr id="670" name="Freeform 42"/>
                <p:cNvSpPr/>
                <p:nvPr/>
              </p:nvSpPr>
              <p:spPr>
                <a:xfrm>
                  <a:off x="2038680" y="4366080"/>
                  <a:ext cx="251280" cy="176400"/>
                </a:xfrm>
                <a:custGeom>
                  <a:avLst/>
                  <a:gdLst/>
                  <a:ahLst/>
                  <a:rect l="l" t="t" r="r" b="b"/>
                  <a:pathLst>
                    <a:path w="84093" h="58978">
                      <a:moveTo>
                        <a:pt x="18498" y="3961"/>
                      </a:moveTo>
                      <a:lnTo>
                        <a:pt x="35397" y="6364"/>
                      </a:lnTo>
                      <a:lnTo>
                        <a:pt x="56793" y="0"/>
                      </a:lnTo>
                      <a:lnTo>
                        <a:pt x="71403" y="13389"/>
                      </a:lnTo>
                      <a:lnTo>
                        <a:pt x="84092" y="20504"/>
                      </a:lnTo>
                      <a:lnTo>
                        <a:pt x="81470" y="40976"/>
                      </a:lnTo>
                      <a:lnTo>
                        <a:pt x="75453" y="42114"/>
                      </a:lnTo>
                      <a:lnTo>
                        <a:pt x="72952" y="58977"/>
                      </a:lnTo>
                      <a:lnTo>
                        <a:pt x="52758" y="45278"/>
                      </a:lnTo>
                      <a:lnTo>
                        <a:pt x="40912" y="47623"/>
                      </a:lnTo>
                      <a:lnTo>
                        <a:pt x="24804" y="33392"/>
                      </a:lnTo>
                      <a:lnTo>
                        <a:pt x="14072" y="21215"/>
                      </a:lnTo>
                      <a:lnTo>
                        <a:pt x="3343" y="20713"/>
                      </a:lnTo>
                      <a:lnTo>
                        <a:pt x="0" y="9994"/>
                      </a:lnTo>
                      <a:close/>
                    </a:path>
                  </a:pathLst>
                </a:custGeom>
                <a:solidFill>
                  <a:schemeClr val="accent1"/>
                </a:solidFill>
                <a:ln cap="rnd" w="9525">
                  <a:solidFill>
                    <a:srgbClr val="009fdf">
                      <a:lumMod val="60000"/>
                      <a:lumOff val="40000"/>
                    </a:srgbClr>
                  </a:solidFill>
                </a:ln>
              </p:spPr>
              <p:style>
                <a:lnRef idx="2">
                  <a:schemeClr val="accent1">
                    <a:shade val="50000"/>
                  </a:schemeClr>
                </a:lnRef>
                <a:fillRef idx="1">
                  <a:schemeClr val="accent1"/>
                </a:fillRef>
                <a:effectRef idx="0">
                  <a:schemeClr val="accent1"/>
                </a:effectRef>
                <a:fontRef idx="minor"/>
              </p:style>
              <p:txBody>
                <a:bodyPr numCol="1" spcCol="0" horzOverflow="overflow" lIns="216000" rIns="216000" tIns="88200" bIns="88200" anchor="ctr">
                  <a:noAutofit/>
                </a:bodyPr>
                <a:p>
                  <a:pPr algn="ctr" defTabSz="457200">
                    <a:lnSpc>
                      <a:spcPct val="100000"/>
                    </a:lnSpc>
                    <a:tabLst>
                      <a:tab algn="l" pos="0"/>
                    </a:tabLst>
                  </a:pPr>
                  <a:endParaRPr b="0" lang="de-DE" sz="1600" spc="-1" strike="noStrike">
                    <a:solidFill>
                      <a:srgbClr val="000000"/>
                    </a:solidFill>
                    <a:latin typeface="Arial"/>
                    <a:ea typeface="Arial"/>
                  </a:endParaRPr>
                </a:p>
              </p:txBody>
            </p:sp>
            <p:sp>
              <p:nvSpPr>
                <p:cNvPr id="671" name="Freeform 46"/>
                <p:cNvSpPr/>
                <p:nvPr/>
              </p:nvSpPr>
              <p:spPr>
                <a:xfrm>
                  <a:off x="3411360" y="5004000"/>
                  <a:ext cx="426600" cy="250200"/>
                </a:xfrm>
                <a:custGeom>
                  <a:avLst/>
                  <a:gdLst/>
                  <a:ahLst/>
                  <a:rect l="l" t="t" r="r" b="b"/>
                  <a:pathLst>
                    <a:path w="142596" h="83738">
                      <a:moveTo>
                        <a:pt x="6385" y="0"/>
                      </a:moveTo>
                      <a:lnTo>
                        <a:pt x="13026" y="11617"/>
                      </a:lnTo>
                      <a:lnTo>
                        <a:pt x="21969" y="9551"/>
                      </a:lnTo>
                      <a:lnTo>
                        <a:pt x="39705" y="13949"/>
                      </a:lnTo>
                      <a:lnTo>
                        <a:pt x="73605" y="15430"/>
                      </a:lnTo>
                      <a:lnTo>
                        <a:pt x="85051" y="8239"/>
                      </a:lnTo>
                      <a:lnTo>
                        <a:pt x="112225" y="1668"/>
                      </a:lnTo>
                      <a:lnTo>
                        <a:pt x="129022" y="11936"/>
                      </a:lnTo>
                      <a:lnTo>
                        <a:pt x="142595" y="14895"/>
                      </a:lnTo>
                      <a:lnTo>
                        <a:pt x="130615" y="26541"/>
                      </a:lnTo>
                      <a:lnTo>
                        <a:pt x="122185" y="46539"/>
                      </a:lnTo>
                      <a:lnTo>
                        <a:pt x="129637" y="62393"/>
                      </a:lnTo>
                      <a:lnTo>
                        <a:pt x="109763" y="58674"/>
                      </a:lnTo>
                      <a:lnTo>
                        <a:pt x="86249" y="67390"/>
                      </a:lnTo>
                      <a:lnTo>
                        <a:pt x="85997" y="81138"/>
                      </a:lnTo>
                      <a:lnTo>
                        <a:pt x="65016" y="83737"/>
                      </a:lnTo>
                      <a:lnTo>
                        <a:pt x="48753" y="74106"/>
                      </a:lnTo>
                      <a:lnTo>
                        <a:pt x="30274" y="81684"/>
                      </a:lnTo>
                      <a:lnTo>
                        <a:pt x="13200" y="80887"/>
                      </a:lnTo>
                      <a:lnTo>
                        <a:pt x="11561" y="62617"/>
                      </a:lnTo>
                      <a:lnTo>
                        <a:pt x="0" y="53708"/>
                      </a:lnTo>
                      <a:lnTo>
                        <a:pt x="3797" y="49784"/>
                      </a:lnTo>
                      <a:lnTo>
                        <a:pt x="1294" y="46471"/>
                      </a:lnTo>
                      <a:lnTo>
                        <a:pt x="5177" y="37591"/>
                      </a:lnTo>
                      <a:lnTo>
                        <a:pt x="13976" y="28840"/>
                      </a:lnTo>
                      <a:lnTo>
                        <a:pt x="2761" y="16715"/>
                      </a:lnTo>
                      <a:lnTo>
                        <a:pt x="690" y="6415"/>
                      </a:lnTo>
                      <a:close/>
                    </a:path>
                  </a:pathLst>
                </a:custGeom>
                <a:solidFill>
                  <a:schemeClr val="accent1"/>
                </a:solidFill>
                <a:ln cap="rnd" w="9525">
                  <a:solidFill>
                    <a:srgbClr val="009fdf">
                      <a:lumMod val="60000"/>
                      <a:lumOff val="40000"/>
                    </a:srgbClr>
                  </a:solidFill>
                </a:ln>
              </p:spPr>
              <p:style>
                <a:lnRef idx="2">
                  <a:schemeClr val="accent1">
                    <a:shade val="50000"/>
                  </a:schemeClr>
                </a:lnRef>
                <a:fillRef idx="1">
                  <a:schemeClr val="accent1"/>
                </a:fillRef>
                <a:effectRef idx="0">
                  <a:schemeClr val="accent1"/>
                </a:effectRef>
                <a:fontRef idx="minor"/>
              </p:style>
              <p:txBody>
                <a:bodyPr numCol="1" spcCol="0" horzOverflow="overflow" lIns="216000" rIns="216000" tIns="124920" bIns="124920" anchor="ctr">
                  <a:noAutofit/>
                </a:bodyPr>
                <a:p>
                  <a:pPr algn="ctr" defTabSz="457200">
                    <a:lnSpc>
                      <a:spcPct val="100000"/>
                    </a:lnSpc>
                    <a:tabLst>
                      <a:tab algn="l" pos="0"/>
                    </a:tabLst>
                  </a:pPr>
                  <a:endParaRPr b="0" lang="de-DE" sz="1600" spc="-1" strike="noStrike">
                    <a:solidFill>
                      <a:srgbClr val="000000"/>
                    </a:solidFill>
                    <a:latin typeface="Arial"/>
                    <a:ea typeface="Arial"/>
                  </a:endParaRPr>
                </a:p>
              </p:txBody>
            </p:sp>
            <p:sp>
              <p:nvSpPr>
                <p:cNvPr id="672" name="Freeform 47"/>
                <p:cNvSpPr/>
                <p:nvPr/>
              </p:nvSpPr>
              <p:spPr>
                <a:xfrm>
                  <a:off x="2953440" y="4919040"/>
                  <a:ext cx="265680" cy="218160"/>
                </a:xfrm>
                <a:custGeom>
                  <a:avLst/>
                  <a:gdLst/>
                  <a:ahLst/>
                  <a:rect l="l" t="t" r="r" b="b"/>
                  <a:pathLst>
                    <a:path w="88864" h="72954">
                      <a:moveTo>
                        <a:pt x="75145" y="10663"/>
                      </a:moveTo>
                      <a:lnTo>
                        <a:pt x="83513" y="10584"/>
                      </a:lnTo>
                      <a:lnTo>
                        <a:pt x="77733" y="23091"/>
                      </a:lnTo>
                      <a:lnTo>
                        <a:pt x="88863" y="33980"/>
                      </a:lnTo>
                      <a:lnTo>
                        <a:pt x="85498" y="47242"/>
                      </a:lnTo>
                      <a:lnTo>
                        <a:pt x="80062" y="48486"/>
                      </a:lnTo>
                      <a:lnTo>
                        <a:pt x="75749" y="51053"/>
                      </a:lnTo>
                      <a:lnTo>
                        <a:pt x="68243" y="57574"/>
                      </a:lnTo>
                      <a:lnTo>
                        <a:pt x="64862" y="72953"/>
                      </a:lnTo>
                      <a:lnTo>
                        <a:pt x="44432" y="62379"/>
                      </a:lnTo>
                      <a:lnTo>
                        <a:pt x="35717" y="50664"/>
                      </a:lnTo>
                      <a:lnTo>
                        <a:pt x="26918" y="44438"/>
                      </a:lnTo>
                      <a:lnTo>
                        <a:pt x="16306" y="33902"/>
                      </a:lnTo>
                      <a:lnTo>
                        <a:pt x="11302" y="25131"/>
                      </a:lnTo>
                      <a:lnTo>
                        <a:pt x="0" y="11846"/>
                      </a:lnTo>
                      <a:lnTo>
                        <a:pt x="4832" y="0"/>
                      </a:lnTo>
                      <a:lnTo>
                        <a:pt x="13114" y="6561"/>
                      </a:lnTo>
                      <a:lnTo>
                        <a:pt x="18118" y="634"/>
                      </a:lnTo>
                      <a:lnTo>
                        <a:pt x="28903" y="0"/>
                      </a:lnTo>
                      <a:lnTo>
                        <a:pt x="48745" y="4745"/>
                      </a:lnTo>
                      <a:lnTo>
                        <a:pt x="64706" y="4349"/>
                      </a:lnTo>
                      <a:close/>
                    </a:path>
                  </a:pathLst>
                </a:custGeom>
                <a:solidFill>
                  <a:schemeClr val="accent1">
                    <a:lumMod val="20000"/>
                    <a:lumOff val="80000"/>
                  </a:schemeClr>
                </a:solidFill>
                <a:ln cap="rnd" w="9525">
                  <a:solidFill>
                    <a:srgbClr val="009fdf">
                      <a:lumMod val="60000"/>
                      <a:lumOff val="40000"/>
                    </a:srgbClr>
                  </a:solidFill>
                </a:ln>
              </p:spPr>
              <p:style>
                <a:lnRef idx="2">
                  <a:schemeClr val="accent1">
                    <a:shade val="50000"/>
                  </a:schemeClr>
                </a:lnRef>
                <a:fillRef idx="1">
                  <a:schemeClr val="accent1"/>
                </a:fillRef>
                <a:effectRef idx="0">
                  <a:schemeClr val="accent1"/>
                </a:effectRef>
                <a:fontRef idx="minor"/>
              </p:style>
              <p:txBody>
                <a:bodyPr numCol="1" spcCol="0" horzOverflow="overflow" lIns="216000" rIns="216000" tIns="109080" bIns="109080" anchor="ctr">
                  <a:noAutofit/>
                </a:bodyPr>
                <a:p>
                  <a:pPr algn="ctr" defTabSz="457200">
                    <a:lnSpc>
                      <a:spcPct val="100000"/>
                    </a:lnSpc>
                    <a:tabLst>
                      <a:tab algn="l" pos="0"/>
                    </a:tabLst>
                  </a:pPr>
                  <a:endParaRPr b="0" lang="de-DE" sz="1600" spc="-1" strike="noStrike">
                    <a:solidFill>
                      <a:srgbClr val="000000"/>
                    </a:solidFill>
                    <a:latin typeface="Arial"/>
                    <a:ea typeface="Arial"/>
                  </a:endParaRPr>
                </a:p>
              </p:txBody>
            </p:sp>
            <p:sp>
              <p:nvSpPr>
                <p:cNvPr id="673" name="Freeform 48"/>
                <p:cNvSpPr/>
                <p:nvPr/>
              </p:nvSpPr>
              <p:spPr>
                <a:xfrm>
                  <a:off x="3468240" y="3921840"/>
                  <a:ext cx="655920" cy="458280"/>
                </a:xfrm>
                <a:custGeom>
                  <a:avLst/>
                  <a:gdLst/>
                  <a:ahLst/>
                  <a:rect l="l" t="t" r="r" b="b"/>
                  <a:pathLst>
                    <a:path w="219151" h="153132">
                      <a:moveTo>
                        <a:pt x="6570" y="72461"/>
                      </a:moveTo>
                      <a:lnTo>
                        <a:pt x="28881" y="72676"/>
                      </a:lnTo>
                      <a:lnTo>
                        <a:pt x="53941" y="60733"/>
                      </a:lnTo>
                      <a:lnTo>
                        <a:pt x="59298" y="42722"/>
                      </a:lnTo>
                      <a:lnTo>
                        <a:pt x="78222" y="32446"/>
                      </a:lnTo>
                      <a:lnTo>
                        <a:pt x="76053" y="17996"/>
                      </a:lnTo>
                      <a:lnTo>
                        <a:pt x="90091" y="12547"/>
                      </a:lnTo>
                      <a:lnTo>
                        <a:pt x="114887" y="0"/>
                      </a:lnTo>
                      <a:lnTo>
                        <a:pt x="139189" y="8164"/>
                      </a:lnTo>
                      <a:lnTo>
                        <a:pt x="142468" y="16216"/>
                      </a:lnTo>
                      <a:lnTo>
                        <a:pt x="154580" y="12347"/>
                      </a:lnTo>
                      <a:lnTo>
                        <a:pt x="177146" y="20070"/>
                      </a:lnTo>
                      <a:lnTo>
                        <a:pt x="179406" y="35198"/>
                      </a:lnTo>
                      <a:lnTo>
                        <a:pt x="174460" y="43849"/>
                      </a:lnTo>
                      <a:lnTo>
                        <a:pt x="188931" y="64714"/>
                      </a:lnTo>
                      <a:lnTo>
                        <a:pt x="198325" y="70495"/>
                      </a:lnTo>
                      <a:lnTo>
                        <a:pt x="196936" y="76205"/>
                      </a:lnTo>
                      <a:lnTo>
                        <a:pt x="212501" y="81756"/>
                      </a:lnTo>
                      <a:lnTo>
                        <a:pt x="219150" y="90143"/>
                      </a:lnTo>
                      <a:lnTo>
                        <a:pt x="210168" y="97000"/>
                      </a:lnTo>
                      <a:lnTo>
                        <a:pt x="191543" y="95913"/>
                      </a:lnTo>
                      <a:lnTo>
                        <a:pt x="187101" y="98838"/>
                      </a:lnTo>
                      <a:lnTo>
                        <a:pt x="192522" y="109202"/>
                      </a:lnTo>
                      <a:lnTo>
                        <a:pt x="198199" y="129073"/>
                      </a:lnTo>
                      <a:lnTo>
                        <a:pt x="178384" y="130906"/>
                      </a:lnTo>
                      <a:lnTo>
                        <a:pt x="171272" y="137677"/>
                      </a:lnTo>
                      <a:lnTo>
                        <a:pt x="169787" y="153131"/>
                      </a:lnTo>
                      <a:lnTo>
                        <a:pt x="160606" y="150171"/>
                      </a:lnTo>
                      <a:lnTo>
                        <a:pt x="139776" y="151639"/>
                      </a:lnTo>
                      <a:lnTo>
                        <a:pt x="133726" y="144467"/>
                      </a:lnTo>
                      <a:lnTo>
                        <a:pt x="125064" y="149816"/>
                      </a:lnTo>
                      <a:lnTo>
                        <a:pt x="116386" y="145383"/>
                      </a:lnTo>
                      <a:lnTo>
                        <a:pt x="98207" y="144767"/>
                      </a:lnTo>
                      <a:lnTo>
                        <a:pt x="72444" y="137385"/>
                      </a:lnTo>
                      <a:lnTo>
                        <a:pt x="49126" y="134970"/>
                      </a:lnTo>
                      <a:lnTo>
                        <a:pt x="31245" y="135654"/>
                      </a:lnTo>
                      <a:lnTo>
                        <a:pt x="18595" y="143994"/>
                      </a:lnTo>
                      <a:lnTo>
                        <a:pt x="7561" y="145192"/>
                      </a:lnTo>
                      <a:lnTo>
                        <a:pt x="7121" y="131484"/>
                      </a:lnTo>
                      <a:lnTo>
                        <a:pt x="0" y="117136"/>
                      </a:lnTo>
                      <a:lnTo>
                        <a:pt x="13843" y="110789"/>
                      </a:lnTo>
                      <a:lnTo>
                        <a:pt x="13975" y="98346"/>
                      </a:lnTo>
                      <a:lnTo>
                        <a:pt x="7572" y="86413"/>
                      </a:lnTo>
                      <a:close/>
                    </a:path>
                  </a:pathLst>
                </a:custGeom>
                <a:solidFill>
                  <a:schemeClr val="accent1"/>
                </a:solidFill>
                <a:ln cap="rnd" w="9525">
                  <a:solidFill>
                    <a:srgbClr val="009fdf">
                      <a:lumMod val="60000"/>
                      <a:lumOff val="40000"/>
                    </a:srgbClr>
                  </a:solidFill>
                </a:ln>
              </p:spPr>
              <p:style>
                <a:lnRef idx="2">
                  <a:schemeClr val="accent1">
                    <a:shade val="50000"/>
                  </a:schemeClr>
                </a:lnRef>
                <a:fillRef idx="1">
                  <a:schemeClr val="accent1"/>
                </a:fillRef>
                <a:effectRef idx="0">
                  <a:schemeClr val="accent1"/>
                </a:effectRef>
                <a:fontRef idx="minor"/>
              </p:style>
              <p:txBody>
                <a:bodyPr numCol="1" spcCol="0" horzOverflow="overflow" lIns="216000" rIns="216000" tIns="216000" bIns="216000" anchor="ctr">
                  <a:noAutofit/>
                </a:bodyPr>
                <a:p>
                  <a:pPr algn="ctr" defTabSz="457200">
                    <a:lnSpc>
                      <a:spcPct val="100000"/>
                    </a:lnSpc>
                    <a:tabLst>
                      <a:tab algn="l" pos="0"/>
                    </a:tabLst>
                  </a:pPr>
                  <a:endParaRPr b="0" lang="de-DE" sz="1600" spc="-1" strike="noStrike">
                    <a:solidFill>
                      <a:srgbClr val="000000"/>
                    </a:solidFill>
                    <a:latin typeface="Arial"/>
                    <a:ea typeface="Arial"/>
                  </a:endParaRPr>
                </a:p>
              </p:txBody>
            </p:sp>
            <p:sp>
              <p:nvSpPr>
                <p:cNvPr id="674" name="Freeform 54"/>
                <p:cNvSpPr/>
                <p:nvPr/>
              </p:nvSpPr>
              <p:spPr>
                <a:xfrm>
                  <a:off x="2280960" y="4693680"/>
                  <a:ext cx="305280" cy="178560"/>
                </a:xfrm>
                <a:custGeom>
                  <a:avLst/>
                  <a:gdLst/>
                  <a:ahLst/>
                  <a:rect l="l" t="t" r="r" b="b"/>
                  <a:pathLst>
                    <a:path w="102029" h="59718">
                      <a:moveTo>
                        <a:pt x="82443" y="8975"/>
                      </a:moveTo>
                      <a:lnTo>
                        <a:pt x="83336" y="14169"/>
                      </a:lnTo>
                      <a:lnTo>
                        <a:pt x="79806" y="21319"/>
                      </a:lnTo>
                      <a:lnTo>
                        <a:pt x="90250" y="26624"/>
                      </a:lnTo>
                      <a:lnTo>
                        <a:pt x="102028" y="27415"/>
                      </a:lnTo>
                      <a:lnTo>
                        <a:pt x="100197" y="39319"/>
                      </a:lnTo>
                      <a:lnTo>
                        <a:pt x="90028" y="44202"/>
                      </a:lnTo>
                      <a:lnTo>
                        <a:pt x="72948" y="40576"/>
                      </a:lnTo>
                      <a:lnTo>
                        <a:pt x="67949" y="52230"/>
                      </a:lnTo>
                      <a:lnTo>
                        <a:pt x="56953" y="53146"/>
                      </a:lnTo>
                      <a:lnTo>
                        <a:pt x="52953" y="48573"/>
                      </a:lnTo>
                      <a:lnTo>
                        <a:pt x="40012" y="58350"/>
                      </a:lnTo>
                      <a:lnTo>
                        <a:pt x="28882" y="59717"/>
                      </a:lnTo>
                      <a:lnTo>
                        <a:pt x="18951" y="53550"/>
                      </a:lnTo>
                      <a:lnTo>
                        <a:pt x="11022" y="40881"/>
                      </a:lnTo>
                      <a:lnTo>
                        <a:pt x="0" y="45414"/>
                      </a:lnTo>
                      <a:lnTo>
                        <a:pt x="341" y="32293"/>
                      </a:lnTo>
                      <a:lnTo>
                        <a:pt x="17223" y="15920"/>
                      </a:lnTo>
                      <a:lnTo>
                        <a:pt x="16480" y="8484"/>
                      </a:lnTo>
                      <a:lnTo>
                        <a:pt x="26998" y="11180"/>
                      </a:lnTo>
                      <a:lnTo>
                        <a:pt x="33335" y="6175"/>
                      </a:lnTo>
                      <a:lnTo>
                        <a:pt x="52968" y="6380"/>
                      </a:lnTo>
                      <a:lnTo>
                        <a:pt x="57707" y="0"/>
                      </a:lnTo>
                      <a:close/>
                    </a:path>
                  </a:pathLst>
                </a:custGeom>
                <a:solidFill>
                  <a:schemeClr val="accent1"/>
                </a:solidFill>
                <a:ln cap="rnd" w="9525">
                  <a:solidFill>
                    <a:srgbClr val="009fdf">
                      <a:lumMod val="60000"/>
                      <a:lumOff val="40000"/>
                    </a:srgbClr>
                  </a:solidFill>
                </a:ln>
              </p:spPr>
              <p:style>
                <a:lnRef idx="2">
                  <a:schemeClr val="accent1">
                    <a:shade val="50000"/>
                  </a:schemeClr>
                </a:lnRef>
                <a:fillRef idx="1">
                  <a:schemeClr val="accent1"/>
                </a:fillRef>
                <a:effectRef idx="0">
                  <a:schemeClr val="accent1"/>
                </a:effectRef>
                <a:fontRef idx="minor"/>
              </p:style>
              <p:txBody>
                <a:bodyPr numCol="1" spcCol="0" horzOverflow="overflow" lIns="216000" rIns="216000" tIns="89280" bIns="89280" anchor="ctr">
                  <a:noAutofit/>
                </a:bodyPr>
                <a:p>
                  <a:pPr algn="ctr" defTabSz="457200">
                    <a:lnSpc>
                      <a:spcPct val="100000"/>
                    </a:lnSpc>
                    <a:tabLst>
                      <a:tab algn="l" pos="0"/>
                    </a:tabLst>
                  </a:pPr>
                  <a:endParaRPr b="0" lang="de-DE" sz="1600" spc="-1" strike="noStrike">
                    <a:solidFill>
                      <a:srgbClr val="000000"/>
                    </a:solidFill>
                    <a:latin typeface="Arial"/>
                    <a:ea typeface="Arial"/>
                  </a:endParaRPr>
                </a:p>
              </p:txBody>
            </p:sp>
            <p:sp>
              <p:nvSpPr>
                <p:cNvPr id="675" name="Freeform 61"/>
                <p:cNvSpPr/>
                <p:nvPr/>
              </p:nvSpPr>
              <p:spPr>
                <a:xfrm>
                  <a:off x="2710800" y="4398840"/>
                  <a:ext cx="456840" cy="230400"/>
                </a:xfrm>
                <a:custGeom>
                  <a:avLst/>
                  <a:gdLst/>
                  <a:ahLst/>
                  <a:rect l="l" t="t" r="r" b="b"/>
                  <a:pathLst>
                    <a:path w="152647" h="77061">
                      <a:moveTo>
                        <a:pt x="108954" y="75825"/>
                      </a:moveTo>
                      <a:lnTo>
                        <a:pt x="98313" y="70220"/>
                      </a:lnTo>
                      <a:lnTo>
                        <a:pt x="87473" y="71762"/>
                      </a:lnTo>
                      <a:lnTo>
                        <a:pt x="69555" y="62683"/>
                      </a:lnTo>
                      <a:lnTo>
                        <a:pt x="61431" y="64908"/>
                      </a:lnTo>
                      <a:lnTo>
                        <a:pt x="48446" y="77060"/>
                      </a:lnTo>
                      <a:lnTo>
                        <a:pt x="31296" y="67504"/>
                      </a:lnTo>
                      <a:lnTo>
                        <a:pt x="18263" y="54685"/>
                      </a:lnTo>
                      <a:lnTo>
                        <a:pt x="6484" y="47491"/>
                      </a:lnTo>
                      <a:lnTo>
                        <a:pt x="4041" y="34820"/>
                      </a:lnTo>
                      <a:lnTo>
                        <a:pt x="0" y="25852"/>
                      </a:lnTo>
                      <a:lnTo>
                        <a:pt x="16775" y="19261"/>
                      </a:lnTo>
                      <a:lnTo>
                        <a:pt x="25345" y="11700"/>
                      </a:lnTo>
                      <a:lnTo>
                        <a:pt x="41921" y="5806"/>
                      </a:lnTo>
                      <a:lnTo>
                        <a:pt x="47710" y="0"/>
                      </a:lnTo>
                      <a:lnTo>
                        <a:pt x="53797" y="3507"/>
                      </a:lnTo>
                      <a:lnTo>
                        <a:pt x="64098" y="323"/>
                      </a:lnTo>
                      <a:lnTo>
                        <a:pt x="75039" y="10134"/>
                      </a:lnTo>
                      <a:lnTo>
                        <a:pt x="92297" y="12779"/>
                      </a:lnTo>
                      <a:lnTo>
                        <a:pt x="90857" y="21124"/>
                      </a:lnTo>
                      <a:lnTo>
                        <a:pt x="103396" y="27380"/>
                      </a:lnTo>
                      <a:lnTo>
                        <a:pt x="106842" y="19568"/>
                      </a:lnTo>
                      <a:lnTo>
                        <a:pt x="122672" y="22954"/>
                      </a:lnTo>
                      <a:lnTo>
                        <a:pt x="124862" y="32411"/>
                      </a:lnTo>
                      <a:lnTo>
                        <a:pt x="142023" y="34232"/>
                      </a:lnTo>
                      <a:lnTo>
                        <a:pt x="152646" y="49025"/>
                      </a:lnTo>
                      <a:lnTo>
                        <a:pt x="145764" y="49061"/>
                      </a:lnTo>
                      <a:lnTo>
                        <a:pt x="142187" y="54448"/>
                      </a:lnTo>
                      <a:lnTo>
                        <a:pt x="136889" y="55748"/>
                      </a:lnTo>
                      <a:lnTo>
                        <a:pt x="135377" y="62537"/>
                      </a:lnTo>
                      <a:lnTo>
                        <a:pt x="130957" y="63952"/>
                      </a:lnTo>
                      <a:lnTo>
                        <a:pt x="130333" y="66721"/>
                      </a:lnTo>
                      <a:lnTo>
                        <a:pt x="122451" y="69797"/>
                      </a:lnTo>
                      <a:lnTo>
                        <a:pt x="112225" y="69294"/>
                      </a:lnTo>
                      <a:close/>
                    </a:path>
                  </a:pathLst>
                </a:custGeom>
                <a:solidFill>
                  <a:schemeClr val="accent1"/>
                </a:solidFill>
                <a:ln cap="rnd" w="9525">
                  <a:solidFill>
                    <a:srgbClr val="009fdf">
                      <a:lumMod val="60000"/>
                      <a:lumOff val="40000"/>
                    </a:srgbClr>
                  </a:solidFill>
                </a:ln>
              </p:spPr>
              <p:style>
                <a:lnRef idx="2">
                  <a:schemeClr val="accent1">
                    <a:shade val="50000"/>
                  </a:schemeClr>
                </a:lnRef>
                <a:fillRef idx="1">
                  <a:schemeClr val="accent1"/>
                </a:fillRef>
                <a:effectRef idx="0">
                  <a:schemeClr val="accent1"/>
                </a:effectRef>
                <a:fontRef idx="minor"/>
              </p:style>
              <p:txBody>
                <a:bodyPr numCol="1" spcCol="0" horzOverflow="overflow" lIns="216000" rIns="216000" tIns="115200" bIns="115200" anchor="ctr">
                  <a:noAutofit/>
                </a:bodyPr>
                <a:p>
                  <a:pPr algn="ctr" defTabSz="457200">
                    <a:lnSpc>
                      <a:spcPct val="100000"/>
                    </a:lnSpc>
                    <a:tabLst>
                      <a:tab algn="l" pos="0"/>
                    </a:tabLst>
                  </a:pPr>
                  <a:endParaRPr b="0" lang="de-DE" sz="1600" spc="-1" strike="noStrike">
                    <a:solidFill>
                      <a:srgbClr val="000000"/>
                    </a:solidFill>
                    <a:latin typeface="Arial"/>
                    <a:ea typeface="Arial"/>
                  </a:endParaRPr>
                </a:p>
              </p:txBody>
            </p:sp>
            <p:sp>
              <p:nvSpPr>
                <p:cNvPr id="676" name="Freeform 62"/>
                <p:cNvSpPr/>
                <p:nvPr/>
              </p:nvSpPr>
              <p:spPr>
                <a:xfrm>
                  <a:off x="2278800" y="4036680"/>
                  <a:ext cx="623520" cy="703080"/>
                </a:xfrm>
                <a:custGeom>
                  <a:avLst/>
                  <a:gdLst/>
                  <a:ahLst/>
                  <a:rect l="l" t="t" r="r" b="b"/>
                  <a:pathLst>
                    <a:path w="208399" h="234888">
                      <a:moveTo>
                        <a:pt x="90790" y="0"/>
                      </a:moveTo>
                      <a:lnTo>
                        <a:pt x="91198" y="12366"/>
                      </a:lnTo>
                      <a:lnTo>
                        <a:pt x="114523" y="19792"/>
                      </a:lnTo>
                      <a:lnTo>
                        <a:pt x="114278" y="31058"/>
                      </a:lnTo>
                      <a:lnTo>
                        <a:pt x="137748" y="25103"/>
                      </a:lnTo>
                      <a:lnTo>
                        <a:pt x="150725" y="16392"/>
                      </a:lnTo>
                      <a:lnTo>
                        <a:pt x="176785" y="28941"/>
                      </a:lnTo>
                      <a:lnTo>
                        <a:pt x="187686" y="39014"/>
                      </a:lnTo>
                      <a:lnTo>
                        <a:pt x="193078" y="55023"/>
                      </a:lnTo>
                      <a:lnTo>
                        <a:pt x="186643" y="63379"/>
                      </a:lnTo>
                      <a:lnTo>
                        <a:pt x="195024" y="74492"/>
                      </a:lnTo>
                      <a:lnTo>
                        <a:pt x="200735" y="91076"/>
                      </a:lnTo>
                      <a:lnTo>
                        <a:pt x="198936" y="101708"/>
                      </a:lnTo>
                      <a:lnTo>
                        <a:pt x="208398" y="121278"/>
                      </a:lnTo>
                      <a:lnTo>
                        <a:pt x="198097" y="124462"/>
                      </a:lnTo>
                      <a:lnTo>
                        <a:pt x="192010" y="120955"/>
                      </a:lnTo>
                      <a:lnTo>
                        <a:pt x="186221" y="126761"/>
                      </a:lnTo>
                      <a:lnTo>
                        <a:pt x="169645" y="132655"/>
                      </a:lnTo>
                      <a:lnTo>
                        <a:pt x="161075" y="140216"/>
                      </a:lnTo>
                      <a:lnTo>
                        <a:pt x="144300" y="146807"/>
                      </a:lnTo>
                      <a:lnTo>
                        <a:pt x="148341" y="155775"/>
                      </a:lnTo>
                      <a:lnTo>
                        <a:pt x="150784" y="168446"/>
                      </a:lnTo>
                      <a:lnTo>
                        <a:pt x="162563" y="175640"/>
                      </a:lnTo>
                      <a:lnTo>
                        <a:pt x="175596" y="188459"/>
                      </a:lnTo>
                      <a:lnTo>
                        <a:pt x="167458" y="202137"/>
                      </a:lnTo>
                      <a:lnTo>
                        <a:pt x="159165" y="205891"/>
                      </a:lnTo>
                      <a:lnTo>
                        <a:pt x="162437" y="225075"/>
                      </a:lnTo>
                      <a:lnTo>
                        <a:pt x="160285" y="230055"/>
                      </a:lnTo>
                      <a:lnTo>
                        <a:pt x="153087" y="224053"/>
                      </a:lnTo>
                      <a:lnTo>
                        <a:pt x="142021" y="223152"/>
                      </a:lnTo>
                      <a:lnTo>
                        <a:pt x="125518" y="228412"/>
                      </a:lnTo>
                      <a:lnTo>
                        <a:pt x="105161" y="227162"/>
                      </a:lnTo>
                      <a:lnTo>
                        <a:pt x="101873" y="234887"/>
                      </a:lnTo>
                      <a:lnTo>
                        <a:pt x="90193" y="226758"/>
                      </a:lnTo>
                      <a:lnTo>
                        <a:pt x="83226" y="228374"/>
                      </a:lnTo>
                      <a:lnTo>
                        <a:pt x="58490" y="219399"/>
                      </a:lnTo>
                      <a:lnTo>
                        <a:pt x="53751" y="225779"/>
                      </a:lnTo>
                      <a:lnTo>
                        <a:pt x="34118" y="225574"/>
                      </a:lnTo>
                      <a:lnTo>
                        <a:pt x="37048" y="204595"/>
                      </a:lnTo>
                      <a:lnTo>
                        <a:pt x="48718" y="184273"/>
                      </a:lnTo>
                      <a:lnTo>
                        <a:pt x="15455" y="178780"/>
                      </a:lnTo>
                      <a:lnTo>
                        <a:pt x="4562" y="170951"/>
                      </a:lnTo>
                      <a:lnTo>
                        <a:pt x="5865" y="157789"/>
                      </a:lnTo>
                      <a:lnTo>
                        <a:pt x="1256" y="150983"/>
                      </a:lnTo>
                      <a:lnTo>
                        <a:pt x="3878" y="130511"/>
                      </a:lnTo>
                      <a:lnTo>
                        <a:pt x="0" y="98431"/>
                      </a:lnTo>
                      <a:lnTo>
                        <a:pt x="13866" y="98418"/>
                      </a:lnTo>
                      <a:lnTo>
                        <a:pt x="19717" y="86793"/>
                      </a:lnTo>
                      <a:lnTo>
                        <a:pt x="25469" y="58286"/>
                      </a:lnTo>
                      <a:lnTo>
                        <a:pt x="21155" y="47675"/>
                      </a:lnTo>
                      <a:lnTo>
                        <a:pt x="25662" y="41005"/>
                      </a:lnTo>
                      <a:lnTo>
                        <a:pt x="44955" y="39290"/>
                      </a:lnTo>
                      <a:lnTo>
                        <a:pt x="49236" y="46240"/>
                      </a:lnTo>
                      <a:lnTo>
                        <a:pt x="64910" y="30675"/>
                      </a:lnTo>
                      <a:lnTo>
                        <a:pt x="59633" y="18772"/>
                      </a:lnTo>
                      <a:lnTo>
                        <a:pt x="58574" y="653"/>
                      </a:lnTo>
                      <a:lnTo>
                        <a:pt x="76020" y="4879"/>
                      </a:lnTo>
                      <a:close/>
                    </a:path>
                  </a:pathLst>
                </a:custGeom>
                <a:solidFill>
                  <a:schemeClr val="accent1"/>
                </a:solidFill>
                <a:ln cap="rnd" w="9525">
                  <a:solidFill>
                    <a:srgbClr val="009fdf">
                      <a:lumMod val="60000"/>
                      <a:lumOff val="40000"/>
                    </a:srgbClr>
                  </a:solidFill>
                </a:ln>
              </p:spPr>
              <p:style>
                <a:lnRef idx="2">
                  <a:schemeClr val="accent1">
                    <a:shade val="50000"/>
                  </a:schemeClr>
                </a:lnRef>
                <a:fillRef idx="1">
                  <a:schemeClr val="accent1"/>
                </a:fillRef>
                <a:effectRef idx="0">
                  <a:schemeClr val="accent1"/>
                </a:effectRef>
                <a:fontRef idx="minor"/>
              </p:style>
              <p:txBody>
                <a:bodyPr numCol="1" spcCol="0" horzOverflow="overflow" lIns="216000" rIns="216000" tIns="216000" bIns="216000" anchor="ctr">
                  <a:noAutofit/>
                </a:bodyPr>
                <a:p>
                  <a:pPr algn="ctr" defTabSz="457200">
                    <a:lnSpc>
                      <a:spcPct val="100000"/>
                    </a:lnSpc>
                    <a:tabLst>
                      <a:tab algn="l" pos="0"/>
                    </a:tabLst>
                  </a:pPr>
                  <a:endParaRPr b="0" lang="de-DE" sz="1600" spc="-1" strike="noStrike">
                    <a:solidFill>
                      <a:srgbClr val="000000"/>
                    </a:solidFill>
                    <a:latin typeface="Arial"/>
                    <a:ea typeface="Arial"/>
                  </a:endParaRPr>
                </a:p>
              </p:txBody>
            </p:sp>
            <p:sp>
              <p:nvSpPr>
                <p:cNvPr id="677" name="Freihandform: Form 253"/>
                <p:cNvSpPr/>
                <p:nvPr/>
              </p:nvSpPr>
              <p:spPr>
                <a:xfrm>
                  <a:off x="1571040" y="5587920"/>
                  <a:ext cx="974880" cy="680760"/>
                </a:xfrm>
                <a:custGeom>
                  <a:avLst/>
                  <a:gdLst>
                    <a:gd name="textAreaLeft" fmla="*/ 0 w 974880"/>
                    <a:gd name="textAreaRight" fmla="*/ 975240 w 974880"/>
                    <a:gd name="textAreaTop" fmla="*/ 0 h 680760"/>
                    <a:gd name="textAreaBottom" fmla="*/ 681120 h 680760"/>
                  </a:gdLst>
                  <a:ahLst/>
                  <a:rect l="textAreaLeft" t="textAreaTop" r="textAreaRight" b="textAreaBottom"/>
                  <a:pathLst>
                    <a:path w="325115" h="227073">
                      <a:moveTo>
                        <a:pt x="266840" y="0"/>
                      </a:moveTo>
                      <a:lnTo>
                        <a:pt x="276210" y="6165"/>
                      </a:lnTo>
                      <a:lnTo>
                        <a:pt x="291964" y="4558"/>
                      </a:lnTo>
                      <a:lnTo>
                        <a:pt x="287285" y="18122"/>
                      </a:lnTo>
                      <a:lnTo>
                        <a:pt x="290937" y="43175"/>
                      </a:lnTo>
                      <a:lnTo>
                        <a:pt x="285514" y="64704"/>
                      </a:lnTo>
                      <a:lnTo>
                        <a:pt x="271312" y="79191"/>
                      </a:lnTo>
                      <a:lnTo>
                        <a:pt x="273342" y="98662"/>
                      </a:lnTo>
                      <a:lnTo>
                        <a:pt x="292183" y="113990"/>
                      </a:lnTo>
                      <a:lnTo>
                        <a:pt x="292382" y="120199"/>
                      </a:lnTo>
                      <a:lnTo>
                        <a:pt x="306584" y="130530"/>
                      </a:lnTo>
                      <a:lnTo>
                        <a:pt x="316411" y="176148"/>
                      </a:lnTo>
                      <a:lnTo>
                        <a:pt x="323863" y="198394"/>
                      </a:lnTo>
                      <a:lnTo>
                        <a:pt x="325115" y="210053"/>
                      </a:lnTo>
                      <a:lnTo>
                        <a:pt x="322778" y="221799"/>
                      </a:lnTo>
                      <a:lnTo>
                        <a:pt x="270459" y="227073"/>
                      </a:lnTo>
                      <a:cubicBezTo>
                        <a:pt x="181204" y="227073"/>
                        <a:pt x="96173" y="208984"/>
                        <a:pt x="18833" y="176272"/>
                      </a:cubicBezTo>
                      <a:lnTo>
                        <a:pt x="0" y="166050"/>
                      </a:lnTo>
                      <a:lnTo>
                        <a:pt x="12955" y="161228"/>
                      </a:lnTo>
                      <a:lnTo>
                        <a:pt x="13944" y="142408"/>
                      </a:lnTo>
                      <a:lnTo>
                        <a:pt x="27272" y="140185"/>
                      </a:lnTo>
                      <a:lnTo>
                        <a:pt x="37693" y="130744"/>
                      </a:lnTo>
                      <a:lnTo>
                        <a:pt x="67842" y="126433"/>
                      </a:lnTo>
                      <a:lnTo>
                        <a:pt x="72066" y="116474"/>
                      </a:lnTo>
                      <a:lnTo>
                        <a:pt x="65996" y="111019"/>
                      </a:lnTo>
                      <a:lnTo>
                        <a:pt x="58039" y="83792"/>
                      </a:lnTo>
                      <a:lnTo>
                        <a:pt x="56667" y="68014"/>
                      </a:lnTo>
                      <a:lnTo>
                        <a:pt x="47984" y="51322"/>
                      </a:lnTo>
                      <a:lnTo>
                        <a:pt x="70130" y="37017"/>
                      </a:lnTo>
                      <a:lnTo>
                        <a:pt x="95035" y="32455"/>
                      </a:lnTo>
                      <a:lnTo>
                        <a:pt x="109579" y="21600"/>
                      </a:lnTo>
                      <a:lnTo>
                        <a:pt x="131765" y="13570"/>
                      </a:lnTo>
                      <a:lnTo>
                        <a:pt x="170807" y="8859"/>
                      </a:lnTo>
                      <a:lnTo>
                        <a:pt x="208911" y="6712"/>
                      </a:lnTo>
                      <a:lnTo>
                        <a:pt x="220530" y="10641"/>
                      </a:lnTo>
                      <a:lnTo>
                        <a:pt x="242224" y="206"/>
                      </a:lnTo>
                      <a:close/>
                    </a:path>
                  </a:pathLst>
                </a:custGeom>
                <a:solidFill>
                  <a:schemeClr val="accent1"/>
                </a:solidFill>
                <a:ln cap="rnd" w="9525">
                  <a:solidFill>
                    <a:srgbClr val="009fdf">
                      <a:lumMod val="60000"/>
                      <a:lumOff val="40000"/>
                    </a:srgbClr>
                  </a:solidFill>
                </a:ln>
              </p:spPr>
              <p:style>
                <a:lnRef idx="2">
                  <a:schemeClr val="accent1">
                    <a:shade val="50000"/>
                  </a:schemeClr>
                </a:lnRef>
                <a:fillRef idx="1">
                  <a:schemeClr val="accent1"/>
                </a:fillRef>
                <a:effectRef idx="0">
                  <a:schemeClr val="accent1"/>
                </a:effectRef>
                <a:fontRef idx="minor"/>
              </p:style>
              <p:txBody>
                <a:bodyPr numCol="1" spcCol="0" horzOverflow="overflow" lIns="216000" rIns="216000" tIns="216000" bIns="216000" anchor="ctr">
                  <a:noAutofit/>
                </a:bodyPr>
                <a:p>
                  <a:pPr algn="ctr" defTabSz="457200">
                    <a:lnSpc>
                      <a:spcPct val="100000"/>
                    </a:lnSpc>
                    <a:tabLst>
                      <a:tab algn="l" pos="0"/>
                    </a:tabLst>
                  </a:pPr>
                  <a:endParaRPr b="0" lang="de-DE" sz="1600" spc="-1" strike="noStrike">
                    <a:solidFill>
                      <a:srgbClr val="000000"/>
                    </a:solidFill>
                    <a:latin typeface="Arial"/>
                    <a:ea typeface="Arial"/>
                  </a:endParaRPr>
                </a:p>
              </p:txBody>
            </p:sp>
            <p:sp>
              <p:nvSpPr>
                <p:cNvPr id="678" name="Freeform 67"/>
                <p:cNvSpPr/>
                <p:nvPr/>
              </p:nvSpPr>
              <p:spPr>
                <a:xfrm>
                  <a:off x="1215720" y="5045400"/>
                  <a:ext cx="858960" cy="635040"/>
                </a:xfrm>
                <a:custGeom>
                  <a:avLst/>
                  <a:gdLst/>
                  <a:ahLst/>
                  <a:rect l="l" t="t" r="r" b="b"/>
                  <a:pathLst>
                    <a:path w="286974" h="212252">
                      <a:moveTo>
                        <a:pt x="8266" y="52162"/>
                      </a:moveTo>
                      <a:lnTo>
                        <a:pt x="9429" y="32381"/>
                      </a:lnTo>
                      <a:lnTo>
                        <a:pt x="0" y="20266"/>
                      </a:lnTo>
                      <a:lnTo>
                        <a:pt x="32655" y="0"/>
                      </a:lnTo>
                      <a:lnTo>
                        <a:pt x="60902" y="5080"/>
                      </a:lnTo>
                      <a:lnTo>
                        <a:pt x="91892" y="4902"/>
                      </a:lnTo>
                      <a:lnTo>
                        <a:pt x="116454" y="9702"/>
                      </a:lnTo>
                      <a:lnTo>
                        <a:pt x="135619" y="8229"/>
                      </a:lnTo>
                      <a:lnTo>
                        <a:pt x="172925" y="9159"/>
                      </a:lnTo>
                      <a:lnTo>
                        <a:pt x="182125" y="20059"/>
                      </a:lnTo>
                      <a:lnTo>
                        <a:pt x="224617" y="32749"/>
                      </a:lnTo>
                      <a:lnTo>
                        <a:pt x="233008" y="26720"/>
                      </a:lnTo>
                      <a:lnTo>
                        <a:pt x="258981" y="39323"/>
                      </a:lnTo>
                      <a:lnTo>
                        <a:pt x="285738" y="35716"/>
                      </a:lnTo>
                      <a:lnTo>
                        <a:pt x="286973" y="51842"/>
                      </a:lnTo>
                      <a:lnTo>
                        <a:pt x="265099" y="70225"/>
                      </a:lnTo>
                      <a:lnTo>
                        <a:pt x="235522" y="76036"/>
                      </a:lnTo>
                      <a:lnTo>
                        <a:pt x="233464" y="85261"/>
                      </a:lnTo>
                      <a:lnTo>
                        <a:pt x="219276" y="100404"/>
                      </a:lnTo>
                      <a:lnTo>
                        <a:pt x="210380" y="122504"/>
                      </a:lnTo>
                      <a:lnTo>
                        <a:pt x="219382" y="137929"/>
                      </a:lnTo>
                      <a:lnTo>
                        <a:pt x="206031" y="149920"/>
                      </a:lnTo>
                      <a:lnTo>
                        <a:pt x="201039" y="167311"/>
                      </a:lnTo>
                      <a:lnTo>
                        <a:pt x="183612" y="172625"/>
                      </a:lnTo>
                      <a:lnTo>
                        <a:pt x="167268" y="193047"/>
                      </a:lnTo>
                      <a:lnTo>
                        <a:pt x="137968" y="193451"/>
                      </a:lnTo>
                      <a:lnTo>
                        <a:pt x="115967" y="192949"/>
                      </a:lnTo>
                      <a:lnTo>
                        <a:pt x="101511" y="202287"/>
                      </a:lnTo>
                      <a:lnTo>
                        <a:pt x="92694" y="212251"/>
                      </a:lnTo>
                      <a:lnTo>
                        <a:pt x="81400" y="210065"/>
                      </a:lnTo>
                      <a:lnTo>
                        <a:pt x="72854" y="201152"/>
                      </a:lnTo>
                      <a:lnTo>
                        <a:pt x="66310" y="185923"/>
                      </a:lnTo>
                      <a:lnTo>
                        <a:pt x="44762" y="181811"/>
                      </a:lnTo>
                      <a:lnTo>
                        <a:pt x="42837" y="173002"/>
                      </a:lnTo>
                      <a:lnTo>
                        <a:pt x="51391" y="162998"/>
                      </a:lnTo>
                      <a:lnTo>
                        <a:pt x="54559" y="155725"/>
                      </a:lnTo>
                      <a:lnTo>
                        <a:pt x="46600" y="147754"/>
                      </a:lnTo>
                      <a:lnTo>
                        <a:pt x="52972" y="130069"/>
                      </a:lnTo>
                      <a:lnTo>
                        <a:pt x="43725" y="113845"/>
                      </a:lnTo>
                      <a:lnTo>
                        <a:pt x="53698" y="111611"/>
                      </a:lnTo>
                      <a:lnTo>
                        <a:pt x="54625" y="98752"/>
                      </a:lnTo>
                      <a:lnTo>
                        <a:pt x="58374" y="94760"/>
                      </a:lnTo>
                      <a:lnTo>
                        <a:pt x="58671" y="73388"/>
                      </a:lnTo>
                      <a:lnTo>
                        <a:pt x="69336" y="65937"/>
                      </a:lnTo>
                      <a:lnTo>
                        <a:pt x="62884" y="52084"/>
                      </a:lnTo>
                      <a:lnTo>
                        <a:pt x="49434" y="51116"/>
                      </a:lnTo>
                      <a:lnTo>
                        <a:pt x="45482" y="54611"/>
                      </a:lnTo>
                      <a:lnTo>
                        <a:pt x="31848" y="54643"/>
                      </a:lnTo>
                      <a:lnTo>
                        <a:pt x="26062" y="41071"/>
                      </a:lnTo>
                      <a:lnTo>
                        <a:pt x="16642" y="45119"/>
                      </a:lnTo>
                      <a:close/>
                    </a:path>
                  </a:pathLst>
                </a:custGeom>
                <a:solidFill>
                  <a:schemeClr val="accent1"/>
                </a:solidFill>
                <a:ln cap="rnd" w="9525">
                  <a:solidFill>
                    <a:srgbClr val="009fdf">
                      <a:lumMod val="60000"/>
                      <a:lumOff val="40000"/>
                    </a:srgbClr>
                  </a:solidFill>
                </a:ln>
              </p:spPr>
              <p:style>
                <a:lnRef idx="2">
                  <a:schemeClr val="accent1">
                    <a:shade val="50000"/>
                  </a:schemeClr>
                </a:lnRef>
                <a:fillRef idx="1">
                  <a:schemeClr val="accent1"/>
                </a:fillRef>
                <a:effectRef idx="0">
                  <a:schemeClr val="accent1"/>
                </a:effectRef>
                <a:fontRef idx="minor"/>
              </p:style>
              <p:txBody>
                <a:bodyPr numCol="1" spcCol="0" horzOverflow="overflow" lIns="216000" rIns="216000" tIns="216000" bIns="216000" anchor="ctr">
                  <a:noAutofit/>
                </a:bodyPr>
                <a:p>
                  <a:pPr algn="ctr" defTabSz="457200">
                    <a:lnSpc>
                      <a:spcPct val="100000"/>
                    </a:lnSpc>
                    <a:tabLst>
                      <a:tab algn="l" pos="0"/>
                    </a:tabLst>
                  </a:pPr>
                  <a:endParaRPr b="0" lang="de-DE" sz="1600" spc="-1" strike="noStrike">
                    <a:solidFill>
                      <a:srgbClr val="000000"/>
                    </a:solidFill>
                    <a:latin typeface="Arial"/>
                    <a:ea typeface="Arial"/>
                  </a:endParaRPr>
                </a:p>
              </p:txBody>
            </p:sp>
            <p:sp>
              <p:nvSpPr>
                <p:cNvPr id="679" name="Freeform 68"/>
                <p:cNvSpPr/>
                <p:nvPr/>
              </p:nvSpPr>
              <p:spPr>
                <a:xfrm>
                  <a:off x="3477960" y="3577320"/>
                  <a:ext cx="330840" cy="215640"/>
                </a:xfrm>
                <a:custGeom>
                  <a:avLst/>
                  <a:gdLst/>
                  <a:ahLst/>
                  <a:rect l="l" t="t" r="r" b="b"/>
                  <a:pathLst>
                    <a:path w="110610" h="72100">
                      <a:moveTo>
                        <a:pt x="22460" y="61482"/>
                      </a:moveTo>
                      <a:lnTo>
                        <a:pt x="25140" y="41708"/>
                      </a:lnTo>
                      <a:lnTo>
                        <a:pt x="16651" y="45947"/>
                      </a:lnTo>
                      <a:lnTo>
                        <a:pt x="2002" y="33975"/>
                      </a:lnTo>
                      <a:lnTo>
                        <a:pt x="0" y="14487"/>
                      </a:lnTo>
                      <a:lnTo>
                        <a:pt x="29185" y="4975"/>
                      </a:lnTo>
                      <a:lnTo>
                        <a:pt x="58269" y="0"/>
                      </a:lnTo>
                      <a:lnTo>
                        <a:pt x="83313" y="5661"/>
                      </a:lnTo>
                      <a:lnTo>
                        <a:pt x="107133" y="4649"/>
                      </a:lnTo>
                      <a:lnTo>
                        <a:pt x="110609" y="10614"/>
                      </a:lnTo>
                      <a:lnTo>
                        <a:pt x="94185" y="30195"/>
                      </a:lnTo>
                      <a:lnTo>
                        <a:pt x="101030" y="61533"/>
                      </a:lnTo>
                      <a:lnTo>
                        <a:pt x="91139" y="72099"/>
                      </a:lnTo>
                      <a:lnTo>
                        <a:pt x="72104" y="72037"/>
                      </a:lnTo>
                      <a:lnTo>
                        <a:pt x="52236" y="59676"/>
                      </a:lnTo>
                      <a:lnTo>
                        <a:pt x="42121" y="55576"/>
                      </a:lnTo>
                      <a:close/>
                    </a:path>
                  </a:pathLst>
                </a:custGeom>
                <a:solidFill>
                  <a:schemeClr val="accent1"/>
                </a:solidFill>
                <a:ln cap="rnd" w="9525">
                  <a:solidFill>
                    <a:srgbClr val="009fdf">
                      <a:lumMod val="60000"/>
                      <a:lumOff val="40000"/>
                    </a:srgbClr>
                  </a:solidFill>
                </a:ln>
              </p:spPr>
              <p:style>
                <a:lnRef idx="2">
                  <a:schemeClr val="accent1">
                    <a:shade val="50000"/>
                  </a:schemeClr>
                </a:lnRef>
                <a:fillRef idx="1">
                  <a:schemeClr val="accent1"/>
                </a:fillRef>
                <a:effectRef idx="0">
                  <a:schemeClr val="accent1"/>
                </a:effectRef>
                <a:fontRef idx="minor"/>
              </p:style>
              <p:txBody>
                <a:bodyPr numCol="1" spcCol="0" horzOverflow="overflow" lIns="216000" rIns="216000" tIns="107640" bIns="107640" anchor="ctr">
                  <a:noAutofit/>
                </a:bodyPr>
                <a:p>
                  <a:pPr algn="ctr" defTabSz="457200">
                    <a:lnSpc>
                      <a:spcPct val="100000"/>
                    </a:lnSpc>
                    <a:tabLst>
                      <a:tab algn="l" pos="0"/>
                    </a:tabLst>
                  </a:pPr>
                  <a:endParaRPr b="0" lang="de-DE" sz="1600" spc="-1" strike="noStrike">
                    <a:solidFill>
                      <a:srgbClr val="000000"/>
                    </a:solidFill>
                    <a:latin typeface="Arial"/>
                    <a:ea typeface="Arial"/>
                  </a:endParaRPr>
                </a:p>
              </p:txBody>
            </p:sp>
            <p:sp>
              <p:nvSpPr>
                <p:cNvPr id="680" name="Freihandform: Form 256"/>
                <p:cNvSpPr/>
                <p:nvPr/>
              </p:nvSpPr>
              <p:spPr>
                <a:xfrm>
                  <a:off x="3320280" y="2743200"/>
                  <a:ext cx="694440" cy="809640"/>
                </a:xfrm>
                <a:custGeom>
                  <a:avLst/>
                  <a:gdLst>
                    <a:gd name="textAreaLeft" fmla="*/ 0 w 694440"/>
                    <a:gd name="textAreaRight" fmla="*/ 694800 w 694440"/>
                    <a:gd name="textAreaTop" fmla="*/ 0 h 809640"/>
                    <a:gd name="textAreaBottom" fmla="*/ 810000 h 809640"/>
                  </a:gdLst>
                  <a:ahLst/>
                  <a:rect l="textAreaLeft" t="textAreaTop" r="textAreaRight" b="textAreaBottom"/>
                  <a:pathLst>
                    <a:path w="231613" h="270024">
                      <a:moveTo>
                        <a:pt x="57417" y="0"/>
                      </a:moveTo>
                      <a:lnTo>
                        <a:pt x="144458" y="71816"/>
                      </a:lnTo>
                      <a:cubicBezTo>
                        <a:pt x="173704" y="101062"/>
                        <a:pt x="200161" y="133097"/>
                        <a:pt x="223395" y="167488"/>
                      </a:cubicBezTo>
                      <a:lnTo>
                        <a:pt x="231613" y="182628"/>
                      </a:lnTo>
                      <a:lnTo>
                        <a:pt x="210832" y="202590"/>
                      </a:lnTo>
                      <a:lnTo>
                        <a:pt x="161507" y="247337"/>
                      </a:lnTo>
                      <a:lnTo>
                        <a:pt x="119699" y="250097"/>
                      </a:lnTo>
                      <a:lnTo>
                        <a:pt x="79188" y="262767"/>
                      </a:lnTo>
                      <a:lnTo>
                        <a:pt x="41708" y="270024"/>
                      </a:lnTo>
                      <a:lnTo>
                        <a:pt x="28372" y="251207"/>
                      </a:lnTo>
                      <a:lnTo>
                        <a:pt x="6060" y="239807"/>
                      </a:lnTo>
                      <a:lnTo>
                        <a:pt x="11189" y="205234"/>
                      </a:lnTo>
                      <a:lnTo>
                        <a:pt x="0" y="173087"/>
                      </a:lnTo>
                      <a:lnTo>
                        <a:pt x="10985" y="152077"/>
                      </a:lnTo>
                      <a:lnTo>
                        <a:pt x="31873" y="129182"/>
                      </a:lnTo>
                      <a:lnTo>
                        <a:pt x="84576" y="89057"/>
                      </a:lnTo>
                      <a:lnTo>
                        <a:pt x="99955" y="81233"/>
                      </a:lnTo>
                      <a:lnTo>
                        <a:pt x="97558" y="65315"/>
                      </a:lnTo>
                      <a:lnTo>
                        <a:pt x="65521" y="47385"/>
                      </a:lnTo>
                      <a:lnTo>
                        <a:pt x="57746" y="32503"/>
                      </a:lnTo>
                      <a:close/>
                    </a:path>
                  </a:pathLst>
                </a:custGeom>
                <a:solidFill>
                  <a:schemeClr val="accent1"/>
                </a:solidFill>
                <a:ln cap="rnd" w="9525">
                  <a:solidFill>
                    <a:srgbClr val="009fdf">
                      <a:lumMod val="60000"/>
                      <a:lumOff val="40000"/>
                    </a:srgbClr>
                  </a:solidFill>
                </a:ln>
              </p:spPr>
              <p:style>
                <a:lnRef idx="2">
                  <a:schemeClr val="accent1">
                    <a:shade val="50000"/>
                  </a:schemeClr>
                </a:lnRef>
                <a:fillRef idx="1">
                  <a:schemeClr val="accent1"/>
                </a:fillRef>
                <a:effectRef idx="0">
                  <a:schemeClr val="accent1"/>
                </a:effectRef>
                <a:fontRef idx="minor"/>
              </p:style>
              <p:txBody>
                <a:bodyPr numCol="1" spcCol="0" horzOverflow="overflow" lIns="216000" rIns="216000" tIns="216000" bIns="216000" anchor="ctr">
                  <a:noAutofit/>
                </a:bodyPr>
                <a:p>
                  <a:pPr algn="ctr" defTabSz="457200">
                    <a:lnSpc>
                      <a:spcPct val="100000"/>
                    </a:lnSpc>
                    <a:tabLst>
                      <a:tab algn="l" pos="0"/>
                    </a:tabLst>
                  </a:pPr>
                  <a:endParaRPr b="0" lang="de-DE" sz="1600" spc="-1" strike="noStrike">
                    <a:solidFill>
                      <a:srgbClr val="000000"/>
                    </a:solidFill>
                    <a:latin typeface="Arial"/>
                    <a:ea typeface="Arial"/>
                  </a:endParaRPr>
                </a:p>
              </p:txBody>
            </p:sp>
            <p:sp>
              <p:nvSpPr>
                <p:cNvPr id="681" name="Freihandform: Form 257"/>
                <p:cNvSpPr/>
                <p:nvPr/>
              </p:nvSpPr>
              <p:spPr>
                <a:xfrm>
                  <a:off x="1547280" y="4395960"/>
                  <a:ext cx="977760" cy="846360"/>
                </a:xfrm>
                <a:custGeom>
                  <a:avLst/>
                  <a:gdLst>
                    <a:gd name="textAreaLeft" fmla="*/ 0 w 977760"/>
                    <a:gd name="textAreaRight" fmla="*/ 978120 w 977760"/>
                    <a:gd name="textAreaTop" fmla="*/ 0 h 846360"/>
                    <a:gd name="textAreaBottom" fmla="*/ 846720 h 846360"/>
                  </a:gdLst>
                  <a:ahLst/>
                  <a:rect l="textAreaLeft" t="textAreaTop" r="textAreaRight" b="textAreaBottom"/>
                  <a:pathLst>
                    <a:path w="326025" h="282285">
                      <a:moveTo>
                        <a:pt x="322109" y="237120"/>
                      </a:moveTo>
                      <a:lnTo>
                        <a:pt x="326025" y="260966"/>
                      </a:lnTo>
                      <a:lnTo>
                        <a:pt x="318417" y="282285"/>
                      </a:lnTo>
                      <a:lnTo>
                        <a:pt x="307958" y="276680"/>
                      </a:lnTo>
                      <a:lnTo>
                        <a:pt x="302625" y="258083"/>
                      </a:lnTo>
                      <a:lnTo>
                        <a:pt x="307274" y="247763"/>
                      </a:lnTo>
                      <a:close/>
                      <a:moveTo>
                        <a:pt x="163698" y="0"/>
                      </a:moveTo>
                      <a:lnTo>
                        <a:pt x="167035" y="10698"/>
                      </a:lnTo>
                      <a:lnTo>
                        <a:pt x="177742" y="11199"/>
                      </a:lnTo>
                      <a:lnTo>
                        <a:pt x="188453" y="23352"/>
                      </a:lnTo>
                      <a:lnTo>
                        <a:pt x="204529" y="37554"/>
                      </a:lnTo>
                      <a:lnTo>
                        <a:pt x="216352" y="35214"/>
                      </a:lnTo>
                      <a:lnTo>
                        <a:pt x="236506" y="48886"/>
                      </a:lnTo>
                      <a:lnTo>
                        <a:pt x="241658" y="51481"/>
                      </a:lnTo>
                      <a:lnTo>
                        <a:pt x="248306" y="50849"/>
                      </a:lnTo>
                      <a:lnTo>
                        <a:pt x="259177" y="58662"/>
                      </a:lnTo>
                      <a:lnTo>
                        <a:pt x="292374" y="64144"/>
                      </a:lnTo>
                      <a:lnTo>
                        <a:pt x="280728" y="84426"/>
                      </a:lnTo>
                      <a:lnTo>
                        <a:pt x="277803" y="105363"/>
                      </a:lnTo>
                      <a:lnTo>
                        <a:pt x="271479" y="110358"/>
                      </a:lnTo>
                      <a:lnTo>
                        <a:pt x="260982" y="107668"/>
                      </a:lnTo>
                      <a:lnTo>
                        <a:pt x="261723" y="115089"/>
                      </a:lnTo>
                      <a:lnTo>
                        <a:pt x="244875" y="131430"/>
                      </a:lnTo>
                      <a:lnTo>
                        <a:pt x="244535" y="144524"/>
                      </a:lnTo>
                      <a:lnTo>
                        <a:pt x="255535" y="140001"/>
                      </a:lnTo>
                      <a:lnTo>
                        <a:pt x="263448" y="152644"/>
                      </a:lnTo>
                      <a:lnTo>
                        <a:pt x="262498" y="160761"/>
                      </a:lnTo>
                      <a:lnTo>
                        <a:pt x="269277" y="171510"/>
                      </a:lnTo>
                      <a:lnTo>
                        <a:pt x="261290" y="180198"/>
                      </a:lnTo>
                      <a:lnTo>
                        <a:pt x="267225" y="202153"/>
                      </a:lnTo>
                      <a:lnTo>
                        <a:pt x="279712" y="205736"/>
                      </a:lnTo>
                      <a:lnTo>
                        <a:pt x="277077" y="217961"/>
                      </a:lnTo>
                      <a:lnTo>
                        <a:pt x="256206" y="233798"/>
                      </a:lnTo>
                      <a:lnTo>
                        <a:pt x="210772" y="226219"/>
                      </a:lnTo>
                      <a:lnTo>
                        <a:pt x="177217" y="235299"/>
                      </a:lnTo>
                      <a:lnTo>
                        <a:pt x="174581" y="252074"/>
                      </a:lnTo>
                      <a:lnTo>
                        <a:pt x="147877" y="255674"/>
                      </a:lnTo>
                      <a:lnTo>
                        <a:pt x="121956" y="243096"/>
                      </a:lnTo>
                      <a:lnTo>
                        <a:pt x="113581" y="249113"/>
                      </a:lnTo>
                      <a:lnTo>
                        <a:pt x="71174" y="236449"/>
                      </a:lnTo>
                      <a:lnTo>
                        <a:pt x="61992" y="225570"/>
                      </a:lnTo>
                      <a:lnTo>
                        <a:pt x="73905" y="208707"/>
                      </a:lnTo>
                      <a:lnTo>
                        <a:pt x="78291" y="151961"/>
                      </a:lnTo>
                      <a:lnTo>
                        <a:pt x="54520" y="121595"/>
                      </a:lnTo>
                      <a:lnTo>
                        <a:pt x="37529" y="106834"/>
                      </a:lnTo>
                      <a:lnTo>
                        <a:pt x="2323" y="95557"/>
                      </a:lnTo>
                      <a:lnTo>
                        <a:pt x="0" y="74045"/>
                      </a:lnTo>
                      <a:lnTo>
                        <a:pt x="29868" y="67594"/>
                      </a:lnTo>
                      <a:lnTo>
                        <a:pt x="68554" y="75222"/>
                      </a:lnTo>
                      <a:lnTo>
                        <a:pt x="61251" y="41492"/>
                      </a:lnTo>
                      <a:lnTo>
                        <a:pt x="82999" y="54326"/>
                      </a:lnTo>
                      <a:lnTo>
                        <a:pt x="136634" y="30947"/>
                      </a:lnTo>
                      <a:lnTo>
                        <a:pt x="143551" y="6148"/>
                      </a:lnTo>
                      <a:close/>
                    </a:path>
                  </a:pathLst>
                </a:custGeom>
                <a:solidFill>
                  <a:schemeClr val="accent1"/>
                </a:solidFill>
                <a:ln cap="rnd" w="9525">
                  <a:solidFill>
                    <a:srgbClr val="009fdf">
                      <a:lumMod val="60000"/>
                      <a:lumOff val="40000"/>
                    </a:srgbClr>
                  </a:solidFill>
                </a:ln>
              </p:spPr>
              <p:style>
                <a:lnRef idx="2">
                  <a:schemeClr val="accent1">
                    <a:shade val="50000"/>
                  </a:schemeClr>
                </a:lnRef>
                <a:fillRef idx="1">
                  <a:schemeClr val="accent1"/>
                </a:fillRef>
                <a:effectRef idx="0">
                  <a:schemeClr val="accent1"/>
                </a:effectRef>
                <a:fontRef idx="minor"/>
              </p:style>
              <p:txBody>
                <a:bodyPr numCol="1" spcCol="0" horzOverflow="overflow" lIns="216000" rIns="216000" tIns="216000" bIns="216000" anchor="ctr">
                  <a:noAutofit/>
                </a:bodyPr>
                <a:p>
                  <a:pPr algn="ctr" defTabSz="457200">
                    <a:lnSpc>
                      <a:spcPct val="100000"/>
                    </a:lnSpc>
                    <a:tabLst>
                      <a:tab algn="l" pos="0"/>
                    </a:tabLst>
                  </a:pPr>
                  <a:endParaRPr b="0" lang="de-DE" sz="1600" spc="-1" strike="noStrike">
                    <a:solidFill>
                      <a:srgbClr val="000000"/>
                    </a:solidFill>
                    <a:latin typeface="Arial"/>
                    <a:ea typeface="Arial"/>
                  </a:endParaRPr>
                </a:p>
              </p:txBody>
            </p:sp>
            <p:sp>
              <p:nvSpPr>
                <p:cNvPr id="682" name="Freeform 79"/>
                <p:cNvSpPr/>
                <p:nvPr/>
              </p:nvSpPr>
              <p:spPr>
                <a:xfrm>
                  <a:off x="3257280" y="5205960"/>
                  <a:ext cx="445680" cy="555120"/>
                </a:xfrm>
                <a:custGeom>
                  <a:avLst/>
                  <a:gdLst>
                    <a:gd name="textAreaLeft" fmla="*/ 0 w 445680"/>
                    <a:gd name="textAreaRight" fmla="*/ 446040 w 445680"/>
                    <a:gd name="textAreaTop" fmla="*/ 0 h 555120"/>
                    <a:gd name="textAreaBottom" fmla="*/ 555480 h 555120"/>
                  </a:gdLst>
                  <a:ahLst/>
                  <a:rect l="textAreaLeft" t="textAreaTop" r="textAreaRight" b="textAreaBottom"/>
                  <a:pathLst>
                    <a:path w="148979" h="185536">
                      <a:moveTo>
                        <a:pt x="81942" y="164966"/>
                      </a:moveTo>
                      <a:lnTo>
                        <a:pt x="94561" y="173811"/>
                      </a:lnTo>
                      <a:lnTo>
                        <a:pt x="112528" y="172317"/>
                      </a:lnTo>
                      <a:lnTo>
                        <a:pt x="129706" y="174178"/>
                      </a:lnTo>
                      <a:lnTo>
                        <a:pt x="129148" y="178736"/>
                      </a:lnTo>
                      <a:lnTo>
                        <a:pt x="141727" y="175594"/>
                      </a:lnTo>
                      <a:lnTo>
                        <a:pt x="138842" y="183314"/>
                      </a:lnTo>
                      <a:lnTo>
                        <a:pt x="105602" y="185536"/>
                      </a:lnTo>
                      <a:lnTo>
                        <a:pt x="105834" y="181222"/>
                      </a:lnTo>
                      <a:lnTo>
                        <a:pt x="77672" y="176118"/>
                      </a:lnTo>
                      <a:close/>
                      <a:moveTo>
                        <a:pt x="137735" y="0"/>
                      </a:moveTo>
                      <a:lnTo>
                        <a:pt x="148979" y="7318"/>
                      </a:lnTo>
                      <a:lnTo>
                        <a:pt x="141833" y="24543"/>
                      </a:lnTo>
                      <a:lnTo>
                        <a:pt x="136347" y="27619"/>
                      </a:lnTo>
                      <a:lnTo>
                        <a:pt x="122284" y="26839"/>
                      </a:lnTo>
                      <a:lnTo>
                        <a:pt x="110239" y="24247"/>
                      </a:lnTo>
                      <a:lnTo>
                        <a:pt x="82285" y="31373"/>
                      </a:lnTo>
                      <a:lnTo>
                        <a:pt x="98285" y="46728"/>
                      </a:lnTo>
                      <a:lnTo>
                        <a:pt x="86559" y="51166"/>
                      </a:lnTo>
                      <a:lnTo>
                        <a:pt x="73702" y="51193"/>
                      </a:lnTo>
                      <a:lnTo>
                        <a:pt x="61491" y="37149"/>
                      </a:lnTo>
                      <a:lnTo>
                        <a:pt x="57159" y="43141"/>
                      </a:lnTo>
                      <a:lnTo>
                        <a:pt x="62317" y="59391"/>
                      </a:lnTo>
                      <a:lnTo>
                        <a:pt x="73865" y="72102"/>
                      </a:lnTo>
                      <a:lnTo>
                        <a:pt x="65164" y="78019"/>
                      </a:lnTo>
                      <a:lnTo>
                        <a:pt x="78019" y="90429"/>
                      </a:lnTo>
                      <a:lnTo>
                        <a:pt x="89445" y="98214"/>
                      </a:lnTo>
                      <a:lnTo>
                        <a:pt x="89791" y="113326"/>
                      </a:lnTo>
                      <a:lnTo>
                        <a:pt x="68440" y="106247"/>
                      </a:lnTo>
                      <a:lnTo>
                        <a:pt x="75248" y="119859"/>
                      </a:lnTo>
                      <a:lnTo>
                        <a:pt x="60591" y="122653"/>
                      </a:lnTo>
                      <a:lnTo>
                        <a:pt x="69345" y="146057"/>
                      </a:lnTo>
                      <a:lnTo>
                        <a:pt x="54013" y="146387"/>
                      </a:lnTo>
                      <a:lnTo>
                        <a:pt x="35086" y="134873"/>
                      </a:lnTo>
                      <a:lnTo>
                        <a:pt x="26430" y="113594"/>
                      </a:lnTo>
                      <a:lnTo>
                        <a:pt x="22390" y="95791"/>
                      </a:lnTo>
                      <a:lnTo>
                        <a:pt x="13388" y="83434"/>
                      </a:lnTo>
                      <a:lnTo>
                        <a:pt x="1562" y="68039"/>
                      </a:lnTo>
                      <a:lnTo>
                        <a:pt x="0" y="60323"/>
                      </a:lnTo>
                      <a:lnTo>
                        <a:pt x="10733" y="47136"/>
                      </a:lnTo>
                      <a:lnTo>
                        <a:pt x="12118" y="38269"/>
                      </a:lnTo>
                      <a:lnTo>
                        <a:pt x="19619" y="34305"/>
                      </a:lnTo>
                      <a:lnTo>
                        <a:pt x="20082" y="27109"/>
                      </a:lnTo>
                      <a:lnTo>
                        <a:pt x="35181" y="24680"/>
                      </a:lnTo>
                      <a:lnTo>
                        <a:pt x="43981" y="18675"/>
                      </a:lnTo>
                      <a:lnTo>
                        <a:pt x="56490" y="19208"/>
                      </a:lnTo>
                      <a:lnTo>
                        <a:pt x="60286" y="14412"/>
                      </a:lnTo>
                      <a:lnTo>
                        <a:pt x="64686" y="13497"/>
                      </a:lnTo>
                      <a:lnTo>
                        <a:pt x="81760" y="14294"/>
                      </a:lnTo>
                      <a:lnTo>
                        <a:pt x="100239" y="6716"/>
                      </a:lnTo>
                      <a:lnTo>
                        <a:pt x="116502" y="16347"/>
                      </a:lnTo>
                      <a:lnTo>
                        <a:pt x="137483" y="13748"/>
                      </a:lnTo>
                      <a:close/>
                    </a:path>
                  </a:pathLst>
                </a:custGeom>
                <a:solidFill>
                  <a:schemeClr val="accent1"/>
                </a:solidFill>
                <a:ln cap="rnd" w="9525">
                  <a:solidFill>
                    <a:srgbClr val="009fdf">
                      <a:lumMod val="60000"/>
                      <a:lumOff val="40000"/>
                    </a:srgbClr>
                  </a:solidFill>
                </a:ln>
              </p:spPr>
              <p:style>
                <a:lnRef idx="2">
                  <a:schemeClr val="accent1">
                    <a:shade val="50000"/>
                  </a:schemeClr>
                </a:lnRef>
                <a:fillRef idx="1">
                  <a:schemeClr val="accent1"/>
                </a:fillRef>
                <a:effectRef idx="0">
                  <a:schemeClr val="accent1"/>
                </a:effectRef>
                <a:fontRef idx="minor"/>
              </p:style>
              <p:txBody>
                <a:bodyPr numCol="1" spcCol="0" horzOverflow="overflow" lIns="216000" rIns="216000" tIns="216000" bIns="216000" anchor="ctr">
                  <a:noAutofit/>
                </a:bodyPr>
                <a:p>
                  <a:pPr algn="ctr" defTabSz="457200">
                    <a:lnSpc>
                      <a:spcPct val="100000"/>
                    </a:lnSpc>
                    <a:tabLst>
                      <a:tab algn="l" pos="0"/>
                    </a:tabLst>
                  </a:pPr>
                  <a:endParaRPr b="0" lang="de-DE" sz="1600" spc="-1" strike="noStrike">
                    <a:solidFill>
                      <a:srgbClr val="000000"/>
                    </a:solidFill>
                    <a:latin typeface="Arial"/>
                    <a:ea typeface="Arial"/>
                  </a:endParaRPr>
                </a:p>
              </p:txBody>
            </p:sp>
            <p:sp>
              <p:nvSpPr>
                <p:cNvPr id="683" name="Freeform 80"/>
                <p:cNvSpPr/>
                <p:nvPr/>
              </p:nvSpPr>
              <p:spPr>
                <a:xfrm>
                  <a:off x="2808720" y="4809600"/>
                  <a:ext cx="396000" cy="341640"/>
                </a:xfrm>
                <a:custGeom>
                  <a:avLst/>
                  <a:gdLst/>
                  <a:ahLst/>
                  <a:rect l="l" t="t" r="r" b="b"/>
                  <a:pathLst>
                    <a:path w="132345" h="114250">
                      <a:moveTo>
                        <a:pt x="119403" y="17185"/>
                      </a:moveTo>
                      <a:lnTo>
                        <a:pt x="125011" y="28319"/>
                      </a:lnTo>
                      <a:lnTo>
                        <a:pt x="132344" y="36482"/>
                      </a:lnTo>
                      <a:lnTo>
                        <a:pt x="123458" y="47223"/>
                      </a:lnTo>
                      <a:lnTo>
                        <a:pt x="113019" y="40909"/>
                      </a:lnTo>
                      <a:lnTo>
                        <a:pt x="97058" y="41305"/>
                      </a:lnTo>
                      <a:lnTo>
                        <a:pt x="77216" y="36560"/>
                      </a:lnTo>
                      <a:lnTo>
                        <a:pt x="66431" y="37194"/>
                      </a:lnTo>
                      <a:lnTo>
                        <a:pt x="61427" y="43121"/>
                      </a:lnTo>
                      <a:lnTo>
                        <a:pt x="53145" y="36560"/>
                      </a:lnTo>
                      <a:lnTo>
                        <a:pt x="48313" y="48406"/>
                      </a:lnTo>
                      <a:lnTo>
                        <a:pt x="59615" y="61691"/>
                      </a:lnTo>
                      <a:lnTo>
                        <a:pt x="64619" y="70462"/>
                      </a:lnTo>
                      <a:lnTo>
                        <a:pt x="75231" y="80998"/>
                      </a:lnTo>
                      <a:lnTo>
                        <a:pt x="84030" y="87224"/>
                      </a:lnTo>
                      <a:lnTo>
                        <a:pt x="92745" y="98939"/>
                      </a:lnTo>
                      <a:lnTo>
                        <a:pt x="113175" y="109513"/>
                      </a:lnTo>
                      <a:lnTo>
                        <a:pt x="110636" y="114249"/>
                      </a:lnTo>
                      <a:lnTo>
                        <a:pt x="88937" y="103931"/>
                      </a:lnTo>
                      <a:lnTo>
                        <a:pt x="75550" y="93857"/>
                      </a:lnTo>
                      <a:lnTo>
                        <a:pt x="54438" y="85514"/>
                      </a:lnTo>
                      <a:lnTo>
                        <a:pt x="35028" y="64749"/>
                      </a:lnTo>
                      <a:lnTo>
                        <a:pt x="39685" y="62633"/>
                      </a:lnTo>
                      <a:lnTo>
                        <a:pt x="29161" y="50690"/>
                      </a:lnTo>
                      <a:lnTo>
                        <a:pt x="28729" y="41067"/>
                      </a:lnTo>
                      <a:lnTo>
                        <a:pt x="13890" y="36560"/>
                      </a:lnTo>
                      <a:lnTo>
                        <a:pt x="6816" y="48878"/>
                      </a:lnTo>
                      <a:lnTo>
                        <a:pt x="0" y="39329"/>
                      </a:lnTo>
                      <a:lnTo>
                        <a:pt x="518" y="29390"/>
                      </a:lnTo>
                      <a:lnTo>
                        <a:pt x="1341" y="28927"/>
                      </a:lnTo>
                      <a:lnTo>
                        <a:pt x="17427" y="29906"/>
                      </a:lnTo>
                      <a:lnTo>
                        <a:pt x="21655" y="25064"/>
                      </a:lnTo>
                      <a:lnTo>
                        <a:pt x="29506" y="29748"/>
                      </a:lnTo>
                      <a:lnTo>
                        <a:pt x="38564" y="30303"/>
                      </a:lnTo>
                      <a:lnTo>
                        <a:pt x="38478" y="22281"/>
                      </a:lnTo>
                      <a:lnTo>
                        <a:pt x="46501" y="19337"/>
                      </a:lnTo>
                      <a:lnTo>
                        <a:pt x="48745" y="7687"/>
                      </a:lnTo>
                      <a:lnTo>
                        <a:pt x="67121" y="0"/>
                      </a:lnTo>
                      <a:lnTo>
                        <a:pt x="74454" y="3566"/>
                      </a:lnTo>
                      <a:lnTo>
                        <a:pt x="91710" y="15950"/>
                      </a:lnTo>
                      <a:lnTo>
                        <a:pt x="110776" y="21485"/>
                      </a:lnTo>
                      <a:close/>
                    </a:path>
                  </a:pathLst>
                </a:custGeom>
                <a:solidFill>
                  <a:schemeClr val="accent1">
                    <a:lumMod val="20000"/>
                    <a:lumOff val="80000"/>
                  </a:schemeClr>
                </a:solidFill>
                <a:ln cap="rnd" w="9525">
                  <a:solidFill>
                    <a:srgbClr val="009fdf">
                      <a:lumMod val="60000"/>
                      <a:lumOff val="40000"/>
                    </a:srgbClr>
                  </a:solidFill>
                </a:ln>
              </p:spPr>
              <p:style>
                <a:lnRef idx="2">
                  <a:schemeClr val="accent1">
                    <a:shade val="50000"/>
                  </a:schemeClr>
                </a:lnRef>
                <a:fillRef idx="1">
                  <a:schemeClr val="accent1"/>
                </a:fillRef>
                <a:effectRef idx="0">
                  <a:schemeClr val="accent1"/>
                </a:effectRef>
                <a:fontRef idx="minor"/>
              </p:style>
              <p:txBody>
                <a:bodyPr numCol="1" spcCol="0" horzOverflow="overflow" lIns="216000" rIns="216000" tIns="170640" bIns="170640" anchor="ctr">
                  <a:noAutofit/>
                </a:bodyPr>
                <a:p>
                  <a:pPr algn="ctr" defTabSz="457200">
                    <a:lnSpc>
                      <a:spcPct val="100000"/>
                    </a:lnSpc>
                    <a:tabLst>
                      <a:tab algn="l" pos="0"/>
                    </a:tabLst>
                  </a:pPr>
                  <a:endParaRPr b="0" lang="de-DE" sz="1600" spc="-1" strike="noStrike">
                    <a:solidFill>
                      <a:srgbClr val="000000"/>
                    </a:solidFill>
                    <a:latin typeface="Arial"/>
                    <a:ea typeface="Arial"/>
                  </a:endParaRPr>
                </a:p>
              </p:txBody>
            </p:sp>
            <p:sp>
              <p:nvSpPr>
                <p:cNvPr id="684" name="Freeform 81"/>
                <p:cNvSpPr/>
                <p:nvPr/>
              </p:nvSpPr>
              <p:spPr>
                <a:xfrm>
                  <a:off x="2984400" y="4623480"/>
                  <a:ext cx="449280" cy="250200"/>
                </a:xfrm>
                <a:custGeom>
                  <a:avLst/>
                  <a:gdLst/>
                  <a:ahLst/>
                  <a:rect l="l" t="t" r="r" b="b"/>
                  <a:pathLst>
                    <a:path w="150228" h="83637">
                      <a:moveTo>
                        <a:pt x="0" y="52029"/>
                      </a:moveTo>
                      <a:lnTo>
                        <a:pt x="7663" y="33237"/>
                      </a:lnTo>
                      <a:lnTo>
                        <a:pt x="3192" y="26881"/>
                      </a:lnTo>
                      <a:lnTo>
                        <a:pt x="16191" y="26824"/>
                      </a:lnTo>
                      <a:lnTo>
                        <a:pt x="17944" y="14798"/>
                      </a:lnTo>
                      <a:lnTo>
                        <a:pt x="29688" y="22339"/>
                      </a:lnTo>
                      <a:lnTo>
                        <a:pt x="38198" y="25544"/>
                      </a:lnTo>
                      <a:lnTo>
                        <a:pt x="57573" y="21943"/>
                      </a:lnTo>
                      <a:lnTo>
                        <a:pt x="59431" y="16029"/>
                      </a:lnTo>
                      <a:lnTo>
                        <a:pt x="68603" y="15156"/>
                      </a:lnTo>
                      <a:lnTo>
                        <a:pt x="79844" y="10574"/>
                      </a:lnTo>
                      <a:lnTo>
                        <a:pt x="82340" y="12462"/>
                      </a:lnTo>
                      <a:lnTo>
                        <a:pt x="93179" y="8773"/>
                      </a:lnTo>
                      <a:lnTo>
                        <a:pt x="98592" y="1808"/>
                      </a:lnTo>
                      <a:lnTo>
                        <a:pt x="106157" y="0"/>
                      </a:lnTo>
                      <a:lnTo>
                        <a:pt x="130877" y="8998"/>
                      </a:lnTo>
                      <a:lnTo>
                        <a:pt x="135802" y="5972"/>
                      </a:lnTo>
                      <a:lnTo>
                        <a:pt x="148618" y="14010"/>
                      </a:lnTo>
                      <a:lnTo>
                        <a:pt x="150227" y="21906"/>
                      </a:lnTo>
                      <a:lnTo>
                        <a:pt x="136129" y="28069"/>
                      </a:lnTo>
                      <a:lnTo>
                        <a:pt x="125205" y="47899"/>
                      </a:lnTo>
                      <a:lnTo>
                        <a:pt x="111250" y="67584"/>
                      </a:lnTo>
                      <a:lnTo>
                        <a:pt x="92744" y="73034"/>
                      </a:lnTo>
                      <a:lnTo>
                        <a:pt x="78337" y="71756"/>
                      </a:lnTo>
                      <a:lnTo>
                        <a:pt x="60650" y="79336"/>
                      </a:lnTo>
                      <a:lnTo>
                        <a:pt x="52023" y="83636"/>
                      </a:lnTo>
                      <a:lnTo>
                        <a:pt x="32957" y="78101"/>
                      </a:lnTo>
                      <a:lnTo>
                        <a:pt x="15701" y="65717"/>
                      </a:lnTo>
                      <a:lnTo>
                        <a:pt x="8368" y="62151"/>
                      </a:lnTo>
                      <a:lnTo>
                        <a:pt x="3883" y="52350"/>
                      </a:lnTo>
                      <a:close/>
                    </a:path>
                  </a:pathLst>
                </a:custGeom>
                <a:solidFill>
                  <a:schemeClr val="accent1"/>
                </a:solidFill>
                <a:ln cap="rnd" w="9525">
                  <a:solidFill>
                    <a:srgbClr val="009fdf">
                      <a:lumMod val="60000"/>
                      <a:lumOff val="40000"/>
                    </a:srgbClr>
                  </a:solidFill>
                </a:ln>
              </p:spPr>
              <p:style>
                <a:lnRef idx="2">
                  <a:schemeClr val="accent1">
                    <a:shade val="50000"/>
                  </a:schemeClr>
                </a:lnRef>
                <a:fillRef idx="1">
                  <a:schemeClr val="accent1"/>
                </a:fillRef>
                <a:effectRef idx="0">
                  <a:schemeClr val="accent1"/>
                </a:effectRef>
                <a:fontRef idx="minor"/>
              </p:style>
              <p:txBody>
                <a:bodyPr numCol="1" spcCol="0" horzOverflow="overflow" lIns="216000" rIns="216000" tIns="124920" bIns="124920" anchor="ctr">
                  <a:noAutofit/>
                </a:bodyPr>
                <a:p>
                  <a:pPr algn="ctr" defTabSz="457200">
                    <a:lnSpc>
                      <a:spcPct val="100000"/>
                    </a:lnSpc>
                    <a:tabLst>
                      <a:tab algn="l" pos="0"/>
                    </a:tabLst>
                  </a:pPr>
                  <a:endParaRPr b="0" lang="de-DE" sz="1600" spc="-1" strike="noStrike">
                    <a:solidFill>
                      <a:srgbClr val="000000"/>
                    </a:solidFill>
                    <a:latin typeface="Arial"/>
                    <a:ea typeface="Arial"/>
                  </a:endParaRPr>
                </a:p>
              </p:txBody>
            </p:sp>
            <p:sp>
              <p:nvSpPr>
                <p:cNvPr id="685" name="Freeform 84"/>
                <p:cNvSpPr/>
                <p:nvPr/>
              </p:nvSpPr>
              <p:spPr>
                <a:xfrm>
                  <a:off x="1175400" y="4022280"/>
                  <a:ext cx="272160" cy="325440"/>
                </a:xfrm>
                <a:custGeom>
                  <a:avLst/>
                  <a:gdLst/>
                  <a:ahLst/>
                  <a:rect l="l" t="t" r="r" b="b"/>
                  <a:pathLst>
                    <a:path w="91041" h="108813">
                      <a:moveTo>
                        <a:pt x="87234" y="40293"/>
                      </a:moveTo>
                      <a:lnTo>
                        <a:pt x="91040" y="62771"/>
                      </a:lnTo>
                      <a:lnTo>
                        <a:pt x="73592" y="90582"/>
                      </a:lnTo>
                      <a:lnTo>
                        <a:pt x="32672" y="108812"/>
                      </a:lnTo>
                      <a:lnTo>
                        <a:pt x="0" y="104161"/>
                      </a:lnTo>
                      <a:lnTo>
                        <a:pt x="18715" y="71791"/>
                      </a:lnTo>
                      <a:lnTo>
                        <a:pt x="6660" y="39857"/>
                      </a:lnTo>
                      <a:lnTo>
                        <a:pt x="38065" y="14968"/>
                      </a:lnTo>
                      <a:lnTo>
                        <a:pt x="55512" y="0"/>
                      </a:lnTo>
                      <a:lnTo>
                        <a:pt x="60270" y="17162"/>
                      </a:lnTo>
                      <a:lnTo>
                        <a:pt x="55512" y="34204"/>
                      </a:lnTo>
                      <a:lnTo>
                        <a:pt x="69787" y="33768"/>
                      </a:lnTo>
                      <a:close/>
                    </a:path>
                  </a:pathLst>
                </a:custGeom>
                <a:solidFill>
                  <a:schemeClr val="accent1"/>
                </a:solidFill>
                <a:ln cap="rnd" w="9525">
                  <a:solidFill>
                    <a:srgbClr val="009fdf">
                      <a:lumMod val="60000"/>
                      <a:lumOff val="40000"/>
                    </a:srgbClr>
                  </a:solidFill>
                </a:ln>
              </p:spPr>
              <p:style>
                <a:lnRef idx="2">
                  <a:schemeClr val="accent1">
                    <a:shade val="50000"/>
                  </a:schemeClr>
                </a:lnRef>
                <a:fillRef idx="1">
                  <a:schemeClr val="accent1"/>
                </a:fillRef>
                <a:effectRef idx="0">
                  <a:schemeClr val="accent1"/>
                </a:effectRef>
                <a:fontRef idx="minor"/>
              </p:style>
              <p:txBody>
                <a:bodyPr numCol="1" spcCol="0" horzOverflow="overflow" lIns="216000" rIns="216000" tIns="162720" bIns="162720" anchor="ctr">
                  <a:noAutofit/>
                </a:bodyPr>
                <a:p>
                  <a:pPr algn="ctr" defTabSz="457200">
                    <a:lnSpc>
                      <a:spcPct val="100000"/>
                    </a:lnSpc>
                    <a:tabLst>
                      <a:tab algn="l" pos="0"/>
                    </a:tabLst>
                  </a:pPr>
                  <a:endParaRPr b="0" lang="de-DE" sz="1600" spc="-1" strike="noStrike">
                    <a:solidFill>
                      <a:srgbClr val="000000"/>
                    </a:solidFill>
                    <a:latin typeface="Arial"/>
                    <a:ea typeface="Arial"/>
                  </a:endParaRPr>
                </a:p>
              </p:txBody>
            </p:sp>
            <p:sp>
              <p:nvSpPr>
                <p:cNvPr id="686" name="Freeform 89"/>
                <p:cNvSpPr/>
                <p:nvPr/>
              </p:nvSpPr>
              <p:spPr>
                <a:xfrm>
                  <a:off x="2331360" y="4756320"/>
                  <a:ext cx="810360" cy="870840"/>
                </a:xfrm>
                <a:custGeom>
                  <a:avLst/>
                  <a:gdLst>
                    <a:gd name="textAreaLeft" fmla="*/ 0 w 810360"/>
                    <a:gd name="textAreaRight" fmla="*/ 810720 w 810360"/>
                    <a:gd name="textAreaTop" fmla="*/ 0 h 870840"/>
                    <a:gd name="textAreaBottom" fmla="*/ 871200 h 870840"/>
                  </a:gdLst>
                  <a:ahLst/>
                  <a:rect l="textAreaLeft" t="textAreaTop" r="textAreaRight" b="textAreaBottom"/>
                  <a:pathLst>
                    <a:path w="270767" h="290991">
                      <a:moveTo>
                        <a:pt x="202445" y="248072"/>
                      </a:moveTo>
                      <a:lnTo>
                        <a:pt x="194133" y="269109"/>
                      </a:lnTo>
                      <a:lnTo>
                        <a:pt x="197587" y="277352"/>
                      </a:lnTo>
                      <a:lnTo>
                        <a:pt x="192742" y="290991"/>
                      </a:lnTo>
                      <a:lnTo>
                        <a:pt x="175089" y="281007"/>
                      </a:lnTo>
                      <a:lnTo>
                        <a:pt x="163352" y="278141"/>
                      </a:lnTo>
                      <a:lnTo>
                        <a:pt x="131134" y="264605"/>
                      </a:lnTo>
                      <a:lnTo>
                        <a:pt x="134365" y="250880"/>
                      </a:lnTo>
                      <a:lnTo>
                        <a:pt x="161376" y="253328"/>
                      </a:lnTo>
                      <a:lnTo>
                        <a:pt x="184923" y="250411"/>
                      </a:lnTo>
                      <a:close/>
                      <a:moveTo>
                        <a:pt x="56785" y="167178"/>
                      </a:moveTo>
                      <a:lnTo>
                        <a:pt x="70634" y="186650"/>
                      </a:lnTo>
                      <a:lnTo>
                        <a:pt x="67392" y="222600"/>
                      </a:lnTo>
                      <a:lnTo>
                        <a:pt x="56896" y="220895"/>
                      </a:lnTo>
                      <a:lnTo>
                        <a:pt x="47481" y="229910"/>
                      </a:lnTo>
                      <a:lnTo>
                        <a:pt x="38741" y="222749"/>
                      </a:lnTo>
                      <a:lnTo>
                        <a:pt x="37817" y="189975"/>
                      </a:lnTo>
                      <a:lnTo>
                        <a:pt x="32548" y="174323"/>
                      </a:lnTo>
                      <a:lnTo>
                        <a:pt x="45243" y="175695"/>
                      </a:lnTo>
                      <a:close/>
                      <a:moveTo>
                        <a:pt x="124719" y="0"/>
                      </a:moveTo>
                      <a:lnTo>
                        <a:pt x="129876" y="10127"/>
                      </a:lnTo>
                      <a:lnTo>
                        <a:pt x="162884" y="17622"/>
                      </a:lnTo>
                      <a:lnTo>
                        <a:pt x="160382" y="31859"/>
                      </a:lnTo>
                      <a:lnTo>
                        <a:pt x="165911" y="44108"/>
                      </a:lnTo>
                      <a:lnTo>
                        <a:pt x="147537" y="39923"/>
                      </a:lnTo>
                      <a:lnTo>
                        <a:pt x="128770" y="50107"/>
                      </a:lnTo>
                      <a:lnTo>
                        <a:pt x="130046" y="64290"/>
                      </a:lnTo>
                      <a:lnTo>
                        <a:pt x="127220" y="72397"/>
                      </a:lnTo>
                      <a:lnTo>
                        <a:pt x="134787" y="86828"/>
                      </a:lnTo>
                      <a:lnTo>
                        <a:pt x="156431" y="101033"/>
                      </a:lnTo>
                      <a:lnTo>
                        <a:pt x="168039" y="124199"/>
                      </a:lnTo>
                      <a:lnTo>
                        <a:pt x="193725" y="146607"/>
                      </a:lnTo>
                      <a:lnTo>
                        <a:pt x="211813" y="146436"/>
                      </a:lnTo>
                      <a:lnTo>
                        <a:pt x="217438" y="152553"/>
                      </a:lnTo>
                      <a:lnTo>
                        <a:pt x="210962" y="158055"/>
                      </a:lnTo>
                      <a:lnTo>
                        <a:pt x="231636" y="168014"/>
                      </a:lnTo>
                      <a:lnTo>
                        <a:pt x="248583" y="176322"/>
                      </a:lnTo>
                      <a:lnTo>
                        <a:pt x="268377" y="190594"/>
                      </a:lnTo>
                      <a:lnTo>
                        <a:pt x="270767" y="195690"/>
                      </a:lnTo>
                      <a:lnTo>
                        <a:pt x="266454" y="205435"/>
                      </a:lnTo>
                      <a:lnTo>
                        <a:pt x="253643" y="192722"/>
                      </a:lnTo>
                      <a:lnTo>
                        <a:pt x="233589" y="188229"/>
                      </a:lnTo>
                      <a:lnTo>
                        <a:pt x="223875" y="205853"/>
                      </a:lnTo>
                      <a:lnTo>
                        <a:pt x="240557" y="215909"/>
                      </a:lnTo>
                      <a:lnTo>
                        <a:pt x="237819" y="230011"/>
                      </a:lnTo>
                      <a:lnTo>
                        <a:pt x="228176" y="231609"/>
                      </a:lnTo>
                      <a:lnTo>
                        <a:pt x="215847" y="254641"/>
                      </a:lnTo>
                      <a:lnTo>
                        <a:pt x="206224" y="256702"/>
                      </a:lnTo>
                      <a:lnTo>
                        <a:pt x="206314" y="248516"/>
                      </a:lnTo>
                      <a:lnTo>
                        <a:pt x="211023" y="234105"/>
                      </a:lnTo>
                      <a:lnTo>
                        <a:pt x="216040" y="228347"/>
                      </a:lnTo>
                      <a:lnTo>
                        <a:pt x="207026" y="212674"/>
                      </a:lnTo>
                      <a:lnTo>
                        <a:pt x="199981" y="198973"/>
                      </a:lnTo>
                      <a:lnTo>
                        <a:pt x="190399" y="195578"/>
                      </a:lnTo>
                      <a:lnTo>
                        <a:pt x="183584" y="183790"/>
                      </a:lnTo>
                      <a:lnTo>
                        <a:pt x="168751" y="178811"/>
                      </a:lnTo>
                      <a:lnTo>
                        <a:pt x="158764" y="167775"/>
                      </a:lnTo>
                      <a:lnTo>
                        <a:pt x="141685" y="165992"/>
                      </a:lnTo>
                      <a:lnTo>
                        <a:pt x="123648" y="153541"/>
                      </a:lnTo>
                      <a:lnTo>
                        <a:pt x="102532" y="135498"/>
                      </a:lnTo>
                      <a:lnTo>
                        <a:pt x="86837" y="119438"/>
                      </a:lnTo>
                      <a:lnTo>
                        <a:pt x="79637" y="91669"/>
                      </a:lnTo>
                      <a:lnTo>
                        <a:pt x="68153" y="88385"/>
                      </a:lnTo>
                      <a:lnTo>
                        <a:pt x="49374" y="79043"/>
                      </a:lnTo>
                      <a:lnTo>
                        <a:pt x="38747" y="82871"/>
                      </a:lnTo>
                      <a:lnTo>
                        <a:pt x="25410" y="95980"/>
                      </a:lnTo>
                      <a:lnTo>
                        <a:pt x="15818" y="98045"/>
                      </a:lnTo>
                      <a:lnTo>
                        <a:pt x="18458" y="85795"/>
                      </a:lnTo>
                      <a:lnTo>
                        <a:pt x="5947" y="82205"/>
                      </a:lnTo>
                      <a:lnTo>
                        <a:pt x="0" y="60207"/>
                      </a:lnTo>
                      <a:lnTo>
                        <a:pt x="8003" y="51501"/>
                      </a:lnTo>
                      <a:lnTo>
                        <a:pt x="1210" y="40731"/>
                      </a:lnTo>
                      <a:lnTo>
                        <a:pt x="2162" y="32598"/>
                      </a:lnTo>
                      <a:lnTo>
                        <a:pt x="12093" y="38765"/>
                      </a:lnTo>
                      <a:lnTo>
                        <a:pt x="23223" y="37398"/>
                      </a:lnTo>
                      <a:lnTo>
                        <a:pt x="36164" y="27621"/>
                      </a:lnTo>
                      <a:lnTo>
                        <a:pt x="40164" y="32194"/>
                      </a:lnTo>
                      <a:lnTo>
                        <a:pt x="51160" y="31278"/>
                      </a:lnTo>
                      <a:lnTo>
                        <a:pt x="56159" y="19624"/>
                      </a:lnTo>
                      <a:lnTo>
                        <a:pt x="73239" y="23250"/>
                      </a:lnTo>
                      <a:lnTo>
                        <a:pt x="83408" y="18367"/>
                      </a:lnTo>
                      <a:lnTo>
                        <a:pt x="85239" y="6463"/>
                      </a:lnTo>
                      <a:lnTo>
                        <a:pt x="99224" y="10598"/>
                      </a:lnTo>
                      <a:lnTo>
                        <a:pt x="101908" y="5065"/>
                      </a:lnTo>
                      <a:close/>
                    </a:path>
                  </a:pathLst>
                </a:custGeom>
                <a:solidFill>
                  <a:schemeClr val="accent1"/>
                </a:solidFill>
                <a:ln cap="rnd" w="9525">
                  <a:solidFill>
                    <a:srgbClr val="009fdf">
                      <a:lumMod val="60000"/>
                      <a:lumOff val="40000"/>
                    </a:srgbClr>
                  </a:solidFill>
                </a:ln>
              </p:spPr>
              <p:style>
                <a:lnRef idx="2">
                  <a:schemeClr val="accent1">
                    <a:shade val="50000"/>
                  </a:schemeClr>
                </a:lnRef>
                <a:fillRef idx="1">
                  <a:schemeClr val="accent1"/>
                </a:fillRef>
                <a:effectRef idx="0">
                  <a:schemeClr val="accent1"/>
                </a:effectRef>
                <a:fontRef idx="minor"/>
              </p:style>
              <p:txBody>
                <a:bodyPr numCol="1" spcCol="0" horzOverflow="overflow" lIns="216000" rIns="216000" tIns="216000" bIns="216000" anchor="ctr">
                  <a:noAutofit/>
                </a:bodyPr>
                <a:p>
                  <a:pPr algn="ctr" defTabSz="457200">
                    <a:lnSpc>
                      <a:spcPct val="100000"/>
                    </a:lnSpc>
                    <a:tabLst>
                      <a:tab algn="l" pos="0"/>
                    </a:tabLst>
                  </a:pPr>
                  <a:endParaRPr b="0" lang="de-DE" sz="1600" spc="-1" strike="noStrike">
                    <a:solidFill>
                      <a:srgbClr val="000000"/>
                    </a:solidFill>
                    <a:latin typeface="Arial"/>
                    <a:ea typeface="Arial"/>
                  </a:endParaRPr>
                </a:p>
              </p:txBody>
            </p:sp>
            <p:sp>
              <p:nvSpPr>
                <p:cNvPr id="687" name="Freeform 97"/>
                <p:cNvSpPr/>
                <p:nvPr/>
              </p:nvSpPr>
              <p:spPr>
                <a:xfrm>
                  <a:off x="3251880" y="5085360"/>
                  <a:ext cx="117360" cy="118440"/>
                </a:xfrm>
                <a:custGeom>
                  <a:avLst/>
                  <a:gdLst/>
                  <a:ahLst/>
                  <a:rect l="l" t="t" r="r" b="b"/>
                  <a:pathLst>
                    <a:path w="39342" h="39699">
                      <a:moveTo>
                        <a:pt x="15960" y="34026"/>
                      </a:moveTo>
                      <a:lnTo>
                        <a:pt x="14925" y="39698"/>
                      </a:lnTo>
                      <a:lnTo>
                        <a:pt x="11992" y="39468"/>
                      </a:lnTo>
                      <a:lnTo>
                        <a:pt x="10439" y="29420"/>
                      </a:lnTo>
                      <a:lnTo>
                        <a:pt x="4917" y="26576"/>
                      </a:lnTo>
                      <a:lnTo>
                        <a:pt x="0" y="19106"/>
                      </a:lnTo>
                      <a:lnTo>
                        <a:pt x="4314" y="12854"/>
                      </a:lnTo>
                      <a:lnTo>
                        <a:pt x="9835" y="10845"/>
                      </a:lnTo>
                      <a:lnTo>
                        <a:pt x="13027" y="1552"/>
                      </a:lnTo>
                      <a:lnTo>
                        <a:pt x="17168" y="0"/>
                      </a:lnTo>
                      <a:lnTo>
                        <a:pt x="20447" y="3955"/>
                      </a:lnTo>
                      <a:lnTo>
                        <a:pt x="24761" y="5699"/>
                      </a:lnTo>
                      <a:lnTo>
                        <a:pt x="27780" y="10149"/>
                      </a:lnTo>
                      <a:lnTo>
                        <a:pt x="31576" y="11463"/>
                      </a:lnTo>
                      <a:lnTo>
                        <a:pt x="36062" y="16638"/>
                      </a:lnTo>
                      <a:lnTo>
                        <a:pt x="39341" y="16484"/>
                      </a:lnTo>
                      <a:lnTo>
                        <a:pt x="36753" y="23267"/>
                      </a:lnTo>
                      <a:lnTo>
                        <a:pt x="33992" y="26576"/>
                      </a:lnTo>
                      <a:lnTo>
                        <a:pt x="34761" y="28660"/>
                      </a:lnTo>
                      <a:lnTo>
                        <a:pt x="29592" y="29727"/>
                      </a:lnTo>
                      <a:close/>
                    </a:path>
                  </a:pathLst>
                </a:custGeom>
                <a:solidFill>
                  <a:schemeClr val="accent1">
                    <a:lumMod val="20000"/>
                    <a:lumOff val="80000"/>
                  </a:schemeClr>
                </a:solidFill>
                <a:ln cap="rnd" w="9525">
                  <a:solidFill>
                    <a:srgbClr val="009fdf">
                      <a:lumMod val="60000"/>
                      <a:lumOff val="40000"/>
                    </a:srgbClr>
                  </a:solidFill>
                </a:ln>
              </p:spPr>
              <p:style>
                <a:lnRef idx="2">
                  <a:schemeClr val="accent1">
                    <a:shade val="50000"/>
                  </a:schemeClr>
                </a:lnRef>
                <a:fillRef idx="1">
                  <a:schemeClr val="accent1"/>
                </a:fillRef>
                <a:effectRef idx="0">
                  <a:schemeClr val="accent1"/>
                </a:effectRef>
                <a:fontRef idx="minor"/>
              </p:style>
              <p:txBody>
                <a:bodyPr numCol="1" spcCol="0" horzOverflow="overflow" lIns="216000" rIns="216000" tIns="59040" bIns="59040" anchor="ctr">
                  <a:noAutofit/>
                </a:bodyPr>
                <a:p>
                  <a:pPr algn="ctr" defTabSz="457200">
                    <a:lnSpc>
                      <a:spcPct val="100000"/>
                    </a:lnSpc>
                    <a:tabLst>
                      <a:tab algn="l" pos="0"/>
                    </a:tabLst>
                  </a:pPr>
                  <a:endParaRPr b="0" lang="de-DE" sz="1600" spc="-1" strike="noStrike">
                    <a:solidFill>
                      <a:srgbClr val="000000"/>
                    </a:solidFill>
                    <a:latin typeface="Arial"/>
                    <a:ea typeface="Arial"/>
                  </a:endParaRPr>
                </a:p>
              </p:txBody>
            </p:sp>
            <p:sp>
              <p:nvSpPr>
                <p:cNvPr id="688" name="Freihandform: Form 264"/>
                <p:cNvSpPr/>
                <p:nvPr/>
              </p:nvSpPr>
              <p:spPr>
                <a:xfrm>
                  <a:off x="2520000" y="5900040"/>
                  <a:ext cx="931680" cy="353160"/>
                </a:xfrm>
                <a:custGeom>
                  <a:avLst/>
                  <a:gdLst>
                    <a:gd name="textAreaLeft" fmla="*/ 0 w 931680"/>
                    <a:gd name="textAreaRight" fmla="*/ 932040 w 931680"/>
                    <a:gd name="textAreaTop" fmla="*/ 0 h 353160"/>
                    <a:gd name="textAreaBottom" fmla="*/ 353520 h 353160"/>
                  </a:gdLst>
                  <a:ahLst/>
                  <a:rect l="textAreaLeft" t="textAreaTop" r="textAreaRight" b="textAreaBottom"/>
                  <a:pathLst>
                    <a:path w="310696" h="117801">
                      <a:moveTo>
                        <a:pt x="277843" y="7556"/>
                      </a:moveTo>
                      <a:lnTo>
                        <a:pt x="309007" y="12809"/>
                      </a:lnTo>
                      <a:lnTo>
                        <a:pt x="310696" y="15271"/>
                      </a:lnTo>
                      <a:lnTo>
                        <a:pt x="242748" y="52152"/>
                      </a:lnTo>
                      <a:lnTo>
                        <a:pt x="238159" y="35492"/>
                      </a:lnTo>
                      <a:lnTo>
                        <a:pt x="245384" y="23066"/>
                      </a:lnTo>
                      <a:lnTo>
                        <a:pt x="261984" y="11058"/>
                      </a:lnTo>
                      <a:close/>
                      <a:moveTo>
                        <a:pt x="46226" y="0"/>
                      </a:moveTo>
                      <a:lnTo>
                        <a:pt x="73284" y="8851"/>
                      </a:lnTo>
                      <a:lnTo>
                        <a:pt x="82958" y="6640"/>
                      </a:lnTo>
                      <a:lnTo>
                        <a:pt x="102204" y="10925"/>
                      </a:lnTo>
                      <a:lnTo>
                        <a:pt x="132772" y="22379"/>
                      </a:lnTo>
                      <a:lnTo>
                        <a:pt x="143560" y="45057"/>
                      </a:lnTo>
                      <a:lnTo>
                        <a:pt x="164240" y="49991"/>
                      </a:lnTo>
                      <a:lnTo>
                        <a:pt x="196711" y="60612"/>
                      </a:lnTo>
                      <a:lnTo>
                        <a:pt x="212373" y="68639"/>
                      </a:lnTo>
                      <a:lnTo>
                        <a:pt x="205676" y="72274"/>
                      </a:lnTo>
                      <a:cubicBezTo>
                        <a:pt x="167006" y="88630"/>
                        <a:pt x="126413" y="101330"/>
                        <a:pt x="84331" y="109942"/>
                      </a:cubicBezTo>
                      <a:lnTo>
                        <a:pt x="6367" y="117801"/>
                      </a:lnTo>
                      <a:lnTo>
                        <a:pt x="8704" y="106055"/>
                      </a:lnTo>
                      <a:lnTo>
                        <a:pt x="7452" y="94396"/>
                      </a:lnTo>
                      <a:lnTo>
                        <a:pt x="0" y="72150"/>
                      </a:lnTo>
                      <a:lnTo>
                        <a:pt x="11238" y="66290"/>
                      </a:lnTo>
                      <a:lnTo>
                        <a:pt x="13232" y="55585"/>
                      </a:lnTo>
                      <a:lnTo>
                        <a:pt x="10782" y="45061"/>
                      </a:lnTo>
                      <a:lnTo>
                        <a:pt x="26602" y="35246"/>
                      </a:lnTo>
                      <a:lnTo>
                        <a:pt x="33695" y="27065"/>
                      </a:lnTo>
                      <a:lnTo>
                        <a:pt x="44924" y="19721"/>
                      </a:lnTo>
                      <a:close/>
                    </a:path>
                  </a:pathLst>
                </a:custGeom>
                <a:solidFill>
                  <a:schemeClr val="accent1">
                    <a:lumMod val="20000"/>
                    <a:lumOff val="80000"/>
                  </a:schemeClr>
                </a:solidFill>
                <a:ln cap="rnd" w="9525">
                  <a:solidFill>
                    <a:srgbClr val="009fdf">
                      <a:lumMod val="60000"/>
                      <a:lumOff val="40000"/>
                    </a:srgbClr>
                  </a:solidFill>
                </a:ln>
              </p:spPr>
              <p:style>
                <a:lnRef idx="2">
                  <a:schemeClr val="accent1">
                    <a:shade val="50000"/>
                  </a:schemeClr>
                </a:lnRef>
                <a:fillRef idx="1">
                  <a:schemeClr val="accent1"/>
                </a:fillRef>
                <a:effectRef idx="0">
                  <a:schemeClr val="accent1"/>
                </a:effectRef>
                <a:fontRef idx="minor"/>
              </p:style>
              <p:txBody>
                <a:bodyPr numCol="1" spcCol="0" horzOverflow="overflow" lIns="216000" rIns="216000" tIns="176760" bIns="176760" anchor="ctr">
                  <a:noAutofit/>
                </a:bodyPr>
                <a:p>
                  <a:pPr algn="ctr" defTabSz="457200">
                    <a:lnSpc>
                      <a:spcPct val="100000"/>
                    </a:lnSpc>
                    <a:tabLst>
                      <a:tab algn="l" pos="0"/>
                    </a:tabLst>
                  </a:pPr>
                  <a:endParaRPr b="0" lang="de-DE" sz="1600" spc="-1" strike="noStrike">
                    <a:solidFill>
                      <a:srgbClr val="000000"/>
                    </a:solidFill>
                    <a:latin typeface="Arial"/>
                    <a:ea typeface="Arial"/>
                  </a:endParaRPr>
                </a:p>
              </p:txBody>
            </p:sp>
            <p:sp>
              <p:nvSpPr>
                <p:cNvPr id="689" name="Freeform 105"/>
                <p:cNvSpPr/>
                <p:nvPr/>
              </p:nvSpPr>
              <p:spPr>
                <a:xfrm>
                  <a:off x="3319920" y="3902040"/>
                  <a:ext cx="381960" cy="237240"/>
                </a:xfrm>
                <a:custGeom>
                  <a:avLst/>
                  <a:gdLst/>
                  <a:ahLst/>
                  <a:rect l="l" t="t" r="r" b="b"/>
                  <a:pathLst>
                    <a:path w="127705" h="79318">
                      <a:moveTo>
                        <a:pt x="38670" y="65939"/>
                      </a:moveTo>
                      <a:lnTo>
                        <a:pt x="36822" y="57810"/>
                      </a:lnTo>
                      <a:lnTo>
                        <a:pt x="39286" y="49055"/>
                      </a:lnTo>
                      <a:lnTo>
                        <a:pt x="29082" y="43967"/>
                      </a:lnTo>
                      <a:lnTo>
                        <a:pt x="4908" y="38337"/>
                      </a:lnTo>
                      <a:lnTo>
                        <a:pt x="0" y="11139"/>
                      </a:lnTo>
                      <a:lnTo>
                        <a:pt x="26438" y="1135"/>
                      </a:lnTo>
                      <a:lnTo>
                        <a:pt x="65150" y="3230"/>
                      </a:lnTo>
                      <a:lnTo>
                        <a:pt x="87827" y="0"/>
                      </a:lnTo>
                      <a:lnTo>
                        <a:pt x="91064" y="6791"/>
                      </a:lnTo>
                      <a:lnTo>
                        <a:pt x="103347" y="8885"/>
                      </a:lnTo>
                      <a:lnTo>
                        <a:pt x="125535" y="24637"/>
                      </a:lnTo>
                      <a:lnTo>
                        <a:pt x="127704" y="39087"/>
                      </a:lnTo>
                      <a:lnTo>
                        <a:pt x="108780" y="49363"/>
                      </a:lnTo>
                      <a:lnTo>
                        <a:pt x="103423" y="67374"/>
                      </a:lnTo>
                      <a:lnTo>
                        <a:pt x="78363" y="79317"/>
                      </a:lnTo>
                      <a:lnTo>
                        <a:pt x="56052" y="79102"/>
                      </a:lnTo>
                      <a:lnTo>
                        <a:pt x="50509" y="69339"/>
                      </a:lnTo>
                      <a:close/>
                    </a:path>
                  </a:pathLst>
                </a:custGeom>
                <a:solidFill>
                  <a:schemeClr val="accent1"/>
                </a:solidFill>
                <a:ln cap="rnd" w="9525">
                  <a:solidFill>
                    <a:srgbClr val="009fdf">
                      <a:lumMod val="60000"/>
                      <a:lumOff val="40000"/>
                    </a:srgbClr>
                  </a:solidFill>
                </a:ln>
              </p:spPr>
              <p:style>
                <a:lnRef idx="2">
                  <a:schemeClr val="accent1">
                    <a:shade val="50000"/>
                  </a:schemeClr>
                </a:lnRef>
                <a:fillRef idx="1">
                  <a:schemeClr val="accent1"/>
                </a:fillRef>
                <a:effectRef idx="0">
                  <a:schemeClr val="accent1"/>
                </a:effectRef>
                <a:fontRef idx="minor"/>
              </p:style>
              <p:txBody>
                <a:bodyPr numCol="1" spcCol="0" horzOverflow="overflow" lIns="216000" rIns="216000" tIns="118440" bIns="118440" anchor="ctr">
                  <a:noAutofit/>
                </a:bodyPr>
                <a:p>
                  <a:pPr algn="ctr" defTabSz="457200">
                    <a:lnSpc>
                      <a:spcPct val="100000"/>
                    </a:lnSpc>
                    <a:tabLst>
                      <a:tab algn="l" pos="0"/>
                    </a:tabLst>
                  </a:pPr>
                  <a:endParaRPr b="0" lang="de-DE" sz="1600" spc="-1" strike="noStrike">
                    <a:solidFill>
                      <a:srgbClr val="000000"/>
                    </a:solidFill>
                    <a:latin typeface="Arial"/>
                    <a:ea typeface="Arial"/>
                  </a:endParaRPr>
                </a:p>
              </p:txBody>
            </p:sp>
            <p:sp>
              <p:nvSpPr>
                <p:cNvPr id="690" name="Freeform 106"/>
                <p:cNvSpPr/>
                <p:nvPr/>
              </p:nvSpPr>
              <p:spPr>
                <a:xfrm>
                  <a:off x="2256840" y="4488840"/>
                  <a:ext cx="38880" cy="61200"/>
                </a:xfrm>
                <a:custGeom>
                  <a:avLst/>
                  <a:gdLst/>
                  <a:ahLst/>
                  <a:rect l="l" t="t" r="r" b="b"/>
                  <a:pathLst>
                    <a:path w="13128" h="20602">
                      <a:moveTo>
                        <a:pt x="8518" y="0"/>
                      </a:moveTo>
                      <a:lnTo>
                        <a:pt x="13127" y="6806"/>
                      </a:lnTo>
                      <a:lnTo>
                        <a:pt x="11824" y="19968"/>
                      </a:lnTo>
                      <a:lnTo>
                        <a:pt x="5163" y="20601"/>
                      </a:lnTo>
                      <a:lnTo>
                        <a:pt x="0" y="18001"/>
                      </a:lnTo>
                      <a:lnTo>
                        <a:pt x="2501" y="1138"/>
                      </a:lnTo>
                      <a:close/>
                    </a:path>
                  </a:pathLst>
                </a:custGeom>
                <a:solidFill>
                  <a:schemeClr val="accent1"/>
                </a:solidFill>
                <a:ln cap="rnd" w="9525">
                  <a:solidFill>
                    <a:srgbClr val="009fdf">
                      <a:lumMod val="60000"/>
                      <a:lumOff val="40000"/>
                    </a:srgbClr>
                  </a:solidFill>
                </a:ln>
              </p:spPr>
              <p:style>
                <a:lnRef idx="2">
                  <a:schemeClr val="accent1">
                    <a:shade val="50000"/>
                  </a:schemeClr>
                </a:lnRef>
                <a:fillRef idx="1">
                  <a:schemeClr val="accent1"/>
                </a:fillRef>
                <a:effectRef idx="0">
                  <a:schemeClr val="accent1"/>
                </a:effectRef>
                <a:fontRef idx="minor"/>
              </p:style>
              <p:txBody>
                <a:bodyPr numCol="1" spcCol="0" horzOverflow="overflow" lIns="216000" rIns="216000" tIns="30600" bIns="30600" anchor="ctr">
                  <a:noAutofit/>
                </a:bodyPr>
                <a:p>
                  <a:pPr algn="ctr" defTabSz="457200">
                    <a:lnSpc>
                      <a:spcPct val="100000"/>
                    </a:lnSpc>
                    <a:tabLst>
                      <a:tab algn="l" pos="0"/>
                    </a:tabLst>
                  </a:pPr>
                  <a:endParaRPr b="0" lang="de-DE" sz="1600" spc="-1" strike="noStrike">
                    <a:solidFill>
                      <a:srgbClr val="000000"/>
                    </a:solidFill>
                    <a:latin typeface="Arial"/>
                    <a:ea typeface="Arial"/>
                  </a:endParaRPr>
                </a:p>
              </p:txBody>
            </p:sp>
            <p:sp>
              <p:nvSpPr>
                <p:cNvPr id="691" name="Freeform 107"/>
                <p:cNvSpPr/>
                <p:nvPr/>
              </p:nvSpPr>
              <p:spPr>
                <a:xfrm>
                  <a:off x="3319920" y="3743640"/>
                  <a:ext cx="491760" cy="231480"/>
                </a:xfrm>
                <a:custGeom>
                  <a:avLst/>
                  <a:gdLst/>
                  <a:ahLst/>
                  <a:rect l="l" t="t" r="r" b="b"/>
                  <a:pathLst>
                    <a:path w="164370" h="77479">
                      <a:moveTo>
                        <a:pt x="0" y="63980"/>
                      </a:moveTo>
                      <a:lnTo>
                        <a:pt x="799" y="39351"/>
                      </a:lnTo>
                      <a:lnTo>
                        <a:pt x="12143" y="18603"/>
                      </a:lnTo>
                      <a:lnTo>
                        <a:pt x="33898" y="7242"/>
                      </a:lnTo>
                      <a:lnTo>
                        <a:pt x="52228" y="32026"/>
                      </a:lnTo>
                      <a:lnTo>
                        <a:pt x="70747" y="31384"/>
                      </a:lnTo>
                      <a:lnTo>
                        <a:pt x="75181" y="5906"/>
                      </a:lnTo>
                      <a:lnTo>
                        <a:pt x="94842" y="0"/>
                      </a:lnTo>
                      <a:lnTo>
                        <a:pt x="104957" y="4100"/>
                      </a:lnTo>
                      <a:lnTo>
                        <a:pt x="124825" y="16461"/>
                      </a:lnTo>
                      <a:lnTo>
                        <a:pt x="143860" y="16523"/>
                      </a:lnTo>
                      <a:lnTo>
                        <a:pt x="154982" y="24159"/>
                      </a:lnTo>
                      <a:lnTo>
                        <a:pt x="156950" y="40158"/>
                      </a:lnTo>
                      <a:lnTo>
                        <a:pt x="164369" y="59482"/>
                      </a:lnTo>
                      <a:lnTo>
                        <a:pt x="139573" y="72029"/>
                      </a:lnTo>
                      <a:lnTo>
                        <a:pt x="125535" y="77478"/>
                      </a:lnTo>
                      <a:lnTo>
                        <a:pt x="103347" y="61726"/>
                      </a:lnTo>
                      <a:lnTo>
                        <a:pt x="91064" y="59632"/>
                      </a:lnTo>
                      <a:lnTo>
                        <a:pt x="87827" y="52841"/>
                      </a:lnTo>
                      <a:lnTo>
                        <a:pt x="65150" y="56071"/>
                      </a:lnTo>
                      <a:lnTo>
                        <a:pt x="26438" y="53976"/>
                      </a:lnTo>
                      <a:close/>
                    </a:path>
                  </a:pathLst>
                </a:custGeom>
                <a:solidFill>
                  <a:schemeClr val="accent1"/>
                </a:solidFill>
                <a:ln cap="rnd" w="9525">
                  <a:solidFill>
                    <a:srgbClr val="009fdf">
                      <a:lumMod val="60000"/>
                      <a:lumOff val="40000"/>
                    </a:srgbClr>
                  </a:solidFill>
                </a:ln>
              </p:spPr>
              <p:style>
                <a:lnRef idx="2">
                  <a:schemeClr val="accent1">
                    <a:shade val="50000"/>
                  </a:schemeClr>
                </a:lnRef>
                <a:fillRef idx="1">
                  <a:schemeClr val="accent1"/>
                </a:fillRef>
                <a:effectRef idx="0">
                  <a:schemeClr val="accent1"/>
                </a:effectRef>
                <a:fontRef idx="minor"/>
              </p:style>
              <p:txBody>
                <a:bodyPr numCol="1" spcCol="0" horzOverflow="overflow" lIns="216000" rIns="216000" tIns="115560" bIns="115560" anchor="ctr">
                  <a:noAutofit/>
                </a:bodyPr>
                <a:p>
                  <a:pPr algn="ctr" defTabSz="457200">
                    <a:lnSpc>
                      <a:spcPct val="100000"/>
                    </a:lnSpc>
                    <a:tabLst>
                      <a:tab algn="l" pos="0"/>
                    </a:tabLst>
                  </a:pPr>
                  <a:endParaRPr b="0" lang="de-DE" sz="1600" spc="-1" strike="noStrike">
                    <a:solidFill>
                      <a:srgbClr val="000000"/>
                    </a:solidFill>
                    <a:latin typeface="Arial"/>
                    <a:ea typeface="Arial"/>
                  </a:endParaRPr>
                </a:p>
              </p:txBody>
            </p:sp>
            <p:sp>
              <p:nvSpPr>
                <p:cNvPr id="692" name="Freihandform: Form 268"/>
                <p:cNvSpPr/>
                <p:nvPr/>
              </p:nvSpPr>
              <p:spPr>
                <a:xfrm>
                  <a:off x="1256400" y="5695560"/>
                  <a:ext cx="530280" cy="390240"/>
                </a:xfrm>
                <a:custGeom>
                  <a:avLst/>
                  <a:gdLst>
                    <a:gd name="textAreaLeft" fmla="*/ 0 w 530280"/>
                    <a:gd name="textAreaRight" fmla="*/ 530640 w 530280"/>
                    <a:gd name="textAreaTop" fmla="*/ 0 h 390240"/>
                    <a:gd name="textAreaBottom" fmla="*/ 390600 h 390240"/>
                  </a:gdLst>
                  <a:ahLst/>
                  <a:rect l="textAreaLeft" t="textAreaTop" r="textAreaRight" b="textAreaBottom"/>
                  <a:pathLst>
                    <a:path w="176876" h="130217">
                      <a:moveTo>
                        <a:pt x="66175" y="0"/>
                      </a:moveTo>
                      <a:lnTo>
                        <a:pt x="83132" y="127"/>
                      </a:lnTo>
                      <a:lnTo>
                        <a:pt x="97020" y="11247"/>
                      </a:lnTo>
                      <a:lnTo>
                        <a:pt x="118927" y="9437"/>
                      </a:lnTo>
                      <a:lnTo>
                        <a:pt x="142787" y="15210"/>
                      </a:lnTo>
                      <a:lnTo>
                        <a:pt x="152794" y="15489"/>
                      </a:lnTo>
                      <a:lnTo>
                        <a:pt x="161478" y="32181"/>
                      </a:lnTo>
                      <a:lnTo>
                        <a:pt x="162849" y="47960"/>
                      </a:lnTo>
                      <a:lnTo>
                        <a:pt x="170806" y="75187"/>
                      </a:lnTo>
                      <a:lnTo>
                        <a:pt x="176876" y="80642"/>
                      </a:lnTo>
                      <a:lnTo>
                        <a:pt x="172653" y="90600"/>
                      </a:lnTo>
                      <a:lnTo>
                        <a:pt x="142504" y="94911"/>
                      </a:lnTo>
                      <a:lnTo>
                        <a:pt x="132082" y="104352"/>
                      </a:lnTo>
                      <a:lnTo>
                        <a:pt x="118755" y="106575"/>
                      </a:lnTo>
                      <a:lnTo>
                        <a:pt x="117766" y="125396"/>
                      </a:lnTo>
                      <a:lnTo>
                        <a:pt x="104811" y="130217"/>
                      </a:lnTo>
                      <a:lnTo>
                        <a:pt x="13836" y="80837"/>
                      </a:lnTo>
                      <a:lnTo>
                        <a:pt x="0" y="69422"/>
                      </a:lnTo>
                      <a:lnTo>
                        <a:pt x="3342" y="65507"/>
                      </a:lnTo>
                      <a:lnTo>
                        <a:pt x="26454" y="53719"/>
                      </a:lnTo>
                      <a:lnTo>
                        <a:pt x="43540" y="43019"/>
                      </a:lnTo>
                      <a:lnTo>
                        <a:pt x="58932" y="16078"/>
                      </a:lnTo>
                      <a:close/>
                    </a:path>
                  </a:pathLst>
                </a:custGeom>
                <a:solidFill>
                  <a:schemeClr val="accent1">
                    <a:lumMod val="20000"/>
                    <a:lumOff val="80000"/>
                  </a:schemeClr>
                </a:solidFill>
                <a:ln cap="rnd" w="9525">
                  <a:solidFill>
                    <a:srgbClr val="009fdf">
                      <a:lumMod val="60000"/>
                      <a:lumOff val="40000"/>
                    </a:srgbClr>
                  </a:solidFill>
                </a:ln>
              </p:spPr>
              <p:style>
                <a:lnRef idx="2">
                  <a:schemeClr val="accent1">
                    <a:shade val="50000"/>
                  </a:schemeClr>
                </a:lnRef>
                <a:fillRef idx="1">
                  <a:schemeClr val="accent1"/>
                </a:fillRef>
                <a:effectRef idx="0">
                  <a:schemeClr val="accent1"/>
                </a:effectRef>
                <a:fontRef idx="minor"/>
              </p:style>
              <p:txBody>
                <a:bodyPr numCol="1" spcCol="0" horzOverflow="overflow" lIns="216000" rIns="216000" tIns="195120" bIns="195120" anchor="ctr">
                  <a:noAutofit/>
                </a:bodyPr>
                <a:p>
                  <a:pPr algn="ctr" defTabSz="457200">
                    <a:lnSpc>
                      <a:spcPct val="100000"/>
                    </a:lnSpc>
                    <a:tabLst>
                      <a:tab algn="l" pos="0"/>
                    </a:tabLst>
                  </a:pPr>
                  <a:endParaRPr b="0" lang="de-DE" sz="1600" spc="-1" strike="noStrike">
                    <a:solidFill>
                      <a:srgbClr val="000000"/>
                    </a:solidFill>
                    <a:latin typeface="Arial"/>
                    <a:ea typeface="Arial"/>
                  </a:endParaRPr>
                </a:p>
              </p:txBody>
            </p:sp>
            <p:sp>
              <p:nvSpPr>
                <p:cNvPr id="693" name="Freeform 109"/>
                <p:cNvSpPr/>
                <p:nvPr/>
              </p:nvSpPr>
              <p:spPr>
                <a:xfrm>
                  <a:off x="3704400" y="4637520"/>
                  <a:ext cx="235080" cy="259560"/>
                </a:xfrm>
                <a:custGeom>
                  <a:avLst/>
                  <a:gdLst/>
                  <a:ahLst/>
                  <a:rect l="l" t="t" r="r" b="b"/>
                  <a:pathLst>
                    <a:path w="78605" h="86780">
                      <a:moveTo>
                        <a:pt x="0" y="7285"/>
                      </a:moveTo>
                      <a:lnTo>
                        <a:pt x="5505" y="2927"/>
                      </a:lnTo>
                      <a:lnTo>
                        <a:pt x="20848" y="0"/>
                      </a:lnTo>
                      <a:lnTo>
                        <a:pt x="37860" y="9209"/>
                      </a:lnTo>
                      <a:lnTo>
                        <a:pt x="47355" y="10312"/>
                      </a:lnTo>
                      <a:lnTo>
                        <a:pt x="57784" y="18236"/>
                      </a:lnTo>
                      <a:lnTo>
                        <a:pt x="56126" y="28181"/>
                      </a:lnTo>
                      <a:lnTo>
                        <a:pt x="64534" y="32969"/>
                      </a:lnTo>
                      <a:lnTo>
                        <a:pt x="67871" y="45167"/>
                      </a:lnTo>
                      <a:lnTo>
                        <a:pt x="75931" y="52558"/>
                      </a:lnTo>
                      <a:lnTo>
                        <a:pt x="74300" y="56881"/>
                      </a:lnTo>
                      <a:lnTo>
                        <a:pt x="78604" y="59819"/>
                      </a:lnTo>
                      <a:lnTo>
                        <a:pt x="72494" y="61959"/>
                      </a:lnTo>
                      <a:lnTo>
                        <a:pt x="58891" y="61112"/>
                      </a:lnTo>
                      <a:lnTo>
                        <a:pt x="56616" y="57103"/>
                      </a:lnTo>
                      <a:lnTo>
                        <a:pt x="51789" y="59415"/>
                      </a:lnTo>
                      <a:lnTo>
                        <a:pt x="53422" y="64596"/>
                      </a:lnTo>
                      <a:lnTo>
                        <a:pt x="47104" y="73796"/>
                      </a:lnTo>
                      <a:lnTo>
                        <a:pt x="43071" y="83662"/>
                      </a:lnTo>
                      <a:lnTo>
                        <a:pt x="37260" y="86779"/>
                      </a:lnTo>
                      <a:lnTo>
                        <a:pt x="33126" y="73664"/>
                      </a:lnTo>
                      <a:lnTo>
                        <a:pt x="35563" y="61335"/>
                      </a:lnTo>
                      <a:lnTo>
                        <a:pt x="34825" y="48603"/>
                      </a:lnTo>
                      <a:lnTo>
                        <a:pt x="21509" y="31259"/>
                      </a:lnTo>
                      <a:lnTo>
                        <a:pt x="14185" y="18892"/>
                      </a:lnTo>
                      <a:lnTo>
                        <a:pt x="7036" y="10161"/>
                      </a:lnTo>
                      <a:close/>
                    </a:path>
                  </a:pathLst>
                </a:custGeom>
                <a:solidFill>
                  <a:schemeClr val="accent1"/>
                </a:solidFill>
                <a:ln cap="rnd" w="9525">
                  <a:solidFill>
                    <a:srgbClr val="009fdf">
                      <a:lumMod val="60000"/>
                      <a:lumOff val="40000"/>
                    </a:srgbClr>
                  </a:solidFill>
                </a:ln>
              </p:spPr>
              <p:style>
                <a:lnRef idx="2">
                  <a:schemeClr val="accent1">
                    <a:shade val="50000"/>
                  </a:schemeClr>
                </a:lnRef>
                <a:fillRef idx="1">
                  <a:schemeClr val="accent1"/>
                </a:fillRef>
                <a:effectRef idx="0">
                  <a:schemeClr val="accent1"/>
                </a:effectRef>
                <a:fontRef idx="minor"/>
              </p:style>
              <p:txBody>
                <a:bodyPr numCol="1" spcCol="0" horzOverflow="overflow" lIns="216000" rIns="216000" tIns="129600" bIns="129600" anchor="ctr">
                  <a:noAutofit/>
                </a:bodyPr>
                <a:p>
                  <a:pPr algn="ctr" defTabSz="457200">
                    <a:lnSpc>
                      <a:spcPct val="100000"/>
                    </a:lnSpc>
                    <a:tabLst>
                      <a:tab algn="l" pos="0"/>
                    </a:tabLst>
                  </a:pPr>
                  <a:endParaRPr b="0" lang="de-DE" sz="1600" spc="-1" strike="noStrike">
                    <a:solidFill>
                      <a:srgbClr val="000000"/>
                    </a:solidFill>
                    <a:latin typeface="Arial"/>
                    <a:ea typeface="Arial"/>
                  </a:endParaRPr>
                </a:p>
              </p:txBody>
            </p:sp>
            <p:sp>
              <p:nvSpPr>
                <p:cNvPr id="694" name="Freeform 111"/>
                <p:cNvSpPr/>
                <p:nvPr/>
              </p:nvSpPr>
              <p:spPr>
                <a:xfrm>
                  <a:off x="3278880" y="5164920"/>
                  <a:ext cx="171720" cy="121680"/>
                </a:xfrm>
                <a:custGeom>
                  <a:avLst/>
                  <a:gdLst/>
                  <a:ahLst/>
                  <a:rect l="l" t="t" r="r" b="b"/>
                  <a:pathLst>
                    <a:path w="57459" h="40792">
                      <a:moveTo>
                        <a:pt x="2933" y="12893"/>
                      </a:moveTo>
                      <a:lnTo>
                        <a:pt x="5866" y="13123"/>
                      </a:lnTo>
                      <a:lnTo>
                        <a:pt x="6901" y="7451"/>
                      </a:lnTo>
                      <a:lnTo>
                        <a:pt x="20533" y="3152"/>
                      </a:lnTo>
                      <a:lnTo>
                        <a:pt x="25702" y="2085"/>
                      </a:lnTo>
                      <a:lnTo>
                        <a:pt x="33560" y="462"/>
                      </a:lnTo>
                      <a:lnTo>
                        <a:pt x="44258" y="0"/>
                      </a:lnTo>
                      <a:lnTo>
                        <a:pt x="55819" y="8909"/>
                      </a:lnTo>
                      <a:lnTo>
                        <a:pt x="57458" y="27179"/>
                      </a:lnTo>
                      <a:lnTo>
                        <a:pt x="53058" y="28094"/>
                      </a:lnTo>
                      <a:lnTo>
                        <a:pt x="49262" y="32890"/>
                      </a:lnTo>
                      <a:lnTo>
                        <a:pt x="36753" y="32357"/>
                      </a:lnTo>
                      <a:lnTo>
                        <a:pt x="27953" y="38362"/>
                      </a:lnTo>
                      <a:lnTo>
                        <a:pt x="12854" y="40791"/>
                      </a:lnTo>
                      <a:lnTo>
                        <a:pt x="3278" y="34106"/>
                      </a:lnTo>
                      <a:lnTo>
                        <a:pt x="0" y="22297"/>
                      </a:lnTo>
                      <a:close/>
                    </a:path>
                  </a:pathLst>
                </a:custGeom>
                <a:solidFill>
                  <a:schemeClr val="accent1"/>
                </a:solidFill>
                <a:ln cap="rnd" w="9525">
                  <a:solidFill>
                    <a:srgbClr val="009fdf">
                      <a:lumMod val="60000"/>
                      <a:lumOff val="40000"/>
                    </a:srgbClr>
                  </a:solidFill>
                </a:ln>
              </p:spPr>
              <p:style>
                <a:lnRef idx="2">
                  <a:schemeClr val="accent1">
                    <a:shade val="50000"/>
                  </a:schemeClr>
                </a:lnRef>
                <a:fillRef idx="1">
                  <a:schemeClr val="accent1"/>
                </a:fillRef>
                <a:effectRef idx="0">
                  <a:schemeClr val="accent1"/>
                </a:effectRef>
                <a:fontRef idx="minor"/>
              </p:style>
              <p:txBody>
                <a:bodyPr numCol="1" spcCol="0" horzOverflow="overflow" lIns="216000" rIns="216000" tIns="60840" bIns="60840" anchor="ctr">
                  <a:noAutofit/>
                </a:bodyPr>
                <a:p>
                  <a:pPr algn="ctr" defTabSz="457200">
                    <a:lnSpc>
                      <a:spcPct val="100000"/>
                    </a:lnSpc>
                    <a:tabLst>
                      <a:tab algn="l" pos="0"/>
                    </a:tabLst>
                  </a:pPr>
                  <a:endParaRPr b="0" lang="de-DE" sz="1600" spc="-1" strike="noStrike">
                    <a:solidFill>
                      <a:srgbClr val="000000"/>
                    </a:solidFill>
                    <a:latin typeface="Arial"/>
                    <a:ea typeface="Arial"/>
                  </a:endParaRPr>
                </a:p>
              </p:txBody>
            </p:sp>
            <p:sp>
              <p:nvSpPr>
                <p:cNvPr id="695" name="Freeform 114"/>
                <p:cNvSpPr/>
                <p:nvPr/>
              </p:nvSpPr>
              <p:spPr>
                <a:xfrm>
                  <a:off x="3139920" y="5064120"/>
                  <a:ext cx="130320" cy="137160"/>
                </a:xfrm>
                <a:custGeom>
                  <a:avLst/>
                  <a:gdLst/>
                  <a:ahLst/>
                  <a:rect l="l" t="t" r="r" b="b"/>
                  <a:pathLst>
                    <a:path w="43622" h="45928">
                      <a:moveTo>
                        <a:pt x="31199" y="28644"/>
                      </a:moveTo>
                      <a:lnTo>
                        <a:pt x="29732" y="23400"/>
                      </a:lnTo>
                      <a:lnTo>
                        <a:pt x="19724" y="37106"/>
                      </a:lnTo>
                      <a:lnTo>
                        <a:pt x="21277" y="45927"/>
                      </a:lnTo>
                      <a:lnTo>
                        <a:pt x="16445" y="43781"/>
                      </a:lnTo>
                      <a:lnTo>
                        <a:pt x="9975" y="34723"/>
                      </a:lnTo>
                      <a:lnTo>
                        <a:pt x="0" y="29203"/>
                      </a:lnTo>
                      <a:lnTo>
                        <a:pt x="2539" y="24467"/>
                      </a:lnTo>
                      <a:lnTo>
                        <a:pt x="5920" y="9088"/>
                      </a:lnTo>
                      <a:lnTo>
                        <a:pt x="13426" y="2567"/>
                      </a:lnTo>
                      <a:lnTo>
                        <a:pt x="17739" y="0"/>
                      </a:lnTo>
                      <a:lnTo>
                        <a:pt x="23865" y="4820"/>
                      </a:lnTo>
                      <a:lnTo>
                        <a:pt x="27237" y="8705"/>
                      </a:lnTo>
                      <a:lnTo>
                        <a:pt x="34822" y="11724"/>
                      </a:lnTo>
                      <a:lnTo>
                        <a:pt x="43621" y="17529"/>
                      </a:lnTo>
                      <a:lnTo>
                        <a:pt x="41724" y="19925"/>
                      </a:lnTo>
                      <a:lnTo>
                        <a:pt x="37410" y="26177"/>
                      </a:lnTo>
                      <a:close/>
                    </a:path>
                  </a:pathLst>
                </a:custGeom>
                <a:solidFill>
                  <a:schemeClr val="accent1">
                    <a:lumMod val="20000"/>
                    <a:lumOff val="80000"/>
                  </a:schemeClr>
                </a:solidFill>
                <a:ln cap="rnd" w="9525">
                  <a:solidFill>
                    <a:srgbClr val="009fdf">
                      <a:lumMod val="60000"/>
                      <a:lumOff val="40000"/>
                    </a:srgbClr>
                  </a:solidFill>
                </a:ln>
              </p:spPr>
              <p:style>
                <a:lnRef idx="2">
                  <a:schemeClr val="accent1">
                    <a:shade val="50000"/>
                  </a:schemeClr>
                </a:lnRef>
                <a:fillRef idx="1">
                  <a:schemeClr val="accent1"/>
                </a:fillRef>
                <a:effectRef idx="0">
                  <a:schemeClr val="accent1"/>
                </a:effectRef>
                <a:fontRef idx="minor"/>
              </p:style>
              <p:txBody>
                <a:bodyPr numCol="1" spcCol="0" horzOverflow="overflow" lIns="216000" rIns="216000" tIns="68400" bIns="68400" anchor="ctr">
                  <a:noAutofit/>
                </a:bodyPr>
                <a:p>
                  <a:pPr algn="ctr" defTabSz="457200">
                    <a:lnSpc>
                      <a:spcPct val="100000"/>
                    </a:lnSpc>
                    <a:tabLst>
                      <a:tab algn="l" pos="0"/>
                    </a:tabLst>
                  </a:pPr>
                  <a:endParaRPr b="0" lang="de-DE" sz="1600" spc="-1" strike="noStrike">
                    <a:solidFill>
                      <a:srgbClr val="000000"/>
                    </a:solidFill>
                    <a:latin typeface="Arial"/>
                    <a:ea typeface="Arial"/>
                  </a:endParaRPr>
                </a:p>
              </p:txBody>
            </p:sp>
            <p:sp>
              <p:nvSpPr>
                <p:cNvPr id="696" name="Freeform 123"/>
                <p:cNvSpPr/>
                <p:nvPr/>
              </p:nvSpPr>
              <p:spPr>
                <a:xfrm>
                  <a:off x="2093760" y="4176720"/>
                  <a:ext cx="260640" cy="250200"/>
                </a:xfrm>
                <a:custGeom>
                  <a:avLst/>
                  <a:gdLst/>
                  <a:ahLst/>
                  <a:rect l="l" t="t" r="r" b="b"/>
                  <a:pathLst>
                    <a:path w="87186" h="83725">
                      <a:moveTo>
                        <a:pt x="63690" y="0"/>
                      </a:moveTo>
                      <a:lnTo>
                        <a:pt x="82871" y="888"/>
                      </a:lnTo>
                      <a:lnTo>
                        <a:pt x="87185" y="11499"/>
                      </a:lnTo>
                      <a:lnTo>
                        <a:pt x="81433" y="40006"/>
                      </a:lnTo>
                      <a:lnTo>
                        <a:pt x="75582" y="51631"/>
                      </a:lnTo>
                      <a:lnTo>
                        <a:pt x="61716" y="51644"/>
                      </a:lnTo>
                      <a:lnTo>
                        <a:pt x="65594" y="83724"/>
                      </a:lnTo>
                      <a:lnTo>
                        <a:pt x="52905" y="76609"/>
                      </a:lnTo>
                      <a:lnTo>
                        <a:pt x="38295" y="63220"/>
                      </a:lnTo>
                      <a:lnTo>
                        <a:pt x="16899" y="69584"/>
                      </a:lnTo>
                      <a:lnTo>
                        <a:pt x="0" y="67181"/>
                      </a:lnTo>
                      <a:lnTo>
                        <a:pt x="11895" y="58753"/>
                      </a:lnTo>
                      <a:lnTo>
                        <a:pt x="32109" y="13135"/>
                      </a:lnTo>
                      <a:close/>
                    </a:path>
                  </a:pathLst>
                </a:custGeom>
                <a:solidFill>
                  <a:schemeClr val="accent1"/>
                </a:solidFill>
                <a:ln cap="rnd" w="9525">
                  <a:solidFill>
                    <a:srgbClr val="009fdf">
                      <a:lumMod val="60000"/>
                      <a:lumOff val="40000"/>
                    </a:srgbClr>
                  </a:solidFill>
                </a:ln>
              </p:spPr>
              <p:style>
                <a:lnRef idx="2">
                  <a:schemeClr val="accent1">
                    <a:shade val="50000"/>
                  </a:schemeClr>
                </a:lnRef>
                <a:fillRef idx="1">
                  <a:schemeClr val="accent1"/>
                </a:fillRef>
                <a:effectRef idx="0">
                  <a:schemeClr val="accent1"/>
                </a:effectRef>
                <a:fontRef idx="minor"/>
              </p:style>
              <p:txBody>
                <a:bodyPr numCol="1" spcCol="0" horzOverflow="overflow" lIns="216000" rIns="216000" tIns="124920" bIns="124920" anchor="ctr">
                  <a:noAutofit/>
                </a:bodyPr>
                <a:p>
                  <a:pPr algn="ctr" defTabSz="457200">
                    <a:lnSpc>
                      <a:spcPct val="100000"/>
                    </a:lnSpc>
                    <a:tabLst>
                      <a:tab algn="l" pos="0"/>
                    </a:tabLst>
                  </a:pPr>
                  <a:endParaRPr b="0" lang="de-DE" sz="1600" spc="-1" strike="noStrike">
                    <a:solidFill>
                      <a:srgbClr val="000000"/>
                    </a:solidFill>
                    <a:latin typeface="Arial"/>
                    <a:ea typeface="Arial"/>
                  </a:endParaRPr>
                </a:p>
              </p:txBody>
            </p:sp>
            <p:sp>
              <p:nvSpPr>
                <p:cNvPr id="697" name="Freihandform: Form 273"/>
                <p:cNvSpPr/>
                <p:nvPr/>
              </p:nvSpPr>
              <p:spPr>
                <a:xfrm>
                  <a:off x="2209680" y="2524320"/>
                  <a:ext cx="1029240" cy="1208160"/>
                </a:xfrm>
                <a:custGeom>
                  <a:avLst/>
                  <a:gdLst>
                    <a:gd name="textAreaLeft" fmla="*/ 0 w 1029240"/>
                    <a:gd name="textAreaRight" fmla="*/ 1029600 w 1029240"/>
                    <a:gd name="textAreaTop" fmla="*/ 0 h 1208160"/>
                    <a:gd name="textAreaBottom" fmla="*/ 1208520 h 1208160"/>
                  </a:gdLst>
                  <a:ahLst/>
                  <a:rect l="textAreaLeft" t="textAreaTop" r="textAreaRight" b="textAreaBottom"/>
                  <a:pathLst>
                    <a:path w="343199" h="402838">
                      <a:moveTo>
                        <a:pt x="289164" y="0"/>
                      </a:moveTo>
                      <a:lnTo>
                        <a:pt x="309112" y="6192"/>
                      </a:lnTo>
                      <a:lnTo>
                        <a:pt x="343199" y="24694"/>
                      </a:lnTo>
                      <a:lnTo>
                        <a:pt x="342938" y="26733"/>
                      </a:lnTo>
                      <a:lnTo>
                        <a:pt x="299520" y="20333"/>
                      </a:lnTo>
                      <a:lnTo>
                        <a:pt x="293423" y="42493"/>
                      </a:lnTo>
                      <a:lnTo>
                        <a:pt x="271300" y="42360"/>
                      </a:lnTo>
                      <a:lnTo>
                        <a:pt x="256092" y="70330"/>
                      </a:lnTo>
                      <a:lnTo>
                        <a:pt x="233048" y="113164"/>
                      </a:lnTo>
                      <a:lnTo>
                        <a:pt x="197279" y="166276"/>
                      </a:lnTo>
                      <a:lnTo>
                        <a:pt x="205669" y="178971"/>
                      </a:lnTo>
                      <a:lnTo>
                        <a:pt x="197653" y="193604"/>
                      </a:lnTo>
                      <a:lnTo>
                        <a:pt x="174800" y="192975"/>
                      </a:lnTo>
                      <a:lnTo>
                        <a:pt x="159841" y="227218"/>
                      </a:lnTo>
                      <a:lnTo>
                        <a:pt x="161257" y="274785"/>
                      </a:lnTo>
                      <a:lnTo>
                        <a:pt x="175980" y="292666"/>
                      </a:lnTo>
                      <a:lnTo>
                        <a:pt x="168360" y="333593"/>
                      </a:lnTo>
                      <a:lnTo>
                        <a:pt x="149191" y="357112"/>
                      </a:lnTo>
                      <a:lnTo>
                        <a:pt x="139035" y="376693"/>
                      </a:lnTo>
                      <a:lnTo>
                        <a:pt x="123581" y="355836"/>
                      </a:lnTo>
                      <a:lnTo>
                        <a:pt x="78093" y="394985"/>
                      </a:lnTo>
                      <a:lnTo>
                        <a:pt x="47380" y="402838"/>
                      </a:lnTo>
                      <a:lnTo>
                        <a:pt x="15521" y="385742"/>
                      </a:lnTo>
                      <a:lnTo>
                        <a:pt x="7284" y="349220"/>
                      </a:lnTo>
                      <a:lnTo>
                        <a:pt x="0" y="268731"/>
                      </a:lnTo>
                      <a:lnTo>
                        <a:pt x="21213" y="245749"/>
                      </a:lnTo>
                      <a:lnTo>
                        <a:pt x="82042" y="215389"/>
                      </a:lnTo>
                      <a:lnTo>
                        <a:pt x="127523" y="177466"/>
                      </a:lnTo>
                      <a:lnTo>
                        <a:pt x="169695" y="125142"/>
                      </a:lnTo>
                      <a:lnTo>
                        <a:pt x="225048" y="50391"/>
                      </a:lnTo>
                      <a:lnTo>
                        <a:pt x="263630" y="20499"/>
                      </a:lnTo>
                      <a:close/>
                    </a:path>
                  </a:pathLst>
                </a:custGeom>
                <a:solidFill>
                  <a:schemeClr val="accent1"/>
                </a:solidFill>
                <a:ln cap="rnd" w="9525">
                  <a:solidFill>
                    <a:srgbClr val="009fdf">
                      <a:lumMod val="60000"/>
                      <a:lumOff val="40000"/>
                    </a:srgbClr>
                  </a:solidFill>
                </a:ln>
              </p:spPr>
              <p:style>
                <a:lnRef idx="2">
                  <a:schemeClr val="accent1">
                    <a:shade val="50000"/>
                  </a:schemeClr>
                </a:lnRef>
                <a:fillRef idx="1">
                  <a:schemeClr val="accent1"/>
                </a:fillRef>
                <a:effectRef idx="0">
                  <a:schemeClr val="accent1"/>
                </a:effectRef>
                <a:fontRef idx="minor"/>
              </p:style>
              <p:txBody>
                <a:bodyPr numCol="1" spcCol="0" horzOverflow="overflow" lIns="216000" rIns="216000" tIns="216000" bIns="216000" anchor="ctr">
                  <a:noAutofit/>
                </a:bodyPr>
                <a:p>
                  <a:pPr algn="ctr" defTabSz="457200">
                    <a:lnSpc>
                      <a:spcPct val="100000"/>
                    </a:lnSpc>
                    <a:tabLst>
                      <a:tab algn="l" pos="0"/>
                    </a:tabLst>
                  </a:pPr>
                  <a:endParaRPr b="0" lang="de-DE" sz="1600" spc="-1" strike="noStrike">
                    <a:solidFill>
                      <a:srgbClr val="000000"/>
                    </a:solidFill>
                    <a:latin typeface="Arial"/>
                    <a:ea typeface="Arial"/>
                  </a:endParaRPr>
                </a:p>
              </p:txBody>
            </p:sp>
            <p:sp>
              <p:nvSpPr>
                <p:cNvPr id="698" name="Freeform 131"/>
                <p:cNvSpPr/>
                <p:nvPr/>
              </p:nvSpPr>
              <p:spPr>
                <a:xfrm>
                  <a:off x="2837520" y="4049280"/>
                  <a:ext cx="687600" cy="537840"/>
                </a:xfrm>
                <a:custGeom>
                  <a:avLst/>
                  <a:gdLst/>
                  <a:ahLst/>
                  <a:rect l="l" t="t" r="r" b="b"/>
                  <a:pathLst>
                    <a:path w="229800" h="179771">
                      <a:moveTo>
                        <a:pt x="21755" y="117061"/>
                      </a:moveTo>
                      <a:lnTo>
                        <a:pt x="12293" y="97491"/>
                      </a:lnTo>
                      <a:lnTo>
                        <a:pt x="14092" y="86859"/>
                      </a:lnTo>
                      <a:lnTo>
                        <a:pt x="8381" y="70275"/>
                      </a:lnTo>
                      <a:lnTo>
                        <a:pt x="0" y="59162"/>
                      </a:lnTo>
                      <a:lnTo>
                        <a:pt x="6435" y="50806"/>
                      </a:lnTo>
                      <a:lnTo>
                        <a:pt x="1043" y="34797"/>
                      </a:lnTo>
                      <a:lnTo>
                        <a:pt x="16813" y="25510"/>
                      </a:lnTo>
                      <a:lnTo>
                        <a:pt x="52835" y="10812"/>
                      </a:lnTo>
                      <a:lnTo>
                        <a:pt x="81905" y="0"/>
                      </a:lnTo>
                      <a:lnTo>
                        <a:pt x="104942" y="5404"/>
                      </a:lnTo>
                      <a:lnTo>
                        <a:pt x="106682" y="13184"/>
                      </a:lnTo>
                      <a:lnTo>
                        <a:pt x="128943" y="13586"/>
                      </a:lnTo>
                      <a:lnTo>
                        <a:pt x="157371" y="17200"/>
                      </a:lnTo>
                      <a:lnTo>
                        <a:pt x="199817" y="16722"/>
                      </a:lnTo>
                      <a:lnTo>
                        <a:pt x="211656" y="20122"/>
                      </a:lnTo>
                      <a:lnTo>
                        <a:pt x="217199" y="29885"/>
                      </a:lnTo>
                      <a:lnTo>
                        <a:pt x="218201" y="43837"/>
                      </a:lnTo>
                      <a:lnTo>
                        <a:pt x="224604" y="55770"/>
                      </a:lnTo>
                      <a:lnTo>
                        <a:pt x="224472" y="68213"/>
                      </a:lnTo>
                      <a:lnTo>
                        <a:pt x="210629" y="74560"/>
                      </a:lnTo>
                      <a:lnTo>
                        <a:pt x="217750" y="88908"/>
                      </a:lnTo>
                      <a:lnTo>
                        <a:pt x="218190" y="102616"/>
                      </a:lnTo>
                      <a:lnTo>
                        <a:pt x="229799" y="129283"/>
                      </a:lnTo>
                      <a:lnTo>
                        <a:pt x="227324" y="137793"/>
                      </a:lnTo>
                      <a:lnTo>
                        <a:pt x="215869" y="141315"/>
                      </a:lnTo>
                      <a:lnTo>
                        <a:pt x="194909" y="166346"/>
                      </a:lnTo>
                      <a:lnTo>
                        <a:pt x="200863" y="179770"/>
                      </a:lnTo>
                      <a:lnTo>
                        <a:pt x="195824" y="178030"/>
                      </a:lnTo>
                      <a:lnTo>
                        <a:pt x="173889" y="166545"/>
                      </a:lnTo>
                      <a:lnTo>
                        <a:pt x="157272" y="170774"/>
                      </a:lnTo>
                      <a:lnTo>
                        <a:pt x="146375" y="167702"/>
                      </a:lnTo>
                      <a:lnTo>
                        <a:pt x="132737" y="174110"/>
                      </a:lnTo>
                      <a:lnTo>
                        <a:pt x="121096" y="163505"/>
                      </a:lnTo>
                      <a:lnTo>
                        <a:pt x="111606" y="167571"/>
                      </a:lnTo>
                      <a:lnTo>
                        <a:pt x="110303" y="165763"/>
                      </a:lnTo>
                      <a:lnTo>
                        <a:pt x="99680" y="150970"/>
                      </a:lnTo>
                      <a:lnTo>
                        <a:pt x="82519" y="149149"/>
                      </a:lnTo>
                      <a:lnTo>
                        <a:pt x="80329" y="139692"/>
                      </a:lnTo>
                      <a:lnTo>
                        <a:pt x="64499" y="136306"/>
                      </a:lnTo>
                      <a:lnTo>
                        <a:pt x="61053" y="144118"/>
                      </a:lnTo>
                      <a:lnTo>
                        <a:pt x="48514" y="137862"/>
                      </a:lnTo>
                      <a:lnTo>
                        <a:pt x="49954" y="129517"/>
                      </a:lnTo>
                      <a:lnTo>
                        <a:pt x="32696" y="126872"/>
                      </a:lnTo>
                      <a:close/>
                    </a:path>
                  </a:pathLst>
                </a:custGeom>
                <a:solidFill>
                  <a:schemeClr val="accent1"/>
                </a:solidFill>
                <a:ln cap="rnd" w="9525">
                  <a:solidFill>
                    <a:srgbClr val="009fdf">
                      <a:lumMod val="60000"/>
                      <a:lumOff val="40000"/>
                    </a:srgbClr>
                  </a:solidFill>
                </a:ln>
              </p:spPr>
              <p:style>
                <a:lnRef idx="2">
                  <a:schemeClr val="accent1">
                    <a:shade val="50000"/>
                  </a:schemeClr>
                </a:lnRef>
                <a:fillRef idx="1">
                  <a:schemeClr val="accent1"/>
                </a:fillRef>
                <a:effectRef idx="0">
                  <a:schemeClr val="accent1"/>
                </a:effectRef>
                <a:fontRef idx="minor"/>
              </p:style>
              <p:txBody>
                <a:bodyPr numCol="1" spcCol="0" horzOverflow="overflow" lIns="216000" rIns="216000" tIns="216000" bIns="216000" anchor="ctr">
                  <a:noAutofit/>
                </a:bodyPr>
                <a:p>
                  <a:pPr algn="ctr" defTabSz="457200">
                    <a:lnSpc>
                      <a:spcPct val="100000"/>
                    </a:lnSpc>
                    <a:tabLst>
                      <a:tab algn="l" pos="0"/>
                    </a:tabLst>
                  </a:pPr>
                  <a:endParaRPr b="0" lang="de-DE" sz="1600" spc="-1" strike="noStrike">
                    <a:solidFill>
                      <a:srgbClr val="000000"/>
                    </a:solidFill>
                    <a:latin typeface="Arial"/>
                    <a:ea typeface="Arial"/>
                  </a:endParaRPr>
                </a:p>
              </p:txBody>
            </p:sp>
            <p:sp>
              <p:nvSpPr>
                <p:cNvPr id="699" name="Freeform 133"/>
                <p:cNvSpPr/>
                <p:nvPr/>
              </p:nvSpPr>
              <p:spPr>
                <a:xfrm>
                  <a:off x="1206360" y="5168160"/>
                  <a:ext cx="216360" cy="441720"/>
                </a:xfrm>
                <a:custGeom>
                  <a:avLst/>
                  <a:gdLst/>
                  <a:ahLst/>
                  <a:rect l="l" t="t" r="r" b="b"/>
                  <a:pathLst>
                    <a:path w="72422" h="147628">
                      <a:moveTo>
                        <a:pt x="11351" y="11091"/>
                      </a:moveTo>
                      <a:lnTo>
                        <a:pt x="19727" y="4048"/>
                      </a:lnTo>
                      <a:lnTo>
                        <a:pt x="29147" y="0"/>
                      </a:lnTo>
                      <a:lnTo>
                        <a:pt x="34933" y="13572"/>
                      </a:lnTo>
                      <a:lnTo>
                        <a:pt x="48567" y="13540"/>
                      </a:lnTo>
                      <a:lnTo>
                        <a:pt x="52519" y="10045"/>
                      </a:lnTo>
                      <a:lnTo>
                        <a:pt x="65969" y="11013"/>
                      </a:lnTo>
                      <a:lnTo>
                        <a:pt x="72421" y="24866"/>
                      </a:lnTo>
                      <a:lnTo>
                        <a:pt x="61756" y="32317"/>
                      </a:lnTo>
                      <a:lnTo>
                        <a:pt x="61459" y="53689"/>
                      </a:lnTo>
                      <a:lnTo>
                        <a:pt x="57710" y="57681"/>
                      </a:lnTo>
                      <a:lnTo>
                        <a:pt x="56783" y="70540"/>
                      </a:lnTo>
                      <a:lnTo>
                        <a:pt x="46810" y="72774"/>
                      </a:lnTo>
                      <a:lnTo>
                        <a:pt x="56057" y="88998"/>
                      </a:lnTo>
                      <a:lnTo>
                        <a:pt x="49685" y="106683"/>
                      </a:lnTo>
                      <a:lnTo>
                        <a:pt x="57644" y="114654"/>
                      </a:lnTo>
                      <a:lnTo>
                        <a:pt x="54476" y="121927"/>
                      </a:lnTo>
                      <a:lnTo>
                        <a:pt x="45922" y="131931"/>
                      </a:lnTo>
                      <a:lnTo>
                        <a:pt x="47847" y="140740"/>
                      </a:lnTo>
                      <a:lnTo>
                        <a:pt x="38570" y="147627"/>
                      </a:lnTo>
                      <a:lnTo>
                        <a:pt x="26401" y="143897"/>
                      </a:lnTo>
                      <a:lnTo>
                        <a:pt x="14489" y="146817"/>
                      </a:lnTo>
                      <a:lnTo>
                        <a:pt x="18015" y="126000"/>
                      </a:lnTo>
                      <a:lnTo>
                        <a:pt x="15848" y="109550"/>
                      </a:lnTo>
                      <a:lnTo>
                        <a:pt x="5519" y="107075"/>
                      </a:lnTo>
                      <a:lnTo>
                        <a:pt x="0" y="96887"/>
                      </a:lnTo>
                      <a:lnTo>
                        <a:pt x="1837" y="79211"/>
                      </a:lnTo>
                      <a:lnTo>
                        <a:pt x="11039" y="69367"/>
                      </a:lnTo>
                      <a:lnTo>
                        <a:pt x="12677" y="58369"/>
                      </a:lnTo>
                      <a:lnTo>
                        <a:pt x="17494" y="41935"/>
                      </a:lnTo>
                      <a:lnTo>
                        <a:pt x="16982" y="30303"/>
                      </a:lnTo>
                      <a:lnTo>
                        <a:pt x="12367" y="20408"/>
                      </a:lnTo>
                      <a:close/>
                    </a:path>
                  </a:pathLst>
                </a:custGeom>
                <a:solidFill>
                  <a:schemeClr val="accent1"/>
                </a:solidFill>
                <a:ln cap="rnd" w="9525">
                  <a:solidFill>
                    <a:srgbClr val="009fdf">
                      <a:lumMod val="60000"/>
                      <a:lumOff val="40000"/>
                    </a:srgbClr>
                  </a:solidFill>
                </a:ln>
              </p:spPr>
              <p:style>
                <a:lnRef idx="2">
                  <a:schemeClr val="accent1">
                    <a:shade val="50000"/>
                  </a:schemeClr>
                </a:lnRef>
                <a:fillRef idx="1">
                  <a:schemeClr val="accent1"/>
                </a:fillRef>
                <a:effectRef idx="0">
                  <a:schemeClr val="accent1"/>
                </a:effectRef>
                <a:fontRef idx="minor"/>
              </p:style>
              <p:txBody>
                <a:bodyPr numCol="1" spcCol="0" horzOverflow="overflow" lIns="216000" rIns="216000" tIns="216000" bIns="216000" anchor="ctr">
                  <a:noAutofit/>
                </a:bodyPr>
                <a:p>
                  <a:pPr algn="ctr" defTabSz="457200">
                    <a:lnSpc>
                      <a:spcPct val="100000"/>
                    </a:lnSpc>
                    <a:tabLst>
                      <a:tab algn="l" pos="0"/>
                    </a:tabLst>
                  </a:pPr>
                  <a:endParaRPr b="0" lang="de-DE" sz="1600" spc="-1" strike="noStrike">
                    <a:solidFill>
                      <a:srgbClr val="000000"/>
                    </a:solidFill>
                    <a:latin typeface="Arial"/>
                    <a:ea typeface="Arial"/>
                  </a:endParaRPr>
                </a:p>
              </p:txBody>
            </p:sp>
            <p:sp>
              <p:nvSpPr>
                <p:cNvPr id="700" name="Freeform 135"/>
                <p:cNvSpPr/>
                <p:nvPr/>
              </p:nvSpPr>
              <p:spPr>
                <a:xfrm>
                  <a:off x="3262320" y="4659120"/>
                  <a:ext cx="649800" cy="390960"/>
                </a:xfrm>
                <a:custGeom>
                  <a:avLst/>
                  <a:gdLst/>
                  <a:ahLst/>
                  <a:rect l="l" t="t" r="r" b="b"/>
                  <a:pathLst>
                    <a:path w="217124" h="130641">
                      <a:moveTo>
                        <a:pt x="57483" y="9981"/>
                      </a:moveTo>
                      <a:lnTo>
                        <a:pt x="67448" y="3675"/>
                      </a:lnTo>
                      <a:lnTo>
                        <a:pt x="81730" y="6937"/>
                      </a:lnTo>
                      <a:lnTo>
                        <a:pt x="96528" y="7047"/>
                      </a:lnTo>
                      <a:lnTo>
                        <a:pt x="107245" y="14233"/>
                      </a:lnTo>
                      <a:lnTo>
                        <a:pt x="115126" y="9720"/>
                      </a:lnTo>
                      <a:lnTo>
                        <a:pt x="132165" y="6892"/>
                      </a:lnTo>
                      <a:lnTo>
                        <a:pt x="137971" y="0"/>
                      </a:lnTo>
                      <a:lnTo>
                        <a:pt x="147709" y="4"/>
                      </a:lnTo>
                      <a:lnTo>
                        <a:pt x="154745" y="2880"/>
                      </a:lnTo>
                      <a:lnTo>
                        <a:pt x="161894" y="11611"/>
                      </a:lnTo>
                      <a:lnTo>
                        <a:pt x="169218" y="23978"/>
                      </a:lnTo>
                      <a:lnTo>
                        <a:pt x="182534" y="41322"/>
                      </a:lnTo>
                      <a:lnTo>
                        <a:pt x="183272" y="54054"/>
                      </a:lnTo>
                      <a:lnTo>
                        <a:pt x="180835" y="66383"/>
                      </a:lnTo>
                      <a:lnTo>
                        <a:pt x="184969" y="79498"/>
                      </a:lnTo>
                      <a:lnTo>
                        <a:pt x="195270" y="84776"/>
                      </a:lnTo>
                      <a:lnTo>
                        <a:pt x="206117" y="80168"/>
                      </a:lnTo>
                      <a:lnTo>
                        <a:pt x="216587" y="85083"/>
                      </a:lnTo>
                      <a:lnTo>
                        <a:pt x="217123" y="92454"/>
                      </a:lnTo>
                      <a:lnTo>
                        <a:pt x="205930" y="98589"/>
                      </a:lnTo>
                      <a:lnTo>
                        <a:pt x="198918" y="95920"/>
                      </a:lnTo>
                      <a:lnTo>
                        <a:pt x="192461" y="130105"/>
                      </a:lnTo>
                      <a:lnTo>
                        <a:pt x="178888" y="127146"/>
                      </a:lnTo>
                      <a:lnTo>
                        <a:pt x="162091" y="116878"/>
                      </a:lnTo>
                      <a:lnTo>
                        <a:pt x="134917" y="123449"/>
                      </a:lnTo>
                      <a:lnTo>
                        <a:pt x="123471" y="130640"/>
                      </a:lnTo>
                      <a:lnTo>
                        <a:pt x="89571" y="129159"/>
                      </a:lnTo>
                      <a:lnTo>
                        <a:pt x="71835" y="124761"/>
                      </a:lnTo>
                      <a:lnTo>
                        <a:pt x="62892" y="126827"/>
                      </a:lnTo>
                      <a:lnTo>
                        <a:pt x="56251" y="115210"/>
                      </a:lnTo>
                      <a:lnTo>
                        <a:pt x="52024" y="110270"/>
                      </a:lnTo>
                      <a:lnTo>
                        <a:pt x="57372" y="105479"/>
                      </a:lnTo>
                      <a:lnTo>
                        <a:pt x="51678" y="101939"/>
                      </a:lnTo>
                      <a:lnTo>
                        <a:pt x="44432" y="108307"/>
                      </a:lnTo>
                      <a:lnTo>
                        <a:pt x="30973" y="100049"/>
                      </a:lnTo>
                      <a:lnTo>
                        <a:pt x="29161" y="88290"/>
                      </a:lnTo>
                      <a:lnTo>
                        <a:pt x="15098" y="81559"/>
                      </a:lnTo>
                      <a:lnTo>
                        <a:pt x="12510" y="72427"/>
                      </a:lnTo>
                      <a:lnTo>
                        <a:pt x="0" y="61109"/>
                      </a:lnTo>
                      <a:lnTo>
                        <a:pt x="18506" y="55659"/>
                      </a:lnTo>
                      <a:lnTo>
                        <a:pt x="32461" y="35974"/>
                      </a:lnTo>
                      <a:lnTo>
                        <a:pt x="43385" y="16144"/>
                      </a:lnTo>
                      <a:close/>
                    </a:path>
                  </a:pathLst>
                </a:custGeom>
                <a:solidFill>
                  <a:schemeClr val="accent1"/>
                </a:solidFill>
                <a:ln cap="rnd" w="9525">
                  <a:solidFill>
                    <a:srgbClr val="009fdf">
                      <a:lumMod val="60000"/>
                      <a:lumOff val="40000"/>
                    </a:srgbClr>
                  </a:solidFill>
                </a:ln>
              </p:spPr>
              <p:style>
                <a:lnRef idx="2">
                  <a:schemeClr val="accent1">
                    <a:shade val="50000"/>
                  </a:schemeClr>
                </a:lnRef>
                <a:fillRef idx="1">
                  <a:schemeClr val="accent1"/>
                </a:fillRef>
                <a:effectRef idx="0">
                  <a:schemeClr val="accent1"/>
                </a:effectRef>
                <a:fontRef idx="minor"/>
              </p:style>
              <p:txBody>
                <a:bodyPr numCol="1" spcCol="0" horzOverflow="overflow" lIns="216000" rIns="216000" tIns="195480" bIns="195480" anchor="ctr">
                  <a:noAutofit/>
                </a:bodyPr>
                <a:p>
                  <a:pPr algn="ctr" defTabSz="457200">
                    <a:lnSpc>
                      <a:spcPct val="100000"/>
                    </a:lnSpc>
                    <a:tabLst>
                      <a:tab algn="l" pos="0"/>
                    </a:tabLst>
                  </a:pPr>
                  <a:endParaRPr b="0" lang="de-DE" sz="1600" spc="-1" strike="noStrike">
                    <a:solidFill>
                      <a:srgbClr val="000000"/>
                    </a:solidFill>
                    <a:latin typeface="Arial"/>
                    <a:ea typeface="Arial"/>
                  </a:endParaRPr>
                </a:p>
              </p:txBody>
            </p:sp>
            <p:sp>
              <p:nvSpPr>
                <p:cNvPr id="701" name="Freihandform: Form 277"/>
                <p:cNvSpPr/>
                <p:nvPr/>
              </p:nvSpPr>
              <p:spPr>
                <a:xfrm>
                  <a:off x="3223440" y="3291120"/>
                  <a:ext cx="1097640" cy="1157400"/>
                </a:xfrm>
                <a:custGeom>
                  <a:avLst/>
                  <a:gdLst>
                    <a:gd name="textAreaLeft" fmla="*/ 0 w 1097640"/>
                    <a:gd name="textAreaRight" fmla="*/ 1098000 w 1097640"/>
                    <a:gd name="textAreaTop" fmla="*/ 0 h 1157400"/>
                    <a:gd name="textAreaBottom" fmla="*/ 1157760 h 1157400"/>
                  </a:gdLst>
                  <a:ahLst/>
                  <a:rect l="textAreaLeft" t="textAreaTop" r="textAreaRight" b="textAreaBottom"/>
                  <a:pathLst>
                    <a:path w="366017" h="385860">
                      <a:moveTo>
                        <a:pt x="37039" y="241925"/>
                      </a:moveTo>
                      <a:lnTo>
                        <a:pt x="61165" y="247544"/>
                      </a:lnTo>
                      <a:lnTo>
                        <a:pt x="71348" y="252622"/>
                      </a:lnTo>
                      <a:lnTo>
                        <a:pt x="68889" y="261359"/>
                      </a:lnTo>
                      <a:lnTo>
                        <a:pt x="70733" y="269472"/>
                      </a:lnTo>
                      <a:lnTo>
                        <a:pt x="28372" y="269949"/>
                      </a:lnTo>
                      <a:lnTo>
                        <a:pt x="0" y="266343"/>
                      </a:lnTo>
                      <a:lnTo>
                        <a:pt x="5249" y="252315"/>
                      </a:lnTo>
                      <a:close/>
                      <a:moveTo>
                        <a:pt x="263831" y="0"/>
                      </a:moveTo>
                      <a:lnTo>
                        <a:pt x="315216" y="94671"/>
                      </a:lnTo>
                      <a:cubicBezTo>
                        <a:pt x="347928" y="172011"/>
                        <a:pt x="366017" y="257041"/>
                        <a:pt x="366017" y="346297"/>
                      </a:cubicBezTo>
                      <a:lnTo>
                        <a:pt x="362029" y="385860"/>
                      </a:lnTo>
                      <a:lnTo>
                        <a:pt x="361574" y="385695"/>
                      </a:lnTo>
                      <a:lnTo>
                        <a:pt x="362076" y="379731"/>
                      </a:lnTo>
                      <a:lnTo>
                        <a:pt x="353881" y="366536"/>
                      </a:lnTo>
                      <a:lnTo>
                        <a:pt x="335513" y="365058"/>
                      </a:lnTo>
                      <a:lnTo>
                        <a:pt x="333603" y="355565"/>
                      </a:lnTo>
                      <a:lnTo>
                        <a:pt x="339358" y="349352"/>
                      </a:lnTo>
                      <a:lnTo>
                        <a:pt x="324636" y="331899"/>
                      </a:lnTo>
                      <a:lnTo>
                        <a:pt x="300749" y="334886"/>
                      </a:lnTo>
                      <a:lnTo>
                        <a:pt x="293753" y="333333"/>
                      </a:lnTo>
                      <a:lnTo>
                        <a:pt x="287933" y="340355"/>
                      </a:lnTo>
                      <a:lnTo>
                        <a:pt x="279329" y="339109"/>
                      </a:lnTo>
                      <a:lnTo>
                        <a:pt x="273664" y="319277"/>
                      </a:lnTo>
                      <a:lnTo>
                        <a:pt x="268253" y="308934"/>
                      </a:lnTo>
                      <a:lnTo>
                        <a:pt x="272687" y="306015"/>
                      </a:lnTo>
                      <a:lnTo>
                        <a:pt x="291275" y="307099"/>
                      </a:lnTo>
                      <a:lnTo>
                        <a:pt x="300239" y="300256"/>
                      </a:lnTo>
                      <a:lnTo>
                        <a:pt x="293603" y="291886"/>
                      </a:lnTo>
                      <a:lnTo>
                        <a:pt x="278069" y="286346"/>
                      </a:lnTo>
                      <a:lnTo>
                        <a:pt x="279455" y="280647"/>
                      </a:lnTo>
                      <a:lnTo>
                        <a:pt x="270080" y="274878"/>
                      </a:lnTo>
                      <a:lnTo>
                        <a:pt x="255637" y="254054"/>
                      </a:lnTo>
                      <a:lnTo>
                        <a:pt x="260574" y="245420"/>
                      </a:lnTo>
                      <a:lnTo>
                        <a:pt x="258318" y="230322"/>
                      </a:lnTo>
                      <a:lnTo>
                        <a:pt x="235797" y="222615"/>
                      </a:lnTo>
                      <a:lnTo>
                        <a:pt x="223709" y="226476"/>
                      </a:lnTo>
                      <a:lnTo>
                        <a:pt x="220437" y="218440"/>
                      </a:lnTo>
                      <a:lnTo>
                        <a:pt x="196183" y="210292"/>
                      </a:lnTo>
                      <a:lnTo>
                        <a:pt x="188779" y="191006"/>
                      </a:lnTo>
                      <a:lnTo>
                        <a:pt x="186814" y="175039"/>
                      </a:lnTo>
                      <a:lnTo>
                        <a:pt x="175715" y="167418"/>
                      </a:lnTo>
                      <a:lnTo>
                        <a:pt x="185586" y="156873"/>
                      </a:lnTo>
                      <a:lnTo>
                        <a:pt x="178754" y="125598"/>
                      </a:lnTo>
                      <a:lnTo>
                        <a:pt x="195146" y="106056"/>
                      </a:lnTo>
                      <a:lnTo>
                        <a:pt x="191678" y="100102"/>
                      </a:lnTo>
                      <a:lnTo>
                        <a:pt x="217861" y="81148"/>
                      </a:lnTo>
                      <a:lnTo>
                        <a:pt x="193725" y="64710"/>
                      </a:lnTo>
                      <a:lnTo>
                        <a:pt x="243050" y="19963"/>
                      </a:lnTo>
                      <a:close/>
                    </a:path>
                  </a:pathLst>
                </a:custGeom>
                <a:solidFill>
                  <a:schemeClr val="accent1"/>
                </a:solidFill>
                <a:ln cap="rnd" w="9525">
                  <a:solidFill>
                    <a:srgbClr val="009fdf">
                      <a:lumMod val="60000"/>
                      <a:lumOff val="40000"/>
                    </a:srgbClr>
                  </a:solidFill>
                </a:ln>
              </p:spPr>
              <p:style>
                <a:lnRef idx="2">
                  <a:schemeClr val="accent1">
                    <a:shade val="50000"/>
                  </a:schemeClr>
                </a:lnRef>
                <a:fillRef idx="1">
                  <a:schemeClr val="accent1"/>
                </a:fillRef>
                <a:effectRef idx="0">
                  <a:schemeClr val="accent1"/>
                </a:effectRef>
                <a:fontRef idx="minor"/>
              </p:style>
              <p:txBody>
                <a:bodyPr numCol="1" spcCol="0" horzOverflow="overflow" lIns="216000" rIns="216000" tIns="216000" bIns="216000" anchor="ctr">
                  <a:noAutofit/>
                </a:bodyPr>
                <a:p>
                  <a:pPr algn="ctr" defTabSz="457200">
                    <a:lnSpc>
                      <a:spcPct val="100000"/>
                    </a:lnSpc>
                    <a:tabLst>
                      <a:tab algn="l" pos="0"/>
                    </a:tabLst>
                  </a:pPr>
                  <a:endParaRPr b="0" lang="de-DE" sz="1600" spc="-1" strike="noStrike">
                    <a:solidFill>
                      <a:srgbClr val="000000"/>
                    </a:solidFill>
                    <a:latin typeface="Arial"/>
                    <a:ea typeface="Arial"/>
                  </a:endParaRPr>
                </a:p>
              </p:txBody>
            </p:sp>
            <p:sp>
              <p:nvSpPr>
                <p:cNvPr id="702" name="Freeform 147"/>
                <p:cNvSpPr/>
                <p:nvPr/>
              </p:nvSpPr>
              <p:spPr>
                <a:xfrm>
                  <a:off x="3166200" y="4838400"/>
                  <a:ext cx="286920" cy="332640"/>
                </a:xfrm>
                <a:custGeom>
                  <a:avLst/>
                  <a:gdLst/>
                  <a:ahLst/>
                  <a:rect l="l" t="t" r="r" b="b"/>
                  <a:pathLst>
                    <a:path w="95937" h="111173">
                      <a:moveTo>
                        <a:pt x="47192" y="21728"/>
                      </a:moveTo>
                      <a:lnTo>
                        <a:pt x="61255" y="28459"/>
                      </a:lnTo>
                      <a:lnTo>
                        <a:pt x="63067" y="40218"/>
                      </a:lnTo>
                      <a:lnTo>
                        <a:pt x="76526" y="48476"/>
                      </a:lnTo>
                      <a:lnTo>
                        <a:pt x="83772" y="42108"/>
                      </a:lnTo>
                      <a:lnTo>
                        <a:pt x="89466" y="45648"/>
                      </a:lnTo>
                      <a:lnTo>
                        <a:pt x="84118" y="50439"/>
                      </a:lnTo>
                      <a:lnTo>
                        <a:pt x="88345" y="55379"/>
                      </a:lnTo>
                      <a:lnTo>
                        <a:pt x="82650" y="61794"/>
                      </a:lnTo>
                      <a:lnTo>
                        <a:pt x="84721" y="72094"/>
                      </a:lnTo>
                      <a:lnTo>
                        <a:pt x="95936" y="84219"/>
                      </a:lnTo>
                      <a:lnTo>
                        <a:pt x="87137" y="92970"/>
                      </a:lnTo>
                      <a:lnTo>
                        <a:pt x="83254" y="101850"/>
                      </a:lnTo>
                      <a:lnTo>
                        <a:pt x="85757" y="105163"/>
                      </a:lnTo>
                      <a:lnTo>
                        <a:pt x="81960" y="109087"/>
                      </a:lnTo>
                      <a:lnTo>
                        <a:pt x="71262" y="109549"/>
                      </a:lnTo>
                      <a:lnTo>
                        <a:pt x="63404" y="111172"/>
                      </a:lnTo>
                      <a:lnTo>
                        <a:pt x="62635" y="109088"/>
                      </a:lnTo>
                      <a:lnTo>
                        <a:pt x="65396" y="105779"/>
                      </a:lnTo>
                      <a:lnTo>
                        <a:pt x="67984" y="98996"/>
                      </a:lnTo>
                      <a:lnTo>
                        <a:pt x="64705" y="99150"/>
                      </a:lnTo>
                      <a:lnTo>
                        <a:pt x="60219" y="93975"/>
                      </a:lnTo>
                      <a:lnTo>
                        <a:pt x="56423" y="92661"/>
                      </a:lnTo>
                      <a:lnTo>
                        <a:pt x="53404" y="88211"/>
                      </a:lnTo>
                      <a:lnTo>
                        <a:pt x="49090" y="86467"/>
                      </a:lnTo>
                      <a:lnTo>
                        <a:pt x="45811" y="82512"/>
                      </a:lnTo>
                      <a:lnTo>
                        <a:pt x="41670" y="84064"/>
                      </a:lnTo>
                      <a:lnTo>
                        <a:pt x="38478" y="93357"/>
                      </a:lnTo>
                      <a:lnTo>
                        <a:pt x="32957" y="95366"/>
                      </a:lnTo>
                      <a:lnTo>
                        <a:pt x="34854" y="92970"/>
                      </a:lnTo>
                      <a:lnTo>
                        <a:pt x="26055" y="87165"/>
                      </a:lnTo>
                      <a:lnTo>
                        <a:pt x="18470" y="84146"/>
                      </a:lnTo>
                      <a:lnTo>
                        <a:pt x="15098" y="80261"/>
                      </a:lnTo>
                      <a:lnTo>
                        <a:pt x="8972" y="75441"/>
                      </a:lnTo>
                      <a:lnTo>
                        <a:pt x="14408" y="74197"/>
                      </a:lnTo>
                      <a:lnTo>
                        <a:pt x="17773" y="60935"/>
                      </a:lnTo>
                      <a:lnTo>
                        <a:pt x="6643" y="50046"/>
                      </a:lnTo>
                      <a:lnTo>
                        <a:pt x="12423" y="37539"/>
                      </a:lnTo>
                      <a:lnTo>
                        <a:pt x="4055" y="37618"/>
                      </a:lnTo>
                      <a:lnTo>
                        <a:pt x="12941" y="26877"/>
                      </a:lnTo>
                      <a:lnTo>
                        <a:pt x="5608" y="18714"/>
                      </a:lnTo>
                      <a:lnTo>
                        <a:pt x="0" y="7580"/>
                      </a:lnTo>
                      <a:lnTo>
                        <a:pt x="17687" y="0"/>
                      </a:lnTo>
                      <a:lnTo>
                        <a:pt x="32094" y="1278"/>
                      </a:lnTo>
                      <a:lnTo>
                        <a:pt x="44604" y="12596"/>
                      </a:lnTo>
                      <a:close/>
                    </a:path>
                  </a:pathLst>
                </a:custGeom>
                <a:solidFill>
                  <a:schemeClr val="accent1"/>
                </a:solidFill>
                <a:ln cap="rnd" w="9525">
                  <a:solidFill>
                    <a:srgbClr val="009fdf">
                      <a:lumMod val="60000"/>
                      <a:lumOff val="40000"/>
                    </a:srgbClr>
                  </a:solidFill>
                </a:ln>
              </p:spPr>
              <p:style>
                <a:lnRef idx="2">
                  <a:schemeClr val="accent1">
                    <a:shade val="50000"/>
                  </a:schemeClr>
                </a:lnRef>
                <a:fillRef idx="1">
                  <a:schemeClr val="accent1"/>
                </a:fillRef>
                <a:effectRef idx="0">
                  <a:schemeClr val="accent1"/>
                </a:effectRef>
                <a:fontRef idx="minor"/>
              </p:style>
              <p:txBody>
                <a:bodyPr numCol="1" spcCol="0" horzOverflow="overflow" lIns="216000" rIns="216000" tIns="166320" bIns="166320" anchor="ctr">
                  <a:noAutofit/>
                </a:bodyPr>
                <a:p>
                  <a:pPr algn="ctr" defTabSz="457200">
                    <a:lnSpc>
                      <a:spcPct val="100000"/>
                    </a:lnSpc>
                    <a:tabLst>
                      <a:tab algn="l" pos="0"/>
                    </a:tabLst>
                  </a:pPr>
                  <a:endParaRPr b="0" lang="de-DE" sz="1600" spc="-1" strike="noStrike">
                    <a:solidFill>
                      <a:srgbClr val="000000"/>
                    </a:solidFill>
                    <a:latin typeface="Arial"/>
                    <a:ea typeface="Arial"/>
                  </a:endParaRPr>
                </a:p>
              </p:txBody>
            </p:sp>
            <p:sp>
              <p:nvSpPr>
                <p:cNvPr id="703" name="Freeform 148"/>
                <p:cNvSpPr/>
                <p:nvPr/>
              </p:nvSpPr>
              <p:spPr>
                <a:xfrm>
                  <a:off x="3031200" y="4538880"/>
                  <a:ext cx="392040" cy="160560"/>
                </a:xfrm>
                <a:custGeom>
                  <a:avLst/>
                  <a:gdLst/>
                  <a:ahLst/>
                  <a:rect l="l" t="t" r="r" b="b"/>
                  <a:pathLst>
                    <a:path w="131067" h="53806">
                      <a:moveTo>
                        <a:pt x="45545" y="2258"/>
                      </a:moveTo>
                      <a:lnTo>
                        <a:pt x="46848" y="4066"/>
                      </a:lnTo>
                      <a:lnTo>
                        <a:pt x="56338" y="0"/>
                      </a:lnTo>
                      <a:lnTo>
                        <a:pt x="67979" y="10605"/>
                      </a:lnTo>
                      <a:lnTo>
                        <a:pt x="81617" y="4197"/>
                      </a:lnTo>
                      <a:lnTo>
                        <a:pt x="92514" y="7269"/>
                      </a:lnTo>
                      <a:lnTo>
                        <a:pt x="109131" y="3040"/>
                      </a:lnTo>
                      <a:lnTo>
                        <a:pt x="131066" y="14525"/>
                      </a:lnTo>
                      <a:lnTo>
                        <a:pt x="124666" y="22276"/>
                      </a:lnTo>
                      <a:lnTo>
                        <a:pt x="120159" y="34233"/>
                      </a:lnTo>
                      <a:lnTo>
                        <a:pt x="115234" y="37259"/>
                      </a:lnTo>
                      <a:lnTo>
                        <a:pt x="90514" y="28261"/>
                      </a:lnTo>
                      <a:lnTo>
                        <a:pt x="82949" y="30069"/>
                      </a:lnTo>
                      <a:lnTo>
                        <a:pt x="77536" y="37034"/>
                      </a:lnTo>
                      <a:lnTo>
                        <a:pt x="66697" y="40723"/>
                      </a:lnTo>
                      <a:lnTo>
                        <a:pt x="64201" y="38835"/>
                      </a:lnTo>
                      <a:lnTo>
                        <a:pt x="52960" y="43417"/>
                      </a:lnTo>
                      <a:lnTo>
                        <a:pt x="43788" y="44290"/>
                      </a:lnTo>
                      <a:lnTo>
                        <a:pt x="41930" y="50204"/>
                      </a:lnTo>
                      <a:lnTo>
                        <a:pt x="22555" y="53805"/>
                      </a:lnTo>
                      <a:lnTo>
                        <a:pt x="14045" y="50600"/>
                      </a:lnTo>
                      <a:lnTo>
                        <a:pt x="2301" y="43059"/>
                      </a:lnTo>
                      <a:lnTo>
                        <a:pt x="0" y="32820"/>
                      </a:lnTo>
                      <a:lnTo>
                        <a:pt x="1853" y="29058"/>
                      </a:lnTo>
                      <a:lnTo>
                        <a:pt x="5124" y="22527"/>
                      </a:lnTo>
                      <a:lnTo>
                        <a:pt x="15350" y="23030"/>
                      </a:lnTo>
                      <a:lnTo>
                        <a:pt x="23232" y="19954"/>
                      </a:lnTo>
                      <a:lnTo>
                        <a:pt x="23856" y="17185"/>
                      </a:lnTo>
                      <a:lnTo>
                        <a:pt x="28276" y="15770"/>
                      </a:lnTo>
                      <a:lnTo>
                        <a:pt x="29788" y="8981"/>
                      </a:lnTo>
                      <a:lnTo>
                        <a:pt x="35086" y="7681"/>
                      </a:lnTo>
                      <a:lnTo>
                        <a:pt x="38663" y="2294"/>
                      </a:lnTo>
                      <a:close/>
                    </a:path>
                  </a:pathLst>
                </a:custGeom>
                <a:solidFill>
                  <a:schemeClr val="accent1"/>
                </a:solidFill>
                <a:ln cap="rnd" w="9525">
                  <a:solidFill>
                    <a:srgbClr val="009fdf">
                      <a:lumMod val="60000"/>
                      <a:lumOff val="40000"/>
                    </a:srgbClr>
                  </a:solidFill>
                </a:ln>
              </p:spPr>
              <p:style>
                <a:lnRef idx="2">
                  <a:schemeClr val="accent1">
                    <a:shade val="50000"/>
                  </a:schemeClr>
                </a:lnRef>
                <a:fillRef idx="1">
                  <a:schemeClr val="accent1"/>
                </a:fillRef>
                <a:effectRef idx="0">
                  <a:schemeClr val="accent1"/>
                </a:effectRef>
                <a:fontRef idx="minor"/>
              </p:style>
              <p:txBody>
                <a:bodyPr numCol="1" spcCol="0" horzOverflow="overflow" lIns="216000" rIns="216000" tIns="80280" bIns="80280" anchor="ctr">
                  <a:noAutofit/>
                </a:bodyPr>
                <a:p>
                  <a:pPr algn="ctr" defTabSz="457200">
                    <a:lnSpc>
                      <a:spcPct val="100000"/>
                    </a:lnSpc>
                    <a:tabLst>
                      <a:tab algn="l" pos="0"/>
                    </a:tabLst>
                  </a:pPr>
                  <a:endParaRPr b="0" lang="de-DE" sz="1600" spc="-1" strike="noStrike">
                    <a:solidFill>
                      <a:srgbClr val="000000"/>
                    </a:solidFill>
                    <a:latin typeface="Arial"/>
                    <a:ea typeface="Arial"/>
                  </a:endParaRPr>
                </a:p>
              </p:txBody>
            </p:sp>
            <p:sp>
              <p:nvSpPr>
                <p:cNvPr id="704" name="Freeform 149"/>
                <p:cNvSpPr/>
                <p:nvPr/>
              </p:nvSpPr>
              <p:spPr>
                <a:xfrm>
                  <a:off x="2811600" y="4779360"/>
                  <a:ext cx="197640" cy="120600"/>
                </a:xfrm>
                <a:custGeom>
                  <a:avLst/>
                  <a:gdLst/>
                  <a:ahLst/>
                  <a:rect l="l" t="t" r="r" b="b"/>
                  <a:pathLst>
                    <a:path w="66173" h="40426">
                      <a:moveTo>
                        <a:pt x="2502" y="9961"/>
                      </a:moveTo>
                      <a:lnTo>
                        <a:pt x="21568" y="12206"/>
                      </a:lnTo>
                      <a:lnTo>
                        <a:pt x="33216" y="5628"/>
                      </a:lnTo>
                      <a:lnTo>
                        <a:pt x="53404" y="4904"/>
                      </a:lnTo>
                      <a:lnTo>
                        <a:pt x="57804" y="0"/>
                      </a:lnTo>
                      <a:lnTo>
                        <a:pt x="61687" y="321"/>
                      </a:lnTo>
                      <a:lnTo>
                        <a:pt x="66172" y="10122"/>
                      </a:lnTo>
                      <a:lnTo>
                        <a:pt x="47796" y="17809"/>
                      </a:lnTo>
                      <a:lnTo>
                        <a:pt x="45552" y="29459"/>
                      </a:lnTo>
                      <a:lnTo>
                        <a:pt x="37529" y="32403"/>
                      </a:lnTo>
                      <a:lnTo>
                        <a:pt x="37615" y="40425"/>
                      </a:lnTo>
                      <a:lnTo>
                        <a:pt x="28557" y="39870"/>
                      </a:lnTo>
                      <a:lnTo>
                        <a:pt x="20706" y="35186"/>
                      </a:lnTo>
                      <a:lnTo>
                        <a:pt x="16478" y="40028"/>
                      </a:lnTo>
                      <a:lnTo>
                        <a:pt x="392" y="39049"/>
                      </a:lnTo>
                      <a:lnTo>
                        <a:pt x="5529" y="36447"/>
                      </a:lnTo>
                      <a:lnTo>
                        <a:pt x="0" y="24198"/>
                      </a:lnTo>
                      <a:close/>
                    </a:path>
                  </a:pathLst>
                </a:custGeom>
                <a:solidFill>
                  <a:schemeClr val="accent1"/>
                </a:solidFill>
                <a:ln cap="rnd" w="9525">
                  <a:solidFill>
                    <a:srgbClr val="009fdf">
                      <a:lumMod val="60000"/>
                      <a:lumOff val="40000"/>
                    </a:srgbClr>
                  </a:solidFill>
                </a:ln>
              </p:spPr>
              <p:style>
                <a:lnRef idx="2">
                  <a:schemeClr val="accent1">
                    <a:shade val="50000"/>
                  </a:schemeClr>
                </a:lnRef>
                <a:fillRef idx="1">
                  <a:schemeClr val="accent1"/>
                </a:fillRef>
                <a:effectRef idx="0">
                  <a:schemeClr val="accent1"/>
                </a:effectRef>
                <a:fontRef idx="minor"/>
              </p:style>
              <p:txBody>
                <a:bodyPr numCol="1" spcCol="0" horzOverflow="overflow" lIns="216000" rIns="216000" tIns="60120" bIns="60120" anchor="ctr">
                  <a:noAutofit/>
                </a:bodyPr>
                <a:p>
                  <a:pPr algn="ctr" defTabSz="457200">
                    <a:lnSpc>
                      <a:spcPct val="100000"/>
                    </a:lnSpc>
                    <a:tabLst>
                      <a:tab algn="l" pos="0"/>
                    </a:tabLst>
                  </a:pPr>
                  <a:endParaRPr b="0" lang="de-DE" sz="1600" spc="-1" strike="noStrike">
                    <a:solidFill>
                      <a:srgbClr val="000000"/>
                    </a:solidFill>
                    <a:latin typeface="Arial"/>
                    <a:ea typeface="Arial"/>
                  </a:endParaRPr>
                </a:p>
              </p:txBody>
            </p:sp>
            <p:sp>
              <p:nvSpPr>
                <p:cNvPr id="705" name="Freihandform: Form 281"/>
                <p:cNvSpPr/>
                <p:nvPr/>
              </p:nvSpPr>
              <p:spPr>
                <a:xfrm>
                  <a:off x="2626920" y="2585160"/>
                  <a:ext cx="889560" cy="1414440"/>
                </a:xfrm>
                <a:custGeom>
                  <a:avLst/>
                  <a:gdLst>
                    <a:gd name="textAreaLeft" fmla="*/ 0 w 889560"/>
                    <a:gd name="textAreaRight" fmla="*/ 889920 w 889560"/>
                    <a:gd name="textAreaTop" fmla="*/ 0 h 1414440"/>
                    <a:gd name="textAreaBottom" fmla="*/ 1414800 h 1414440"/>
                  </a:gdLst>
                  <a:ahLst/>
                  <a:rect l="textAreaLeft" t="textAreaTop" r="textAreaRight" b="textAreaBottom"/>
                  <a:pathLst>
                    <a:path w="296622" h="471631">
                      <a:moveTo>
                        <a:pt x="160486" y="0"/>
                      </a:moveTo>
                      <a:lnTo>
                        <a:pt x="203904" y="6400"/>
                      </a:lnTo>
                      <a:lnTo>
                        <a:pt x="204165" y="4361"/>
                      </a:lnTo>
                      <a:lnTo>
                        <a:pt x="279887" y="45462"/>
                      </a:lnTo>
                      <a:lnTo>
                        <a:pt x="288518" y="52584"/>
                      </a:lnTo>
                      <a:lnTo>
                        <a:pt x="288848" y="85086"/>
                      </a:lnTo>
                      <a:lnTo>
                        <a:pt x="296622" y="99968"/>
                      </a:lnTo>
                      <a:lnTo>
                        <a:pt x="256995" y="110732"/>
                      </a:lnTo>
                      <a:lnTo>
                        <a:pt x="234656" y="137015"/>
                      </a:lnTo>
                      <a:lnTo>
                        <a:pt x="238253" y="159818"/>
                      </a:lnTo>
                      <a:lnTo>
                        <a:pt x="201607" y="189384"/>
                      </a:lnTo>
                      <a:lnTo>
                        <a:pt x="157121" y="220566"/>
                      </a:lnTo>
                      <a:lnTo>
                        <a:pt x="140345" y="270660"/>
                      </a:lnTo>
                      <a:lnTo>
                        <a:pt x="156742" y="295298"/>
                      </a:lnTo>
                      <a:lnTo>
                        <a:pt x="178774" y="314502"/>
                      </a:lnTo>
                      <a:lnTo>
                        <a:pt x="157615" y="353055"/>
                      </a:lnTo>
                      <a:lnTo>
                        <a:pt x="133655" y="360968"/>
                      </a:lnTo>
                      <a:lnTo>
                        <a:pt x="124868" y="416952"/>
                      </a:lnTo>
                      <a:lnTo>
                        <a:pt x="111784" y="447611"/>
                      </a:lnTo>
                      <a:lnTo>
                        <a:pt x="83838" y="444469"/>
                      </a:lnTo>
                      <a:lnTo>
                        <a:pt x="70800" y="470148"/>
                      </a:lnTo>
                      <a:lnTo>
                        <a:pt x="44127" y="471631"/>
                      </a:lnTo>
                      <a:lnTo>
                        <a:pt x="36807" y="441009"/>
                      </a:lnTo>
                      <a:lnTo>
                        <a:pt x="17521" y="403712"/>
                      </a:lnTo>
                      <a:lnTo>
                        <a:pt x="0" y="356361"/>
                      </a:lnTo>
                      <a:lnTo>
                        <a:pt x="10157" y="336780"/>
                      </a:lnTo>
                      <a:lnTo>
                        <a:pt x="29326" y="313260"/>
                      </a:lnTo>
                      <a:lnTo>
                        <a:pt x="36946" y="272334"/>
                      </a:lnTo>
                      <a:lnTo>
                        <a:pt x="22223" y="254452"/>
                      </a:lnTo>
                      <a:lnTo>
                        <a:pt x="20807" y="206885"/>
                      </a:lnTo>
                      <a:lnTo>
                        <a:pt x="35766" y="172642"/>
                      </a:lnTo>
                      <a:lnTo>
                        <a:pt x="58619" y="173271"/>
                      </a:lnTo>
                      <a:lnTo>
                        <a:pt x="66635" y="158638"/>
                      </a:lnTo>
                      <a:lnTo>
                        <a:pt x="58244" y="145943"/>
                      </a:lnTo>
                      <a:lnTo>
                        <a:pt x="94014" y="92831"/>
                      </a:lnTo>
                      <a:lnTo>
                        <a:pt x="117057" y="49997"/>
                      </a:lnTo>
                      <a:lnTo>
                        <a:pt x="132266" y="22027"/>
                      </a:lnTo>
                      <a:lnTo>
                        <a:pt x="154389" y="22161"/>
                      </a:lnTo>
                      <a:close/>
                    </a:path>
                  </a:pathLst>
                </a:custGeom>
                <a:solidFill>
                  <a:schemeClr val="accent1"/>
                </a:solidFill>
                <a:ln cap="rnd" w="9525">
                  <a:solidFill>
                    <a:srgbClr val="009fdf">
                      <a:lumMod val="60000"/>
                      <a:lumOff val="40000"/>
                    </a:srgbClr>
                  </a:solidFill>
                </a:ln>
              </p:spPr>
              <p:style>
                <a:lnRef idx="2">
                  <a:schemeClr val="accent1">
                    <a:shade val="50000"/>
                  </a:schemeClr>
                </a:lnRef>
                <a:fillRef idx="1">
                  <a:schemeClr val="accent1"/>
                </a:fillRef>
                <a:effectRef idx="0">
                  <a:schemeClr val="accent1"/>
                </a:effectRef>
                <a:fontRef idx="minor"/>
              </p:style>
              <p:txBody>
                <a:bodyPr numCol="1" spcCol="0" horzOverflow="overflow" lIns="216000" rIns="216000" tIns="216000" bIns="216000" anchor="ctr">
                  <a:noAutofit/>
                </a:bodyPr>
                <a:p>
                  <a:pPr algn="ctr" defTabSz="457200">
                    <a:lnSpc>
                      <a:spcPct val="100000"/>
                    </a:lnSpc>
                    <a:tabLst>
                      <a:tab algn="l" pos="0"/>
                    </a:tabLst>
                  </a:pPr>
                  <a:endParaRPr b="0" lang="de-DE" sz="1600" spc="-1" strike="noStrike">
                    <a:solidFill>
                      <a:srgbClr val="000000"/>
                    </a:solidFill>
                    <a:latin typeface="Arial"/>
                    <a:ea typeface="Arial"/>
                  </a:endParaRPr>
                </a:p>
              </p:txBody>
            </p:sp>
            <p:sp>
              <p:nvSpPr>
                <p:cNvPr id="706" name="Freeform 159"/>
                <p:cNvSpPr/>
                <p:nvPr/>
              </p:nvSpPr>
              <p:spPr>
                <a:xfrm>
                  <a:off x="2384640" y="5569560"/>
                  <a:ext cx="273600" cy="546480"/>
                </a:xfrm>
                <a:custGeom>
                  <a:avLst/>
                  <a:gdLst/>
                  <a:ahLst/>
                  <a:rect l="l" t="t" r="r" b="b"/>
                  <a:pathLst>
                    <a:path w="91507" h="182659">
                      <a:moveTo>
                        <a:pt x="45188" y="182658"/>
                      </a:moveTo>
                      <a:lnTo>
                        <a:pt x="35342" y="136950"/>
                      </a:lnTo>
                      <a:lnTo>
                        <a:pt x="21112" y="126598"/>
                      </a:lnTo>
                      <a:lnTo>
                        <a:pt x="20912" y="120377"/>
                      </a:lnTo>
                      <a:lnTo>
                        <a:pt x="2034" y="105018"/>
                      </a:lnTo>
                      <a:lnTo>
                        <a:pt x="0" y="85508"/>
                      </a:lnTo>
                      <a:lnTo>
                        <a:pt x="14230" y="70993"/>
                      </a:lnTo>
                      <a:lnTo>
                        <a:pt x="19664" y="49421"/>
                      </a:lnTo>
                      <a:lnTo>
                        <a:pt x="16004" y="24318"/>
                      </a:lnTo>
                      <a:lnTo>
                        <a:pt x="20693" y="10727"/>
                      </a:lnTo>
                      <a:lnTo>
                        <a:pt x="45831" y="0"/>
                      </a:lnTo>
                      <a:lnTo>
                        <a:pt x="61989" y="3193"/>
                      </a:lnTo>
                      <a:lnTo>
                        <a:pt x="61311" y="16623"/>
                      </a:lnTo>
                      <a:lnTo>
                        <a:pt x="80890" y="6859"/>
                      </a:lnTo>
                      <a:lnTo>
                        <a:pt x="82533" y="11958"/>
                      </a:lnTo>
                      <a:lnTo>
                        <a:pt x="70991" y="24931"/>
                      </a:lnTo>
                      <a:lnTo>
                        <a:pt x="70836" y="37132"/>
                      </a:lnTo>
                      <a:lnTo>
                        <a:pt x="78828" y="43668"/>
                      </a:lnTo>
                      <a:lnTo>
                        <a:pt x="75788" y="66339"/>
                      </a:lnTo>
                      <a:lnTo>
                        <a:pt x="60594" y="79441"/>
                      </a:lnTo>
                      <a:lnTo>
                        <a:pt x="64981" y="93593"/>
                      </a:lnTo>
                      <a:lnTo>
                        <a:pt x="76919" y="94033"/>
                      </a:lnTo>
                      <a:lnTo>
                        <a:pt x="82728" y="106330"/>
                      </a:lnTo>
                      <a:lnTo>
                        <a:pt x="91506" y="110365"/>
                      </a:lnTo>
                      <a:lnTo>
                        <a:pt x="90202" y="130125"/>
                      </a:lnTo>
                      <a:lnTo>
                        <a:pt x="78950" y="137484"/>
                      </a:lnTo>
                      <a:lnTo>
                        <a:pt x="71843" y="145681"/>
                      </a:lnTo>
                      <a:lnTo>
                        <a:pt x="55992" y="155515"/>
                      </a:lnTo>
                      <a:lnTo>
                        <a:pt x="58447" y="166060"/>
                      </a:lnTo>
                      <a:lnTo>
                        <a:pt x="56449" y="176787"/>
                      </a:lnTo>
                      <a:close/>
                    </a:path>
                  </a:pathLst>
                </a:custGeom>
                <a:solidFill>
                  <a:schemeClr val="accent1">
                    <a:lumMod val="20000"/>
                    <a:lumOff val="80000"/>
                  </a:schemeClr>
                </a:solidFill>
                <a:ln cap="rnd" w="9525">
                  <a:solidFill>
                    <a:srgbClr val="009fdf">
                      <a:lumMod val="60000"/>
                      <a:lumOff val="40000"/>
                    </a:srgbClr>
                  </a:solidFill>
                </a:ln>
              </p:spPr>
              <p:style>
                <a:lnRef idx="2">
                  <a:schemeClr val="accent1">
                    <a:shade val="50000"/>
                  </a:schemeClr>
                </a:lnRef>
                <a:fillRef idx="1">
                  <a:schemeClr val="accent1"/>
                </a:fillRef>
                <a:effectRef idx="0">
                  <a:schemeClr val="accent1"/>
                </a:effectRef>
                <a:fontRef idx="minor"/>
              </p:style>
              <p:txBody>
                <a:bodyPr numCol="1" spcCol="0" horzOverflow="overflow" lIns="216000" rIns="216000" tIns="216000" bIns="216000" anchor="ctr">
                  <a:noAutofit/>
                </a:bodyPr>
                <a:p>
                  <a:pPr algn="ctr" defTabSz="457200">
                    <a:lnSpc>
                      <a:spcPct val="100000"/>
                    </a:lnSpc>
                    <a:tabLst>
                      <a:tab algn="l" pos="0"/>
                    </a:tabLst>
                  </a:pPr>
                  <a:endParaRPr b="0" lang="de-DE" sz="1600" spc="-1" strike="noStrike">
                    <a:solidFill>
                      <a:srgbClr val="000000"/>
                    </a:solidFill>
                    <a:latin typeface="Arial"/>
                    <a:ea typeface="Arial"/>
                  </a:endParaRPr>
                </a:p>
              </p:txBody>
            </p:sp>
            <p:sp>
              <p:nvSpPr>
                <p:cNvPr id="707" name="Freihandform: Form 283"/>
                <p:cNvSpPr/>
                <p:nvPr/>
              </p:nvSpPr>
              <p:spPr>
                <a:xfrm>
                  <a:off x="3664800" y="5179680"/>
                  <a:ext cx="433800" cy="444240"/>
                </a:xfrm>
                <a:custGeom>
                  <a:avLst/>
                  <a:gdLst>
                    <a:gd name="textAreaLeft" fmla="*/ 0 w 433800"/>
                    <a:gd name="textAreaRight" fmla="*/ 434160 w 433800"/>
                    <a:gd name="textAreaTop" fmla="*/ 0 h 444240"/>
                    <a:gd name="textAreaBottom" fmla="*/ 444600 h 444240"/>
                  </a:gdLst>
                  <a:ahLst/>
                  <a:rect l="textAreaLeft" t="textAreaTop" r="textAreaRight" b="textAreaBottom"/>
                  <a:pathLst>
                    <a:path w="144717" h="148227">
                      <a:moveTo>
                        <a:pt x="144717" y="11538"/>
                      </a:moveTo>
                      <a:lnTo>
                        <a:pt x="108575" y="78123"/>
                      </a:lnTo>
                      <a:lnTo>
                        <a:pt x="50955" y="147959"/>
                      </a:lnTo>
                      <a:lnTo>
                        <a:pt x="36809" y="148227"/>
                      </a:lnTo>
                      <a:lnTo>
                        <a:pt x="23162" y="121844"/>
                      </a:lnTo>
                      <a:lnTo>
                        <a:pt x="6332" y="107035"/>
                      </a:lnTo>
                      <a:lnTo>
                        <a:pt x="17539" y="86163"/>
                      </a:lnTo>
                      <a:lnTo>
                        <a:pt x="2935" y="73268"/>
                      </a:lnTo>
                      <a:lnTo>
                        <a:pt x="28489" y="47301"/>
                      </a:lnTo>
                      <a:lnTo>
                        <a:pt x="63964" y="46210"/>
                      </a:lnTo>
                      <a:lnTo>
                        <a:pt x="73641" y="25412"/>
                      </a:lnTo>
                      <a:lnTo>
                        <a:pt x="117547" y="29044"/>
                      </a:lnTo>
                      <a:close/>
                      <a:moveTo>
                        <a:pt x="25165" y="0"/>
                      </a:moveTo>
                      <a:lnTo>
                        <a:pt x="45000" y="3712"/>
                      </a:lnTo>
                      <a:lnTo>
                        <a:pt x="47736" y="14328"/>
                      </a:lnTo>
                      <a:lnTo>
                        <a:pt x="67845" y="23216"/>
                      </a:lnTo>
                      <a:lnTo>
                        <a:pt x="63653" y="29940"/>
                      </a:lnTo>
                      <a:lnTo>
                        <a:pt x="36298" y="31452"/>
                      </a:lnTo>
                      <a:lnTo>
                        <a:pt x="26470" y="39916"/>
                      </a:lnTo>
                      <a:lnTo>
                        <a:pt x="7249" y="54599"/>
                      </a:lnTo>
                      <a:lnTo>
                        <a:pt x="0" y="41905"/>
                      </a:lnTo>
                      <a:lnTo>
                        <a:pt x="313" y="36263"/>
                      </a:lnTo>
                      <a:lnTo>
                        <a:pt x="5788" y="33193"/>
                      </a:lnTo>
                      <a:lnTo>
                        <a:pt x="12920" y="16002"/>
                      </a:lnTo>
                      <a:lnTo>
                        <a:pt x="1698" y="8699"/>
                      </a:lnTo>
                      <a:close/>
                    </a:path>
                  </a:pathLst>
                </a:custGeom>
                <a:solidFill>
                  <a:schemeClr val="accent1"/>
                </a:solidFill>
                <a:ln cap="rnd" w="9525">
                  <a:solidFill>
                    <a:srgbClr val="009fdf">
                      <a:lumMod val="60000"/>
                      <a:lumOff val="40000"/>
                    </a:srgbClr>
                  </a:solidFill>
                </a:ln>
              </p:spPr>
              <p:style>
                <a:lnRef idx="2">
                  <a:schemeClr val="accent1">
                    <a:shade val="50000"/>
                  </a:schemeClr>
                </a:lnRef>
                <a:fillRef idx="1">
                  <a:schemeClr val="accent1"/>
                </a:fillRef>
                <a:effectRef idx="0">
                  <a:schemeClr val="accent1"/>
                </a:effectRef>
                <a:fontRef idx="minor"/>
              </p:style>
              <p:txBody>
                <a:bodyPr numCol="1" spcCol="0" horzOverflow="overflow" lIns="216000" rIns="216000" tIns="216000" bIns="216000" anchor="ctr">
                  <a:noAutofit/>
                </a:bodyPr>
                <a:p>
                  <a:pPr algn="ctr" defTabSz="457200">
                    <a:lnSpc>
                      <a:spcPct val="100000"/>
                    </a:lnSpc>
                    <a:tabLst>
                      <a:tab algn="l" pos="0"/>
                    </a:tabLst>
                  </a:pPr>
                  <a:endParaRPr b="0" lang="de-DE" sz="1600" spc="-1" strike="noStrike">
                    <a:solidFill>
                      <a:srgbClr val="000000"/>
                    </a:solidFill>
                    <a:latin typeface="Arial"/>
                    <a:ea typeface="Arial"/>
                  </a:endParaRPr>
                </a:p>
              </p:txBody>
            </p:sp>
            <p:sp>
              <p:nvSpPr>
                <p:cNvPr id="708" name="Freihandform: Form 284"/>
                <p:cNvSpPr/>
                <p:nvPr/>
              </p:nvSpPr>
              <p:spPr>
                <a:xfrm>
                  <a:off x="3391200" y="4286520"/>
                  <a:ext cx="918360" cy="702720"/>
                </a:xfrm>
                <a:custGeom>
                  <a:avLst/>
                  <a:gdLst>
                    <a:gd name="textAreaLeft" fmla="*/ 0 w 918360"/>
                    <a:gd name="textAreaRight" fmla="*/ 918720 w 918360"/>
                    <a:gd name="textAreaTop" fmla="*/ 0 h 702720"/>
                    <a:gd name="textAreaBottom" fmla="*/ 703080 h 702720"/>
                  </a:gdLst>
                  <a:ahLst/>
                  <a:rect l="textAreaLeft" t="textAreaTop" r="textAreaRight" b="textAreaBottom"/>
                  <a:pathLst>
                    <a:path w="306213" h="234405">
                      <a:moveTo>
                        <a:pt x="268773" y="0"/>
                      </a:moveTo>
                      <a:lnTo>
                        <a:pt x="283495" y="17453"/>
                      </a:lnTo>
                      <a:lnTo>
                        <a:pt x="277741" y="23666"/>
                      </a:lnTo>
                      <a:lnTo>
                        <a:pt x="279650" y="33159"/>
                      </a:lnTo>
                      <a:lnTo>
                        <a:pt x="298018" y="34637"/>
                      </a:lnTo>
                      <a:lnTo>
                        <a:pt x="306213" y="47832"/>
                      </a:lnTo>
                      <a:lnTo>
                        <a:pt x="305711" y="53796"/>
                      </a:lnTo>
                      <a:lnTo>
                        <a:pt x="306165" y="53961"/>
                      </a:lnTo>
                      <a:lnTo>
                        <a:pt x="297020" y="144678"/>
                      </a:lnTo>
                      <a:lnTo>
                        <a:pt x="269167" y="234405"/>
                      </a:lnTo>
                      <a:lnTo>
                        <a:pt x="258953" y="229813"/>
                      </a:lnTo>
                      <a:lnTo>
                        <a:pt x="264033" y="216459"/>
                      </a:lnTo>
                      <a:lnTo>
                        <a:pt x="238860" y="208110"/>
                      </a:lnTo>
                      <a:lnTo>
                        <a:pt x="242929" y="202627"/>
                      </a:lnTo>
                      <a:lnTo>
                        <a:pt x="264983" y="193096"/>
                      </a:lnTo>
                      <a:lnTo>
                        <a:pt x="258312" y="186509"/>
                      </a:lnTo>
                      <a:lnTo>
                        <a:pt x="222502" y="179221"/>
                      </a:lnTo>
                      <a:lnTo>
                        <a:pt x="220917" y="168434"/>
                      </a:lnTo>
                      <a:lnTo>
                        <a:pt x="199572" y="172001"/>
                      </a:lnTo>
                      <a:lnTo>
                        <a:pt x="191022" y="187895"/>
                      </a:lnTo>
                      <a:lnTo>
                        <a:pt x="173185" y="209085"/>
                      </a:lnTo>
                      <a:lnTo>
                        <a:pt x="162735" y="204180"/>
                      </a:lnTo>
                      <a:lnTo>
                        <a:pt x="151910" y="208778"/>
                      </a:lnTo>
                      <a:lnTo>
                        <a:pt x="141629" y="203511"/>
                      </a:lnTo>
                      <a:lnTo>
                        <a:pt x="147429" y="200400"/>
                      </a:lnTo>
                      <a:lnTo>
                        <a:pt x="151454" y="190554"/>
                      </a:lnTo>
                      <a:lnTo>
                        <a:pt x="157759" y="181372"/>
                      </a:lnTo>
                      <a:lnTo>
                        <a:pt x="156130" y="176201"/>
                      </a:lnTo>
                      <a:lnTo>
                        <a:pt x="160947" y="173894"/>
                      </a:lnTo>
                      <a:lnTo>
                        <a:pt x="163217" y="177895"/>
                      </a:lnTo>
                      <a:lnTo>
                        <a:pt x="176793" y="178740"/>
                      </a:lnTo>
                      <a:lnTo>
                        <a:pt x="182891" y="176605"/>
                      </a:lnTo>
                      <a:lnTo>
                        <a:pt x="178596" y="173672"/>
                      </a:lnTo>
                      <a:lnTo>
                        <a:pt x="180224" y="169358"/>
                      </a:lnTo>
                      <a:lnTo>
                        <a:pt x="172180" y="161982"/>
                      </a:lnTo>
                      <a:lnTo>
                        <a:pt x="168849" y="149808"/>
                      </a:lnTo>
                      <a:lnTo>
                        <a:pt x="160458" y="145029"/>
                      </a:lnTo>
                      <a:lnTo>
                        <a:pt x="162113" y="135104"/>
                      </a:lnTo>
                      <a:lnTo>
                        <a:pt x="151704" y="127196"/>
                      </a:lnTo>
                      <a:lnTo>
                        <a:pt x="142228" y="126095"/>
                      </a:lnTo>
                      <a:lnTo>
                        <a:pt x="125250" y="116904"/>
                      </a:lnTo>
                      <a:lnTo>
                        <a:pt x="109937" y="119826"/>
                      </a:lnTo>
                      <a:lnTo>
                        <a:pt x="104443" y="124175"/>
                      </a:lnTo>
                      <a:lnTo>
                        <a:pt x="94725" y="124171"/>
                      </a:lnTo>
                      <a:lnTo>
                        <a:pt x="88930" y="131049"/>
                      </a:lnTo>
                      <a:lnTo>
                        <a:pt x="71925" y="133872"/>
                      </a:lnTo>
                      <a:lnTo>
                        <a:pt x="64060" y="138376"/>
                      </a:lnTo>
                      <a:lnTo>
                        <a:pt x="53364" y="131204"/>
                      </a:lnTo>
                      <a:lnTo>
                        <a:pt x="38595" y="131094"/>
                      </a:lnTo>
                      <a:lnTo>
                        <a:pt x="24342" y="127839"/>
                      </a:lnTo>
                      <a:lnTo>
                        <a:pt x="14397" y="134132"/>
                      </a:lnTo>
                      <a:lnTo>
                        <a:pt x="12791" y="126252"/>
                      </a:lnTo>
                      <a:lnTo>
                        <a:pt x="0" y="118230"/>
                      </a:lnTo>
                      <a:lnTo>
                        <a:pt x="4498" y="106297"/>
                      </a:lnTo>
                      <a:lnTo>
                        <a:pt x="10886" y="98561"/>
                      </a:lnTo>
                      <a:lnTo>
                        <a:pt x="15915" y="100297"/>
                      </a:lnTo>
                      <a:lnTo>
                        <a:pt x="9972" y="86900"/>
                      </a:lnTo>
                      <a:lnTo>
                        <a:pt x="30891" y="61919"/>
                      </a:lnTo>
                      <a:lnTo>
                        <a:pt x="42323" y="58404"/>
                      </a:lnTo>
                      <a:lnTo>
                        <a:pt x="44793" y="49911"/>
                      </a:lnTo>
                      <a:lnTo>
                        <a:pt x="33207" y="23297"/>
                      </a:lnTo>
                      <a:lnTo>
                        <a:pt x="44219" y="22101"/>
                      </a:lnTo>
                      <a:lnTo>
                        <a:pt x="56844" y="13778"/>
                      </a:lnTo>
                      <a:lnTo>
                        <a:pt x="74690" y="13095"/>
                      </a:lnTo>
                      <a:lnTo>
                        <a:pt x="97961" y="15505"/>
                      </a:lnTo>
                      <a:lnTo>
                        <a:pt x="123673" y="22873"/>
                      </a:lnTo>
                      <a:lnTo>
                        <a:pt x="141816" y="23487"/>
                      </a:lnTo>
                      <a:lnTo>
                        <a:pt x="150477" y="27912"/>
                      </a:lnTo>
                      <a:lnTo>
                        <a:pt x="159122" y="22573"/>
                      </a:lnTo>
                      <a:lnTo>
                        <a:pt x="165160" y="29731"/>
                      </a:lnTo>
                      <a:lnTo>
                        <a:pt x="185948" y="28266"/>
                      </a:lnTo>
                      <a:lnTo>
                        <a:pt x="195111" y="31220"/>
                      </a:lnTo>
                      <a:lnTo>
                        <a:pt x="196593" y="15797"/>
                      </a:lnTo>
                      <a:lnTo>
                        <a:pt x="203691" y="9039"/>
                      </a:lnTo>
                      <a:lnTo>
                        <a:pt x="223467" y="7210"/>
                      </a:lnTo>
                      <a:lnTo>
                        <a:pt x="232069" y="8456"/>
                      </a:lnTo>
                      <a:lnTo>
                        <a:pt x="237890" y="1434"/>
                      </a:lnTo>
                      <a:lnTo>
                        <a:pt x="244886" y="2987"/>
                      </a:lnTo>
                      <a:close/>
                    </a:path>
                  </a:pathLst>
                </a:custGeom>
                <a:solidFill>
                  <a:schemeClr val="accent1"/>
                </a:solidFill>
                <a:ln cap="rnd" w="9525">
                  <a:solidFill>
                    <a:srgbClr val="009fdf">
                      <a:lumMod val="60000"/>
                      <a:lumOff val="40000"/>
                    </a:srgbClr>
                  </a:solidFill>
                </a:ln>
              </p:spPr>
              <p:style>
                <a:lnRef idx="2">
                  <a:schemeClr val="accent1">
                    <a:shade val="50000"/>
                  </a:schemeClr>
                </a:lnRef>
                <a:fillRef idx="1">
                  <a:schemeClr val="accent1"/>
                </a:fillRef>
                <a:effectRef idx="0">
                  <a:schemeClr val="accent1"/>
                </a:effectRef>
                <a:fontRef idx="minor"/>
              </p:style>
              <p:txBody>
                <a:bodyPr numCol="1" spcCol="0" horzOverflow="overflow" lIns="216000" rIns="216000" tIns="216000" bIns="216000" anchor="ctr">
                  <a:noAutofit/>
                </a:bodyPr>
                <a:p>
                  <a:pPr algn="ctr" defTabSz="457200">
                    <a:lnSpc>
                      <a:spcPct val="100000"/>
                    </a:lnSpc>
                    <a:tabLst>
                      <a:tab algn="l" pos="0"/>
                    </a:tabLst>
                  </a:pPr>
                  <a:endParaRPr b="0" lang="de-DE" sz="1600" spc="-1" strike="noStrike">
                    <a:solidFill>
                      <a:srgbClr val="000000"/>
                    </a:solidFill>
                    <a:latin typeface="Arial"/>
                    <a:ea typeface="Arial"/>
                  </a:endParaRPr>
                </a:p>
              </p:txBody>
            </p:sp>
          </p:grpSp>
          <p:sp>
            <p:nvSpPr>
              <p:cNvPr id="709" name="Ellipse 489"/>
              <p:cNvSpPr/>
              <p:nvPr/>
            </p:nvSpPr>
            <p:spPr>
              <a:xfrm>
                <a:off x="438120" y="2380680"/>
                <a:ext cx="3882960" cy="3888360"/>
              </a:xfrm>
              <a:prstGeom prst="ellipse">
                <a:avLst/>
              </a:prstGeom>
              <a:noFill/>
              <a:ln w="127000">
                <a:solidFill>
                  <a:srgbClr val="009fdf">
                    <a:lumMod val="20000"/>
                    <a:lumOff val="80000"/>
                  </a:srgbClr>
                </a:solidFill>
              </a:ln>
            </p:spPr>
            <p:style>
              <a:lnRef idx="2">
                <a:schemeClr val="accent1">
                  <a:shade val="50000"/>
                </a:schemeClr>
              </a:lnRef>
              <a:fillRef idx="1">
                <a:schemeClr val="accent1"/>
              </a:fillRef>
              <a:effectRef idx="0">
                <a:schemeClr val="accent1"/>
              </a:effectRef>
              <a:fontRef idx="minor"/>
            </p:style>
            <p:txBody>
              <a:bodyPr lIns="274320" rIns="274320" tIns="137160" bIns="137160" anchor="ctr">
                <a:noAutofit/>
              </a:bodyPr>
              <a:p>
                <a:pPr algn="ctr" defTabSz="457200">
                  <a:lnSpc>
                    <a:spcPct val="100000"/>
                  </a:lnSpc>
                  <a:tabLst>
                    <a:tab algn="l" pos="0"/>
                  </a:tabLst>
                </a:pPr>
                <a:endParaRPr b="0" lang="de-DE" sz="1600" spc="-1" strike="noStrike">
                  <a:solidFill>
                    <a:srgbClr val="000000"/>
                  </a:solidFill>
                  <a:latin typeface="Arial"/>
                  <a:ea typeface="Arial"/>
                </a:endParaRPr>
              </a:p>
            </p:txBody>
          </p:sp>
          <p:pic>
            <p:nvPicPr>
              <p:cNvPr id="710" name="Grafik 490" descr="Mann"/>
              <p:cNvPicPr/>
              <p:nvPr/>
            </p:nvPicPr>
            <p:blipFill>
              <a:blip r:embed="rId40"/>
              <a:stretch/>
            </p:blipFill>
            <p:spPr>
              <a:xfrm>
                <a:off x="2243880" y="3252600"/>
                <a:ext cx="156960" cy="156960"/>
              </a:xfrm>
              <a:prstGeom prst="rect">
                <a:avLst/>
              </a:prstGeom>
              <a:ln w="0">
                <a:noFill/>
              </a:ln>
            </p:spPr>
          </p:pic>
          <p:pic>
            <p:nvPicPr>
              <p:cNvPr id="711" name="Grafik 491" descr="Mann"/>
              <p:cNvPicPr/>
              <p:nvPr/>
            </p:nvPicPr>
            <p:blipFill>
              <a:blip r:embed="rId41"/>
              <a:stretch/>
            </p:blipFill>
            <p:spPr>
              <a:xfrm>
                <a:off x="2741760" y="3318480"/>
                <a:ext cx="209520" cy="209520"/>
              </a:xfrm>
              <a:prstGeom prst="rect">
                <a:avLst/>
              </a:prstGeom>
              <a:ln w="0">
                <a:noFill/>
              </a:ln>
            </p:spPr>
          </p:pic>
          <p:pic>
            <p:nvPicPr>
              <p:cNvPr id="712" name="Grafik 492" descr="Mann"/>
              <p:cNvPicPr/>
              <p:nvPr/>
            </p:nvPicPr>
            <p:blipFill>
              <a:blip r:embed="rId42"/>
              <a:stretch/>
            </p:blipFill>
            <p:spPr>
              <a:xfrm>
                <a:off x="2370240" y="3646080"/>
                <a:ext cx="299880" cy="299880"/>
              </a:xfrm>
              <a:prstGeom prst="rect">
                <a:avLst/>
              </a:prstGeom>
              <a:ln w="0">
                <a:noFill/>
              </a:ln>
            </p:spPr>
          </p:pic>
          <p:pic>
            <p:nvPicPr>
              <p:cNvPr id="713" name="Grafik 493" descr="Mann"/>
              <p:cNvPicPr/>
              <p:nvPr/>
            </p:nvPicPr>
            <p:blipFill>
              <a:blip r:embed="rId43"/>
              <a:stretch/>
            </p:blipFill>
            <p:spPr>
              <a:xfrm>
                <a:off x="1621440" y="4439880"/>
                <a:ext cx="299880" cy="299880"/>
              </a:xfrm>
              <a:prstGeom prst="rect">
                <a:avLst/>
              </a:prstGeom>
              <a:ln w="0">
                <a:noFill/>
              </a:ln>
            </p:spPr>
          </p:pic>
          <p:pic>
            <p:nvPicPr>
              <p:cNvPr id="714" name="Grafik 494" descr="Mann"/>
              <p:cNvPicPr/>
              <p:nvPr/>
            </p:nvPicPr>
            <p:blipFill>
              <a:blip r:embed="rId44"/>
              <a:stretch/>
            </p:blipFill>
            <p:spPr>
              <a:xfrm>
                <a:off x="3016800" y="3974760"/>
                <a:ext cx="299880" cy="299880"/>
              </a:xfrm>
              <a:prstGeom prst="rect">
                <a:avLst/>
              </a:prstGeom>
              <a:ln w="0">
                <a:noFill/>
              </a:ln>
            </p:spPr>
          </p:pic>
          <p:pic>
            <p:nvPicPr>
              <p:cNvPr id="715" name="Grafik 495" descr="Mann"/>
              <p:cNvPicPr/>
              <p:nvPr/>
            </p:nvPicPr>
            <p:blipFill>
              <a:blip r:embed="rId45"/>
              <a:stretch/>
            </p:blipFill>
            <p:spPr>
              <a:xfrm>
                <a:off x="2495880" y="4815720"/>
                <a:ext cx="299880" cy="299880"/>
              </a:xfrm>
              <a:prstGeom prst="rect">
                <a:avLst/>
              </a:prstGeom>
              <a:ln w="0">
                <a:noFill/>
              </a:ln>
            </p:spPr>
          </p:pic>
          <p:pic>
            <p:nvPicPr>
              <p:cNvPr id="716" name="Grafik 496" descr="Mann"/>
              <p:cNvPicPr/>
              <p:nvPr/>
            </p:nvPicPr>
            <p:blipFill>
              <a:blip r:embed="rId46"/>
              <a:stretch/>
            </p:blipFill>
            <p:spPr>
              <a:xfrm>
                <a:off x="1478880" y="3978720"/>
                <a:ext cx="299880" cy="299880"/>
              </a:xfrm>
              <a:prstGeom prst="rect">
                <a:avLst/>
              </a:prstGeom>
              <a:ln w="0">
                <a:noFill/>
              </a:ln>
            </p:spPr>
          </p:pic>
          <p:pic>
            <p:nvPicPr>
              <p:cNvPr id="717" name="Grafik 497" descr="Mann"/>
              <p:cNvPicPr/>
              <p:nvPr/>
            </p:nvPicPr>
            <p:blipFill>
              <a:blip r:embed="rId47"/>
              <a:stretch/>
            </p:blipFill>
            <p:spPr>
              <a:xfrm>
                <a:off x="1174320" y="4033440"/>
                <a:ext cx="209520" cy="209520"/>
              </a:xfrm>
              <a:prstGeom prst="rect">
                <a:avLst/>
              </a:prstGeom>
              <a:ln w="0">
                <a:noFill/>
              </a:ln>
            </p:spPr>
          </p:pic>
          <p:pic>
            <p:nvPicPr>
              <p:cNvPr id="718" name="Grafik 498" descr="Mann"/>
              <p:cNvPicPr/>
              <p:nvPr/>
            </p:nvPicPr>
            <p:blipFill>
              <a:blip r:embed="rId48"/>
              <a:stretch/>
            </p:blipFill>
            <p:spPr>
              <a:xfrm>
                <a:off x="3469680" y="2999160"/>
                <a:ext cx="209520" cy="209520"/>
              </a:xfrm>
              <a:prstGeom prst="rect">
                <a:avLst/>
              </a:prstGeom>
              <a:ln w="0">
                <a:noFill/>
              </a:ln>
            </p:spPr>
          </p:pic>
          <p:pic>
            <p:nvPicPr>
              <p:cNvPr id="719" name="Grafik 499" descr="Mann"/>
              <p:cNvPicPr/>
              <p:nvPr/>
            </p:nvPicPr>
            <p:blipFill>
              <a:blip r:embed="rId49"/>
              <a:stretch/>
            </p:blipFill>
            <p:spPr>
              <a:xfrm>
                <a:off x="2274120" y="4587840"/>
                <a:ext cx="209520" cy="209520"/>
              </a:xfrm>
              <a:prstGeom prst="rect">
                <a:avLst/>
              </a:prstGeom>
              <a:ln w="0">
                <a:noFill/>
              </a:ln>
            </p:spPr>
          </p:pic>
          <p:pic>
            <p:nvPicPr>
              <p:cNvPr id="720" name="Grafik 500" descr="Mann"/>
              <p:cNvPicPr/>
              <p:nvPr/>
            </p:nvPicPr>
            <p:blipFill>
              <a:blip r:embed="rId50"/>
              <a:stretch/>
            </p:blipFill>
            <p:spPr>
              <a:xfrm>
                <a:off x="2708280" y="4515480"/>
                <a:ext cx="209520" cy="209520"/>
              </a:xfrm>
              <a:prstGeom prst="rect">
                <a:avLst/>
              </a:prstGeom>
              <a:ln w="0">
                <a:noFill/>
              </a:ln>
            </p:spPr>
          </p:pic>
          <p:pic>
            <p:nvPicPr>
              <p:cNvPr id="721" name="Grafik 501" descr="Mann"/>
              <p:cNvPicPr/>
              <p:nvPr/>
            </p:nvPicPr>
            <p:blipFill>
              <a:blip r:embed="rId51"/>
              <a:stretch/>
            </p:blipFill>
            <p:spPr>
              <a:xfrm>
                <a:off x="2826000" y="4641480"/>
                <a:ext cx="209520" cy="209520"/>
              </a:xfrm>
              <a:prstGeom prst="rect">
                <a:avLst/>
              </a:prstGeom>
              <a:ln w="0">
                <a:noFill/>
              </a:ln>
            </p:spPr>
          </p:pic>
          <p:pic>
            <p:nvPicPr>
              <p:cNvPr id="722" name="Grafik 502" descr="Mann"/>
              <p:cNvPicPr/>
              <p:nvPr/>
            </p:nvPicPr>
            <p:blipFill>
              <a:blip r:embed="rId52"/>
              <a:stretch/>
            </p:blipFill>
            <p:spPr>
              <a:xfrm>
                <a:off x="2127240" y="4119120"/>
                <a:ext cx="209520" cy="209520"/>
              </a:xfrm>
              <a:prstGeom prst="rect">
                <a:avLst/>
              </a:prstGeom>
              <a:ln w="0">
                <a:noFill/>
              </a:ln>
            </p:spPr>
          </p:pic>
          <p:pic>
            <p:nvPicPr>
              <p:cNvPr id="723" name="Grafik 503" descr="Mann"/>
              <p:cNvPicPr/>
              <p:nvPr/>
            </p:nvPicPr>
            <p:blipFill>
              <a:blip r:embed="rId53"/>
              <a:stretch/>
            </p:blipFill>
            <p:spPr>
              <a:xfrm>
                <a:off x="2046240" y="4238640"/>
                <a:ext cx="209520" cy="209520"/>
              </a:xfrm>
              <a:prstGeom prst="rect">
                <a:avLst/>
              </a:prstGeom>
              <a:ln w="0">
                <a:noFill/>
              </a:ln>
            </p:spPr>
          </p:pic>
          <p:pic>
            <p:nvPicPr>
              <p:cNvPr id="724" name="Grafik 504" descr="Mann"/>
              <p:cNvPicPr/>
              <p:nvPr/>
            </p:nvPicPr>
            <p:blipFill>
              <a:blip r:embed="rId54"/>
              <a:stretch/>
            </p:blipFill>
            <p:spPr>
              <a:xfrm>
                <a:off x="3552120" y="3494880"/>
                <a:ext cx="209520" cy="209520"/>
              </a:xfrm>
              <a:prstGeom prst="rect">
                <a:avLst/>
              </a:prstGeom>
              <a:ln w="0">
                <a:noFill/>
              </a:ln>
            </p:spPr>
          </p:pic>
          <p:pic>
            <p:nvPicPr>
              <p:cNvPr id="725" name="Grafik 505" descr="Mann"/>
              <p:cNvPicPr/>
              <p:nvPr/>
            </p:nvPicPr>
            <p:blipFill>
              <a:blip r:embed="rId55"/>
              <a:stretch/>
            </p:blipFill>
            <p:spPr>
              <a:xfrm>
                <a:off x="3489480" y="3666240"/>
                <a:ext cx="209520" cy="209520"/>
              </a:xfrm>
              <a:prstGeom prst="rect">
                <a:avLst/>
              </a:prstGeom>
              <a:ln w="0">
                <a:noFill/>
              </a:ln>
            </p:spPr>
          </p:pic>
          <p:pic>
            <p:nvPicPr>
              <p:cNvPr id="726" name="Grafik 506" descr="Mann"/>
              <p:cNvPicPr/>
              <p:nvPr/>
            </p:nvPicPr>
            <p:blipFill>
              <a:blip r:embed="rId56"/>
              <a:stretch/>
            </p:blipFill>
            <p:spPr>
              <a:xfrm>
                <a:off x="3408480" y="3868560"/>
                <a:ext cx="156960" cy="156960"/>
              </a:xfrm>
              <a:prstGeom prst="rect">
                <a:avLst/>
              </a:prstGeom>
              <a:ln w="0">
                <a:noFill/>
              </a:ln>
            </p:spPr>
          </p:pic>
          <p:pic>
            <p:nvPicPr>
              <p:cNvPr id="727" name="Grafik 507" descr="Mann"/>
              <p:cNvPicPr/>
              <p:nvPr/>
            </p:nvPicPr>
            <p:blipFill>
              <a:blip r:embed="rId57"/>
              <a:stretch/>
            </p:blipFill>
            <p:spPr>
              <a:xfrm>
                <a:off x="3560400" y="4105800"/>
                <a:ext cx="156960" cy="156960"/>
              </a:xfrm>
              <a:prstGeom prst="rect">
                <a:avLst/>
              </a:prstGeom>
              <a:ln w="0">
                <a:noFill/>
              </a:ln>
            </p:spPr>
          </p:pic>
          <p:pic>
            <p:nvPicPr>
              <p:cNvPr id="728" name="Grafik 508" descr="Mann"/>
              <p:cNvPicPr/>
              <p:nvPr/>
            </p:nvPicPr>
            <p:blipFill>
              <a:blip r:embed="rId58"/>
              <a:stretch/>
            </p:blipFill>
            <p:spPr>
              <a:xfrm>
                <a:off x="3839400" y="4399200"/>
                <a:ext cx="209520" cy="209520"/>
              </a:xfrm>
              <a:prstGeom prst="rect">
                <a:avLst/>
              </a:prstGeom>
              <a:ln w="0">
                <a:noFill/>
              </a:ln>
            </p:spPr>
          </p:pic>
          <p:pic>
            <p:nvPicPr>
              <p:cNvPr id="729" name="Grafik 509" descr="Mann"/>
              <p:cNvPicPr/>
              <p:nvPr/>
            </p:nvPicPr>
            <p:blipFill>
              <a:blip r:embed="rId59"/>
              <a:stretch/>
            </p:blipFill>
            <p:spPr>
              <a:xfrm>
                <a:off x="3759480" y="4600080"/>
                <a:ext cx="156960" cy="156960"/>
              </a:xfrm>
              <a:prstGeom prst="rect">
                <a:avLst/>
              </a:prstGeom>
              <a:ln w="0">
                <a:noFill/>
              </a:ln>
            </p:spPr>
          </p:pic>
          <p:pic>
            <p:nvPicPr>
              <p:cNvPr id="730" name="Grafik 510" descr="Mann"/>
              <p:cNvPicPr/>
              <p:nvPr/>
            </p:nvPicPr>
            <p:blipFill>
              <a:blip r:embed="rId60"/>
              <a:stretch/>
            </p:blipFill>
            <p:spPr>
              <a:xfrm>
                <a:off x="3466800" y="4677840"/>
                <a:ext cx="209520" cy="209520"/>
              </a:xfrm>
              <a:prstGeom prst="rect">
                <a:avLst/>
              </a:prstGeom>
              <a:ln w="0">
                <a:noFill/>
              </a:ln>
            </p:spPr>
          </p:pic>
          <p:pic>
            <p:nvPicPr>
              <p:cNvPr id="731" name="Grafik 511" descr="Mann"/>
              <p:cNvPicPr/>
              <p:nvPr/>
            </p:nvPicPr>
            <p:blipFill>
              <a:blip r:embed="rId61"/>
              <a:stretch/>
            </p:blipFill>
            <p:spPr>
              <a:xfrm>
                <a:off x="3173040" y="4829040"/>
                <a:ext cx="209520" cy="209520"/>
              </a:xfrm>
              <a:prstGeom prst="rect">
                <a:avLst/>
              </a:prstGeom>
              <a:ln w="0">
                <a:noFill/>
              </a:ln>
            </p:spPr>
          </p:pic>
          <p:pic>
            <p:nvPicPr>
              <p:cNvPr id="732" name="Grafik 512" descr="Mann"/>
              <p:cNvPicPr/>
              <p:nvPr/>
            </p:nvPicPr>
            <p:blipFill>
              <a:blip r:embed="rId62"/>
              <a:stretch/>
            </p:blipFill>
            <p:spPr>
              <a:xfrm>
                <a:off x="3548520" y="4966920"/>
                <a:ext cx="209520" cy="209520"/>
              </a:xfrm>
              <a:prstGeom prst="rect">
                <a:avLst/>
              </a:prstGeom>
              <a:ln w="0">
                <a:noFill/>
              </a:ln>
            </p:spPr>
          </p:pic>
          <p:pic>
            <p:nvPicPr>
              <p:cNvPr id="733" name="Grafik 513" descr="Mann"/>
              <p:cNvPicPr/>
              <p:nvPr/>
            </p:nvPicPr>
            <p:blipFill>
              <a:blip r:embed="rId63"/>
              <a:stretch/>
            </p:blipFill>
            <p:spPr>
              <a:xfrm>
                <a:off x="3258000" y="5242320"/>
                <a:ext cx="209520" cy="209520"/>
              </a:xfrm>
              <a:prstGeom prst="rect">
                <a:avLst/>
              </a:prstGeom>
              <a:ln w="0">
                <a:noFill/>
              </a:ln>
            </p:spPr>
          </p:pic>
          <p:pic>
            <p:nvPicPr>
              <p:cNvPr id="734" name="Grafik 514" descr="Mann"/>
              <p:cNvPicPr/>
              <p:nvPr/>
            </p:nvPicPr>
            <p:blipFill>
              <a:blip r:embed="rId64"/>
              <a:stretch/>
            </p:blipFill>
            <p:spPr>
              <a:xfrm>
                <a:off x="1451520" y="5136120"/>
                <a:ext cx="299880" cy="299880"/>
              </a:xfrm>
              <a:prstGeom prst="rect">
                <a:avLst/>
              </a:prstGeom>
              <a:ln w="0">
                <a:noFill/>
              </a:ln>
            </p:spPr>
          </p:pic>
          <p:pic>
            <p:nvPicPr>
              <p:cNvPr id="735" name="Grafik 515" descr="Mann"/>
              <p:cNvPicPr/>
              <p:nvPr/>
            </p:nvPicPr>
            <p:blipFill>
              <a:blip r:embed="rId65"/>
              <a:stretch/>
            </p:blipFill>
            <p:spPr>
              <a:xfrm>
                <a:off x="1164600" y="5241600"/>
                <a:ext cx="209520" cy="209520"/>
              </a:xfrm>
              <a:prstGeom prst="rect">
                <a:avLst/>
              </a:prstGeom>
              <a:ln w="0">
                <a:noFill/>
              </a:ln>
            </p:spPr>
          </p:pic>
          <p:pic>
            <p:nvPicPr>
              <p:cNvPr id="736" name="Grafik 516" descr="Mann"/>
              <p:cNvPicPr/>
              <p:nvPr/>
            </p:nvPicPr>
            <p:blipFill>
              <a:blip r:embed="rId66"/>
              <a:stretch/>
            </p:blipFill>
            <p:spPr>
              <a:xfrm>
                <a:off x="3055680" y="4614120"/>
                <a:ext cx="209520" cy="209520"/>
              </a:xfrm>
              <a:prstGeom prst="rect">
                <a:avLst/>
              </a:prstGeom>
              <a:ln w="0">
                <a:noFill/>
              </a:ln>
            </p:spPr>
          </p:pic>
          <p:pic>
            <p:nvPicPr>
              <p:cNvPr id="737" name="Grafik 517" descr="Mann"/>
              <p:cNvPicPr/>
              <p:nvPr/>
            </p:nvPicPr>
            <p:blipFill>
              <a:blip r:embed="rId67"/>
              <a:stretch/>
            </p:blipFill>
            <p:spPr>
              <a:xfrm>
                <a:off x="2747520" y="4302720"/>
                <a:ext cx="209520" cy="209520"/>
              </a:xfrm>
              <a:prstGeom prst="rect">
                <a:avLst/>
              </a:prstGeom>
              <a:ln w="0">
                <a:noFill/>
              </a:ln>
            </p:spPr>
          </p:pic>
          <p:pic>
            <p:nvPicPr>
              <p:cNvPr id="738" name="Grafik 518" descr="Mann"/>
              <p:cNvPicPr/>
              <p:nvPr/>
            </p:nvPicPr>
            <p:blipFill>
              <a:blip r:embed="rId68"/>
              <a:stretch/>
            </p:blipFill>
            <p:spPr>
              <a:xfrm>
                <a:off x="3192840" y="4403520"/>
                <a:ext cx="209520" cy="209520"/>
              </a:xfrm>
              <a:prstGeom prst="rect">
                <a:avLst/>
              </a:prstGeom>
              <a:ln w="0">
                <a:noFill/>
              </a:ln>
            </p:spPr>
          </p:pic>
          <p:sp>
            <p:nvSpPr>
              <p:cNvPr id="739" name="Textfeld 519"/>
              <p:cNvSpPr/>
              <p:nvPr/>
            </p:nvSpPr>
            <p:spPr>
              <a:xfrm>
                <a:off x="2404080" y="3436920"/>
                <a:ext cx="328320" cy="100080"/>
              </a:xfrm>
              <a:prstGeom prst="rect">
                <a:avLst/>
              </a:prstGeom>
              <a:noFill/>
              <a:ln w="0">
                <a:noFill/>
              </a:ln>
            </p:spPr>
            <p:style>
              <a:lnRef idx="0"/>
              <a:fillRef idx="0"/>
              <a:effectRef idx="0"/>
              <a:fontRef idx="minor"/>
            </p:style>
            <p:txBody>
              <a:bodyPr lIns="0" rIns="0" tIns="0" bIns="0" anchor="t">
                <a:noAutofit/>
              </a:bodyPr>
              <a:p>
                <a:pPr defTabSz="457200">
                  <a:lnSpc>
                    <a:spcPct val="100000"/>
                  </a:lnSpc>
                  <a:tabLst>
                    <a:tab algn="l" pos="0"/>
                  </a:tabLst>
                </a:pPr>
                <a:r>
                  <a:rPr b="0" lang="de-DE" sz="500" spc="-1" strike="noStrike">
                    <a:solidFill>
                      <a:srgbClr val="004b7d"/>
                    </a:solidFill>
                    <a:latin typeface="Arial"/>
                    <a:ea typeface="Arial"/>
                  </a:rPr>
                  <a:t>Norwegen</a:t>
                </a:r>
                <a:endParaRPr b="0" lang="en-US" sz="500" spc="-1" strike="noStrike">
                  <a:solidFill>
                    <a:srgbClr val="ffffff"/>
                  </a:solidFill>
                  <a:latin typeface="Calibri"/>
                </a:endParaRPr>
              </a:p>
            </p:txBody>
          </p:sp>
          <p:sp>
            <p:nvSpPr>
              <p:cNvPr id="740" name="Textfeld 520"/>
              <p:cNvSpPr/>
              <p:nvPr/>
            </p:nvSpPr>
            <p:spPr>
              <a:xfrm>
                <a:off x="2769120" y="3546720"/>
                <a:ext cx="406800" cy="100080"/>
              </a:xfrm>
              <a:prstGeom prst="rect">
                <a:avLst/>
              </a:prstGeom>
              <a:noFill/>
              <a:ln w="0">
                <a:noFill/>
              </a:ln>
            </p:spPr>
            <p:style>
              <a:lnRef idx="0"/>
              <a:fillRef idx="0"/>
              <a:effectRef idx="0"/>
              <a:fontRef idx="minor"/>
            </p:style>
            <p:txBody>
              <a:bodyPr lIns="0" rIns="0" tIns="0" bIns="0" anchor="t">
                <a:noAutofit/>
              </a:bodyPr>
              <a:p>
                <a:pPr defTabSz="457200">
                  <a:lnSpc>
                    <a:spcPct val="100000"/>
                  </a:lnSpc>
                  <a:tabLst>
                    <a:tab algn="l" pos="0"/>
                  </a:tabLst>
                </a:pPr>
                <a:r>
                  <a:rPr b="0" lang="de-DE" sz="500" spc="-1" strike="noStrike">
                    <a:solidFill>
                      <a:srgbClr val="004b7d"/>
                    </a:solidFill>
                    <a:latin typeface="Arial"/>
                    <a:ea typeface="Arial"/>
                  </a:rPr>
                  <a:t>Schweden</a:t>
                </a:r>
                <a:endParaRPr b="0" lang="en-US" sz="500" spc="-1" strike="noStrike">
                  <a:solidFill>
                    <a:srgbClr val="ffffff"/>
                  </a:solidFill>
                  <a:latin typeface="Calibri"/>
                </a:endParaRPr>
              </a:p>
            </p:txBody>
          </p:sp>
          <p:sp>
            <p:nvSpPr>
              <p:cNvPr id="741" name="Textfeld 521"/>
              <p:cNvSpPr/>
              <p:nvPr/>
            </p:nvSpPr>
            <p:spPr>
              <a:xfrm>
                <a:off x="3520080" y="3232440"/>
                <a:ext cx="406800" cy="100080"/>
              </a:xfrm>
              <a:prstGeom prst="rect">
                <a:avLst/>
              </a:prstGeom>
              <a:noFill/>
              <a:ln w="0">
                <a:noFill/>
              </a:ln>
            </p:spPr>
            <p:style>
              <a:lnRef idx="0"/>
              <a:fillRef idx="0"/>
              <a:effectRef idx="0"/>
              <a:fontRef idx="minor"/>
            </p:style>
            <p:txBody>
              <a:bodyPr lIns="0" rIns="0" tIns="0" bIns="0" anchor="t">
                <a:noAutofit/>
              </a:bodyPr>
              <a:p>
                <a:pPr defTabSz="457200">
                  <a:lnSpc>
                    <a:spcPct val="100000"/>
                  </a:lnSpc>
                  <a:tabLst>
                    <a:tab algn="l" pos="0"/>
                  </a:tabLst>
                </a:pPr>
                <a:r>
                  <a:rPr b="0" lang="de-DE" sz="500" spc="-1" strike="noStrike">
                    <a:solidFill>
                      <a:srgbClr val="004b7d"/>
                    </a:solidFill>
                    <a:latin typeface="Arial"/>
                    <a:ea typeface="Arial"/>
                  </a:rPr>
                  <a:t>Finnland</a:t>
                </a:r>
                <a:endParaRPr b="0" lang="en-US" sz="500" spc="-1" strike="noStrike">
                  <a:solidFill>
                    <a:srgbClr val="ffffff"/>
                  </a:solidFill>
                  <a:latin typeface="Calibri"/>
                </a:endParaRPr>
              </a:p>
            </p:txBody>
          </p:sp>
          <p:sp>
            <p:nvSpPr>
              <p:cNvPr id="742" name="Textfeld 522"/>
              <p:cNvSpPr/>
              <p:nvPr/>
            </p:nvSpPr>
            <p:spPr>
              <a:xfrm>
                <a:off x="2153160" y="3864240"/>
                <a:ext cx="406800" cy="100080"/>
              </a:xfrm>
              <a:prstGeom prst="rect">
                <a:avLst/>
              </a:prstGeom>
              <a:noFill/>
              <a:ln w="0">
                <a:noFill/>
              </a:ln>
            </p:spPr>
            <p:style>
              <a:lnRef idx="0"/>
              <a:fillRef idx="0"/>
              <a:effectRef idx="0"/>
              <a:fontRef idx="minor"/>
            </p:style>
            <p:txBody>
              <a:bodyPr lIns="0" rIns="0" tIns="0" bIns="0" anchor="t">
                <a:noAutofit/>
              </a:bodyPr>
              <a:p>
                <a:pPr defTabSz="457200">
                  <a:lnSpc>
                    <a:spcPct val="100000"/>
                  </a:lnSpc>
                  <a:tabLst>
                    <a:tab algn="l" pos="0"/>
                  </a:tabLst>
                </a:pPr>
                <a:r>
                  <a:rPr b="0" lang="de-DE" sz="500" spc="-1" strike="noStrike">
                    <a:solidFill>
                      <a:srgbClr val="004b7d"/>
                    </a:solidFill>
                    <a:latin typeface="Arial"/>
                    <a:ea typeface="Arial"/>
                  </a:rPr>
                  <a:t>Dänemark</a:t>
                </a:r>
                <a:endParaRPr b="0" lang="en-US" sz="500" spc="-1" strike="noStrike">
                  <a:solidFill>
                    <a:srgbClr val="ffffff"/>
                  </a:solidFill>
                  <a:latin typeface="Calibri"/>
                </a:endParaRPr>
              </a:p>
            </p:txBody>
          </p:sp>
          <p:sp>
            <p:nvSpPr>
              <p:cNvPr id="743" name="Textfeld 523"/>
              <p:cNvSpPr/>
              <p:nvPr/>
            </p:nvSpPr>
            <p:spPr>
              <a:xfrm>
                <a:off x="3731040" y="3637800"/>
                <a:ext cx="406800" cy="100080"/>
              </a:xfrm>
              <a:prstGeom prst="rect">
                <a:avLst/>
              </a:prstGeom>
              <a:noFill/>
              <a:ln w="0">
                <a:noFill/>
              </a:ln>
            </p:spPr>
            <p:style>
              <a:lnRef idx="0"/>
              <a:fillRef idx="0"/>
              <a:effectRef idx="0"/>
              <a:fontRef idx="minor"/>
            </p:style>
            <p:txBody>
              <a:bodyPr lIns="0" rIns="0" tIns="0" bIns="0" anchor="t">
                <a:noAutofit/>
              </a:bodyPr>
              <a:p>
                <a:pPr defTabSz="457200">
                  <a:lnSpc>
                    <a:spcPct val="100000"/>
                  </a:lnSpc>
                  <a:tabLst>
                    <a:tab algn="l" pos="0"/>
                  </a:tabLst>
                </a:pPr>
                <a:r>
                  <a:rPr b="0" lang="de-DE" sz="500" spc="-1" strike="noStrike">
                    <a:solidFill>
                      <a:srgbClr val="004b7d"/>
                    </a:solidFill>
                    <a:latin typeface="Arial"/>
                    <a:ea typeface="Arial"/>
                  </a:rPr>
                  <a:t>Estland</a:t>
                </a:r>
                <a:endParaRPr b="0" lang="en-US" sz="500" spc="-1" strike="noStrike">
                  <a:solidFill>
                    <a:srgbClr val="ffffff"/>
                  </a:solidFill>
                  <a:latin typeface="Calibri"/>
                </a:endParaRPr>
              </a:p>
            </p:txBody>
          </p:sp>
          <p:sp>
            <p:nvSpPr>
              <p:cNvPr id="744" name="Textfeld 524"/>
              <p:cNvSpPr/>
              <p:nvPr/>
            </p:nvSpPr>
            <p:spPr>
              <a:xfrm>
                <a:off x="3664440" y="3803040"/>
                <a:ext cx="406800" cy="100080"/>
              </a:xfrm>
              <a:prstGeom prst="rect">
                <a:avLst/>
              </a:prstGeom>
              <a:noFill/>
              <a:ln w="0">
                <a:noFill/>
              </a:ln>
            </p:spPr>
            <p:style>
              <a:lnRef idx="0"/>
              <a:fillRef idx="0"/>
              <a:effectRef idx="0"/>
              <a:fontRef idx="minor"/>
            </p:style>
            <p:txBody>
              <a:bodyPr lIns="0" rIns="0" tIns="0" bIns="0" anchor="t">
                <a:noAutofit/>
              </a:bodyPr>
              <a:p>
                <a:pPr defTabSz="457200">
                  <a:lnSpc>
                    <a:spcPct val="100000"/>
                  </a:lnSpc>
                  <a:tabLst>
                    <a:tab algn="l" pos="0"/>
                  </a:tabLst>
                </a:pPr>
                <a:r>
                  <a:rPr b="0" lang="de-DE" sz="500" spc="-1" strike="noStrike">
                    <a:solidFill>
                      <a:srgbClr val="004b7d"/>
                    </a:solidFill>
                    <a:latin typeface="Arial"/>
                    <a:ea typeface="Arial"/>
                  </a:rPr>
                  <a:t>Lettland</a:t>
                </a:r>
                <a:endParaRPr b="0" lang="en-US" sz="500" spc="-1" strike="noStrike">
                  <a:solidFill>
                    <a:srgbClr val="ffffff"/>
                  </a:solidFill>
                  <a:latin typeface="Calibri"/>
                </a:endParaRPr>
              </a:p>
            </p:txBody>
          </p:sp>
          <p:sp>
            <p:nvSpPr>
              <p:cNvPr id="745" name="Textfeld 525"/>
              <p:cNvSpPr/>
              <p:nvPr/>
            </p:nvSpPr>
            <p:spPr>
              <a:xfrm>
                <a:off x="3539520" y="3951720"/>
                <a:ext cx="406800" cy="100080"/>
              </a:xfrm>
              <a:prstGeom prst="rect">
                <a:avLst/>
              </a:prstGeom>
              <a:noFill/>
              <a:ln w="0">
                <a:noFill/>
              </a:ln>
            </p:spPr>
            <p:style>
              <a:lnRef idx="0"/>
              <a:fillRef idx="0"/>
              <a:effectRef idx="0"/>
              <a:fontRef idx="minor"/>
            </p:style>
            <p:txBody>
              <a:bodyPr lIns="0" rIns="0" tIns="0" bIns="0" anchor="t">
                <a:noAutofit/>
              </a:bodyPr>
              <a:p>
                <a:pPr defTabSz="457200">
                  <a:lnSpc>
                    <a:spcPct val="100000"/>
                  </a:lnSpc>
                  <a:tabLst>
                    <a:tab algn="l" pos="0"/>
                  </a:tabLst>
                </a:pPr>
                <a:r>
                  <a:rPr b="0" lang="de-DE" sz="500" spc="-1" strike="noStrike">
                    <a:solidFill>
                      <a:srgbClr val="004b7d"/>
                    </a:solidFill>
                    <a:latin typeface="Arial"/>
                    <a:ea typeface="Arial"/>
                  </a:rPr>
                  <a:t>Litauen</a:t>
                </a:r>
                <a:endParaRPr b="0" lang="en-US" sz="500" spc="-1" strike="noStrike">
                  <a:solidFill>
                    <a:srgbClr val="ffffff"/>
                  </a:solidFill>
                  <a:latin typeface="Calibri"/>
                </a:endParaRPr>
              </a:p>
            </p:txBody>
          </p:sp>
          <p:sp>
            <p:nvSpPr>
              <p:cNvPr id="746" name="Textfeld 526"/>
              <p:cNvSpPr/>
              <p:nvPr/>
            </p:nvSpPr>
            <p:spPr>
              <a:xfrm>
                <a:off x="1329120" y="4170960"/>
                <a:ext cx="264600" cy="104040"/>
              </a:xfrm>
              <a:prstGeom prst="rect">
                <a:avLst/>
              </a:prstGeom>
              <a:noFill/>
              <a:ln w="0">
                <a:noFill/>
              </a:ln>
            </p:spPr>
            <p:style>
              <a:lnRef idx="0"/>
              <a:fillRef idx="0"/>
              <a:effectRef idx="0"/>
              <a:fontRef idx="minor"/>
            </p:style>
            <p:txBody>
              <a:bodyPr lIns="0" rIns="0" tIns="0" bIns="0" anchor="t">
                <a:noAutofit/>
              </a:bodyPr>
              <a:p>
                <a:pPr defTabSz="457200">
                  <a:lnSpc>
                    <a:spcPct val="100000"/>
                  </a:lnSpc>
                  <a:tabLst>
                    <a:tab algn="l" pos="0"/>
                  </a:tabLst>
                </a:pPr>
                <a:r>
                  <a:rPr b="0" lang="de-DE" sz="500" spc="-1" strike="noStrike">
                    <a:solidFill>
                      <a:srgbClr val="004b7d"/>
                    </a:solidFill>
                    <a:latin typeface="Arial"/>
                    <a:ea typeface="Arial"/>
                  </a:rPr>
                  <a:t>Irland</a:t>
                </a:r>
                <a:endParaRPr b="0" lang="en-US" sz="500" spc="-1" strike="noStrike">
                  <a:solidFill>
                    <a:srgbClr val="ffffff"/>
                  </a:solidFill>
                  <a:latin typeface="Calibri"/>
                </a:endParaRPr>
              </a:p>
            </p:txBody>
          </p:sp>
          <p:sp>
            <p:nvSpPr>
              <p:cNvPr id="747" name="Textfeld 527"/>
              <p:cNvSpPr/>
              <p:nvPr/>
            </p:nvSpPr>
            <p:spPr>
              <a:xfrm>
                <a:off x="1523520" y="4271400"/>
                <a:ext cx="483840" cy="105120"/>
              </a:xfrm>
              <a:prstGeom prst="rect">
                <a:avLst/>
              </a:prstGeom>
              <a:noFill/>
              <a:ln w="0">
                <a:noFill/>
              </a:ln>
            </p:spPr>
            <p:style>
              <a:lnRef idx="0"/>
              <a:fillRef idx="0"/>
              <a:effectRef idx="0"/>
              <a:fontRef idx="minor"/>
            </p:style>
            <p:txBody>
              <a:bodyPr lIns="0" rIns="0" tIns="0" bIns="0" anchor="t">
                <a:noAutofit/>
              </a:bodyPr>
              <a:p>
                <a:pPr defTabSz="457200">
                  <a:lnSpc>
                    <a:spcPct val="100000"/>
                  </a:lnSpc>
                  <a:tabLst>
                    <a:tab algn="l" pos="0"/>
                  </a:tabLst>
                </a:pPr>
                <a:r>
                  <a:rPr b="0" lang="de-DE" sz="500" spc="-1" strike="noStrike">
                    <a:solidFill>
                      <a:srgbClr val="004b7d"/>
                    </a:solidFill>
                    <a:latin typeface="Arial"/>
                    <a:ea typeface="Arial"/>
                  </a:rPr>
                  <a:t>Großbritannien</a:t>
                </a:r>
                <a:endParaRPr b="0" lang="en-US" sz="500" spc="-1" strike="noStrike">
                  <a:solidFill>
                    <a:srgbClr val="ffffff"/>
                  </a:solidFill>
                  <a:latin typeface="Calibri"/>
                </a:endParaRPr>
              </a:p>
            </p:txBody>
          </p:sp>
          <p:sp>
            <p:nvSpPr>
              <p:cNvPr id="748" name="Textfeld 528"/>
              <p:cNvSpPr/>
              <p:nvPr/>
            </p:nvSpPr>
            <p:spPr>
              <a:xfrm>
                <a:off x="2095200" y="4063320"/>
                <a:ext cx="406800" cy="100080"/>
              </a:xfrm>
              <a:prstGeom prst="rect">
                <a:avLst/>
              </a:prstGeom>
              <a:noFill/>
              <a:ln w="0">
                <a:noFill/>
              </a:ln>
            </p:spPr>
            <p:style>
              <a:lnRef idx="0"/>
              <a:fillRef idx="0"/>
              <a:effectRef idx="0"/>
              <a:fontRef idx="minor"/>
            </p:style>
            <p:txBody>
              <a:bodyPr lIns="0" rIns="0" tIns="0" bIns="0" anchor="t">
                <a:noAutofit/>
              </a:bodyPr>
              <a:p>
                <a:pPr defTabSz="457200">
                  <a:lnSpc>
                    <a:spcPct val="100000"/>
                  </a:lnSpc>
                  <a:tabLst>
                    <a:tab algn="l" pos="0"/>
                  </a:tabLst>
                </a:pPr>
                <a:r>
                  <a:rPr b="0" lang="de-DE" sz="500" spc="-1" strike="noStrike">
                    <a:solidFill>
                      <a:srgbClr val="004b7d"/>
                    </a:solidFill>
                    <a:latin typeface="Arial"/>
                    <a:ea typeface="Arial"/>
                  </a:rPr>
                  <a:t>Niederlande</a:t>
                </a:r>
                <a:endParaRPr b="0" lang="en-US" sz="500" spc="-1" strike="noStrike">
                  <a:solidFill>
                    <a:srgbClr val="ffffff"/>
                  </a:solidFill>
                  <a:latin typeface="Calibri"/>
                </a:endParaRPr>
              </a:p>
            </p:txBody>
          </p:sp>
          <p:sp>
            <p:nvSpPr>
              <p:cNvPr id="749" name="Textfeld 529"/>
              <p:cNvSpPr/>
              <p:nvPr/>
            </p:nvSpPr>
            <p:spPr>
              <a:xfrm>
                <a:off x="1908360" y="4366440"/>
                <a:ext cx="254520" cy="88200"/>
              </a:xfrm>
              <a:prstGeom prst="rect">
                <a:avLst/>
              </a:prstGeom>
              <a:noFill/>
              <a:ln w="0">
                <a:noFill/>
              </a:ln>
            </p:spPr>
            <p:style>
              <a:lnRef idx="0"/>
              <a:fillRef idx="0"/>
              <a:effectRef idx="0"/>
              <a:fontRef idx="minor"/>
            </p:style>
            <p:txBody>
              <a:bodyPr lIns="0" rIns="0" tIns="0" bIns="0" anchor="t">
                <a:noAutofit/>
              </a:bodyPr>
              <a:p>
                <a:pPr defTabSz="457200">
                  <a:lnSpc>
                    <a:spcPct val="100000"/>
                  </a:lnSpc>
                  <a:tabLst>
                    <a:tab algn="l" pos="0"/>
                  </a:tabLst>
                </a:pPr>
                <a:r>
                  <a:rPr b="0" lang="de-DE" sz="500" spc="-1" strike="noStrike">
                    <a:solidFill>
                      <a:srgbClr val="004b7d"/>
                    </a:solidFill>
                    <a:latin typeface="Arial"/>
                    <a:ea typeface="Arial"/>
                  </a:rPr>
                  <a:t>Belgien</a:t>
                </a:r>
                <a:endParaRPr b="0" lang="en-US" sz="500" spc="-1" strike="noStrike">
                  <a:solidFill>
                    <a:srgbClr val="ffffff"/>
                  </a:solidFill>
                  <a:latin typeface="Calibri"/>
                </a:endParaRPr>
              </a:p>
            </p:txBody>
          </p:sp>
          <p:sp>
            <p:nvSpPr>
              <p:cNvPr id="750" name="Textfeld 530"/>
              <p:cNvSpPr/>
              <p:nvPr/>
            </p:nvSpPr>
            <p:spPr>
              <a:xfrm>
                <a:off x="1554120" y="4741560"/>
                <a:ext cx="406800" cy="100080"/>
              </a:xfrm>
              <a:prstGeom prst="rect">
                <a:avLst/>
              </a:prstGeom>
              <a:noFill/>
              <a:ln w="0">
                <a:noFill/>
              </a:ln>
            </p:spPr>
            <p:style>
              <a:lnRef idx="0"/>
              <a:fillRef idx="0"/>
              <a:effectRef idx="0"/>
              <a:fontRef idx="minor"/>
            </p:style>
            <p:txBody>
              <a:bodyPr lIns="0" rIns="0" tIns="0" bIns="0" anchor="t">
                <a:noAutofit/>
              </a:bodyPr>
              <a:p>
                <a:pPr defTabSz="457200">
                  <a:lnSpc>
                    <a:spcPct val="100000"/>
                  </a:lnSpc>
                  <a:tabLst>
                    <a:tab algn="l" pos="0"/>
                  </a:tabLst>
                </a:pPr>
                <a:r>
                  <a:rPr b="0" lang="de-DE" sz="500" spc="-1" strike="noStrike">
                    <a:solidFill>
                      <a:srgbClr val="004b7d"/>
                    </a:solidFill>
                    <a:latin typeface="Arial"/>
                    <a:ea typeface="Arial"/>
                  </a:rPr>
                  <a:t>Frankreich</a:t>
                </a:r>
                <a:endParaRPr b="0" lang="en-US" sz="500" spc="-1" strike="noStrike">
                  <a:solidFill>
                    <a:srgbClr val="ffffff"/>
                  </a:solidFill>
                  <a:latin typeface="Calibri"/>
                </a:endParaRPr>
              </a:p>
            </p:txBody>
          </p:sp>
          <p:sp>
            <p:nvSpPr>
              <p:cNvPr id="751" name="Textfeld 531"/>
              <p:cNvSpPr/>
              <p:nvPr/>
            </p:nvSpPr>
            <p:spPr>
              <a:xfrm>
                <a:off x="3073680" y="4284360"/>
                <a:ext cx="406800" cy="100080"/>
              </a:xfrm>
              <a:prstGeom prst="rect">
                <a:avLst/>
              </a:prstGeom>
              <a:noFill/>
              <a:ln w="0">
                <a:noFill/>
              </a:ln>
            </p:spPr>
            <p:style>
              <a:lnRef idx="0"/>
              <a:fillRef idx="0"/>
              <a:effectRef idx="0"/>
              <a:fontRef idx="minor"/>
            </p:style>
            <p:txBody>
              <a:bodyPr lIns="0" rIns="0" tIns="0" bIns="0" anchor="t">
                <a:noAutofit/>
              </a:bodyPr>
              <a:p>
                <a:pPr defTabSz="457200">
                  <a:lnSpc>
                    <a:spcPct val="100000"/>
                  </a:lnSpc>
                  <a:tabLst>
                    <a:tab algn="l" pos="0"/>
                  </a:tabLst>
                </a:pPr>
                <a:r>
                  <a:rPr b="0" lang="de-DE" sz="500" spc="-1" strike="noStrike">
                    <a:solidFill>
                      <a:srgbClr val="004b7d"/>
                    </a:solidFill>
                    <a:latin typeface="Arial"/>
                    <a:ea typeface="Arial"/>
                  </a:rPr>
                  <a:t>Polen</a:t>
                </a:r>
                <a:endParaRPr b="0" lang="en-US" sz="500" spc="-1" strike="noStrike">
                  <a:solidFill>
                    <a:srgbClr val="ffffff"/>
                  </a:solidFill>
                  <a:latin typeface="Calibri"/>
                </a:endParaRPr>
              </a:p>
            </p:txBody>
          </p:sp>
          <p:sp>
            <p:nvSpPr>
              <p:cNvPr id="752" name="Textfeld 532"/>
              <p:cNvSpPr/>
              <p:nvPr/>
            </p:nvSpPr>
            <p:spPr>
              <a:xfrm>
                <a:off x="2211840" y="4790880"/>
                <a:ext cx="286200" cy="73800"/>
              </a:xfrm>
              <a:prstGeom prst="rect">
                <a:avLst/>
              </a:prstGeom>
              <a:noFill/>
              <a:ln w="0">
                <a:noFill/>
              </a:ln>
            </p:spPr>
            <p:style>
              <a:lnRef idx="0"/>
              <a:fillRef idx="0"/>
              <a:effectRef idx="0"/>
              <a:fontRef idx="minor"/>
            </p:style>
            <p:txBody>
              <a:bodyPr lIns="0" rIns="0" tIns="0" bIns="0" anchor="t">
                <a:noAutofit/>
              </a:bodyPr>
              <a:p>
                <a:pPr defTabSz="457200">
                  <a:lnSpc>
                    <a:spcPct val="100000"/>
                  </a:lnSpc>
                  <a:tabLst>
                    <a:tab algn="l" pos="0"/>
                  </a:tabLst>
                </a:pPr>
                <a:r>
                  <a:rPr b="0" lang="de-DE" sz="500" spc="-1" strike="noStrike">
                    <a:solidFill>
                      <a:srgbClr val="004b7d"/>
                    </a:solidFill>
                    <a:latin typeface="Arial"/>
                    <a:ea typeface="Arial"/>
                  </a:rPr>
                  <a:t>Schweiz</a:t>
                </a:r>
                <a:endParaRPr b="0" lang="en-US" sz="500" spc="-1" strike="noStrike">
                  <a:solidFill>
                    <a:srgbClr val="ffffff"/>
                  </a:solidFill>
                  <a:latin typeface="Calibri"/>
                </a:endParaRPr>
              </a:p>
            </p:txBody>
          </p:sp>
          <p:sp>
            <p:nvSpPr>
              <p:cNvPr id="753" name="Textfeld 533"/>
              <p:cNvSpPr/>
              <p:nvPr/>
            </p:nvSpPr>
            <p:spPr>
              <a:xfrm>
                <a:off x="2585520" y="4713840"/>
                <a:ext cx="406800" cy="100080"/>
              </a:xfrm>
              <a:prstGeom prst="rect">
                <a:avLst/>
              </a:prstGeom>
              <a:noFill/>
              <a:ln w="0">
                <a:noFill/>
              </a:ln>
            </p:spPr>
            <p:style>
              <a:lnRef idx="0"/>
              <a:fillRef idx="0"/>
              <a:effectRef idx="0"/>
              <a:fontRef idx="minor"/>
            </p:style>
            <p:txBody>
              <a:bodyPr lIns="0" rIns="0" tIns="0" bIns="0" anchor="t">
                <a:noAutofit/>
              </a:bodyPr>
              <a:p>
                <a:pPr defTabSz="457200">
                  <a:lnSpc>
                    <a:spcPct val="100000"/>
                  </a:lnSpc>
                  <a:tabLst>
                    <a:tab algn="l" pos="0"/>
                  </a:tabLst>
                </a:pPr>
                <a:r>
                  <a:rPr b="0" lang="de-DE" sz="500" spc="-1" strike="noStrike">
                    <a:solidFill>
                      <a:srgbClr val="004b7d"/>
                    </a:solidFill>
                    <a:latin typeface="Arial"/>
                    <a:ea typeface="Arial"/>
                  </a:rPr>
                  <a:t>Österreich</a:t>
                </a:r>
                <a:endParaRPr b="0" lang="en-US" sz="500" spc="-1" strike="noStrike">
                  <a:solidFill>
                    <a:srgbClr val="ffffff"/>
                  </a:solidFill>
                  <a:latin typeface="Calibri"/>
                </a:endParaRPr>
              </a:p>
            </p:txBody>
          </p:sp>
          <p:sp>
            <p:nvSpPr>
              <p:cNvPr id="754" name="Textfeld 534"/>
              <p:cNvSpPr/>
              <p:nvPr/>
            </p:nvSpPr>
            <p:spPr>
              <a:xfrm>
                <a:off x="2890080" y="4449600"/>
                <a:ext cx="406800" cy="100080"/>
              </a:xfrm>
              <a:prstGeom prst="rect">
                <a:avLst/>
              </a:prstGeom>
              <a:noFill/>
              <a:ln w="0">
                <a:noFill/>
              </a:ln>
            </p:spPr>
            <p:style>
              <a:lnRef idx="0"/>
              <a:fillRef idx="0"/>
              <a:effectRef idx="0"/>
              <a:fontRef idx="minor"/>
            </p:style>
            <p:txBody>
              <a:bodyPr lIns="0" rIns="0" tIns="0" bIns="0" anchor="t">
                <a:noAutofit/>
              </a:bodyPr>
              <a:p>
                <a:pPr defTabSz="457200">
                  <a:lnSpc>
                    <a:spcPct val="100000"/>
                  </a:lnSpc>
                  <a:tabLst>
                    <a:tab algn="l" pos="0"/>
                  </a:tabLst>
                </a:pPr>
                <a:r>
                  <a:rPr b="0" lang="de-DE" sz="500" spc="-1" strike="noStrike">
                    <a:solidFill>
                      <a:srgbClr val="004b7d"/>
                    </a:solidFill>
                    <a:latin typeface="Arial"/>
                    <a:ea typeface="Arial"/>
                  </a:rPr>
                  <a:t>Tschechien</a:t>
                </a:r>
                <a:endParaRPr b="0" lang="en-US" sz="500" spc="-1" strike="noStrike">
                  <a:solidFill>
                    <a:srgbClr val="ffffff"/>
                  </a:solidFill>
                  <a:latin typeface="Calibri"/>
                </a:endParaRPr>
              </a:p>
            </p:txBody>
          </p:sp>
          <p:sp>
            <p:nvSpPr>
              <p:cNvPr id="755" name="Textfeld 535"/>
              <p:cNvSpPr/>
              <p:nvPr/>
            </p:nvSpPr>
            <p:spPr>
              <a:xfrm>
                <a:off x="3354840" y="4546080"/>
                <a:ext cx="406800" cy="100080"/>
              </a:xfrm>
              <a:prstGeom prst="rect">
                <a:avLst/>
              </a:prstGeom>
              <a:noFill/>
              <a:ln w="0">
                <a:noFill/>
              </a:ln>
            </p:spPr>
            <p:style>
              <a:lnRef idx="0"/>
              <a:fillRef idx="0"/>
              <a:effectRef idx="0"/>
              <a:fontRef idx="minor"/>
            </p:style>
            <p:txBody>
              <a:bodyPr lIns="0" rIns="0" tIns="0" bIns="0" anchor="t">
                <a:noAutofit/>
              </a:bodyPr>
              <a:p>
                <a:pPr defTabSz="457200">
                  <a:lnSpc>
                    <a:spcPct val="100000"/>
                  </a:lnSpc>
                  <a:tabLst>
                    <a:tab algn="l" pos="0"/>
                  </a:tabLst>
                </a:pPr>
                <a:r>
                  <a:rPr b="0" lang="de-DE" sz="500" spc="-1" strike="noStrike">
                    <a:solidFill>
                      <a:srgbClr val="004b7d"/>
                    </a:solidFill>
                    <a:latin typeface="Arial"/>
                    <a:ea typeface="Arial"/>
                  </a:rPr>
                  <a:t>Slowakei</a:t>
                </a:r>
                <a:endParaRPr b="0" lang="en-US" sz="500" spc="-1" strike="noStrike">
                  <a:solidFill>
                    <a:srgbClr val="ffffff"/>
                  </a:solidFill>
                  <a:latin typeface="Calibri"/>
                </a:endParaRPr>
              </a:p>
            </p:txBody>
          </p:sp>
          <p:sp>
            <p:nvSpPr>
              <p:cNvPr id="756" name="Textfeld 536"/>
              <p:cNvSpPr/>
              <p:nvPr/>
            </p:nvSpPr>
            <p:spPr>
              <a:xfrm>
                <a:off x="2787120" y="4842720"/>
                <a:ext cx="406800" cy="100080"/>
              </a:xfrm>
              <a:prstGeom prst="rect">
                <a:avLst/>
              </a:prstGeom>
              <a:noFill/>
              <a:ln w="0">
                <a:noFill/>
              </a:ln>
            </p:spPr>
            <p:style>
              <a:lnRef idx="0"/>
              <a:fillRef idx="0"/>
              <a:effectRef idx="0"/>
              <a:fontRef idx="minor"/>
            </p:style>
            <p:txBody>
              <a:bodyPr lIns="0" rIns="0" tIns="0" bIns="0" anchor="t">
                <a:noAutofit/>
              </a:bodyPr>
              <a:p>
                <a:pPr defTabSz="457200">
                  <a:lnSpc>
                    <a:spcPct val="100000"/>
                  </a:lnSpc>
                  <a:tabLst>
                    <a:tab algn="l" pos="0"/>
                  </a:tabLst>
                </a:pPr>
                <a:r>
                  <a:rPr b="0" lang="de-DE" sz="500" spc="-1" strike="noStrike">
                    <a:solidFill>
                      <a:srgbClr val="004b7d"/>
                    </a:solidFill>
                    <a:latin typeface="Arial"/>
                    <a:ea typeface="Arial"/>
                  </a:rPr>
                  <a:t>Slowenien</a:t>
                </a:r>
                <a:endParaRPr b="0" lang="en-US" sz="500" spc="-1" strike="noStrike">
                  <a:solidFill>
                    <a:srgbClr val="ffffff"/>
                  </a:solidFill>
                  <a:latin typeface="Calibri"/>
                </a:endParaRPr>
              </a:p>
            </p:txBody>
          </p:sp>
          <p:sp>
            <p:nvSpPr>
              <p:cNvPr id="757" name="Textfeld 537"/>
              <p:cNvSpPr/>
              <p:nvPr/>
            </p:nvSpPr>
            <p:spPr>
              <a:xfrm>
                <a:off x="2712600" y="5046480"/>
                <a:ext cx="406800" cy="100080"/>
              </a:xfrm>
              <a:prstGeom prst="rect">
                <a:avLst/>
              </a:prstGeom>
              <a:noFill/>
              <a:ln w="0">
                <a:noFill/>
              </a:ln>
            </p:spPr>
            <p:style>
              <a:lnRef idx="0"/>
              <a:fillRef idx="0"/>
              <a:effectRef idx="0"/>
              <a:fontRef idx="minor"/>
            </p:style>
            <p:txBody>
              <a:bodyPr lIns="0" rIns="0" tIns="0" bIns="0" anchor="t">
                <a:noAutofit/>
              </a:bodyPr>
              <a:p>
                <a:pPr defTabSz="457200">
                  <a:lnSpc>
                    <a:spcPct val="100000"/>
                  </a:lnSpc>
                  <a:tabLst>
                    <a:tab algn="l" pos="0"/>
                  </a:tabLst>
                </a:pPr>
                <a:r>
                  <a:rPr b="0" lang="de-DE" sz="500" spc="-1" strike="noStrike">
                    <a:solidFill>
                      <a:srgbClr val="004b7d"/>
                    </a:solidFill>
                    <a:latin typeface="Arial"/>
                    <a:ea typeface="Arial"/>
                  </a:rPr>
                  <a:t>Italien</a:t>
                </a:r>
                <a:endParaRPr b="0" lang="en-US" sz="500" spc="-1" strike="noStrike">
                  <a:solidFill>
                    <a:srgbClr val="ffffff"/>
                  </a:solidFill>
                  <a:latin typeface="Calibri"/>
                </a:endParaRPr>
              </a:p>
            </p:txBody>
          </p:sp>
          <p:sp>
            <p:nvSpPr>
              <p:cNvPr id="758" name="Textfeld 538"/>
              <p:cNvSpPr/>
              <p:nvPr/>
            </p:nvSpPr>
            <p:spPr>
              <a:xfrm>
                <a:off x="3217680" y="4746960"/>
                <a:ext cx="406800" cy="100080"/>
              </a:xfrm>
              <a:prstGeom prst="rect">
                <a:avLst/>
              </a:prstGeom>
              <a:noFill/>
              <a:ln w="0">
                <a:noFill/>
              </a:ln>
            </p:spPr>
            <p:style>
              <a:lnRef idx="0"/>
              <a:fillRef idx="0"/>
              <a:effectRef idx="0"/>
              <a:fontRef idx="minor"/>
            </p:style>
            <p:txBody>
              <a:bodyPr lIns="0" rIns="0" tIns="0" bIns="0" anchor="t">
                <a:noAutofit/>
              </a:bodyPr>
              <a:p>
                <a:pPr defTabSz="457200">
                  <a:lnSpc>
                    <a:spcPct val="100000"/>
                  </a:lnSpc>
                  <a:tabLst>
                    <a:tab algn="l" pos="0"/>
                  </a:tabLst>
                </a:pPr>
                <a:r>
                  <a:rPr b="0" lang="de-DE" sz="500" spc="-1" strike="noStrike">
                    <a:solidFill>
                      <a:srgbClr val="004b7d"/>
                    </a:solidFill>
                    <a:latin typeface="Arial"/>
                    <a:ea typeface="Arial"/>
                  </a:rPr>
                  <a:t>Ungarn</a:t>
                </a:r>
                <a:endParaRPr b="0" lang="en-US" sz="500" spc="-1" strike="noStrike">
                  <a:solidFill>
                    <a:srgbClr val="ffffff"/>
                  </a:solidFill>
                  <a:latin typeface="Calibri"/>
                </a:endParaRPr>
              </a:p>
            </p:txBody>
          </p:sp>
          <p:sp>
            <p:nvSpPr>
              <p:cNvPr id="759" name="Textfeld 539"/>
              <p:cNvSpPr/>
              <p:nvPr/>
            </p:nvSpPr>
            <p:spPr>
              <a:xfrm>
                <a:off x="3463920" y="4870440"/>
                <a:ext cx="406800" cy="100080"/>
              </a:xfrm>
              <a:prstGeom prst="rect">
                <a:avLst/>
              </a:prstGeom>
              <a:noFill/>
              <a:ln w="0">
                <a:noFill/>
              </a:ln>
            </p:spPr>
            <p:style>
              <a:lnRef idx="0"/>
              <a:fillRef idx="0"/>
              <a:effectRef idx="0"/>
              <a:fontRef idx="minor"/>
            </p:style>
            <p:txBody>
              <a:bodyPr lIns="0" rIns="0" tIns="0" bIns="0" anchor="t">
                <a:noAutofit/>
              </a:bodyPr>
              <a:p>
                <a:pPr defTabSz="457200">
                  <a:lnSpc>
                    <a:spcPct val="100000"/>
                  </a:lnSpc>
                  <a:tabLst>
                    <a:tab algn="l" pos="0"/>
                  </a:tabLst>
                </a:pPr>
                <a:r>
                  <a:rPr b="0" lang="de-DE" sz="500" spc="-1" strike="noStrike">
                    <a:solidFill>
                      <a:srgbClr val="004b7d"/>
                    </a:solidFill>
                    <a:latin typeface="Arial"/>
                    <a:ea typeface="Arial"/>
                  </a:rPr>
                  <a:t>Rumänien</a:t>
                </a:r>
                <a:endParaRPr b="0" lang="en-US" sz="500" spc="-1" strike="noStrike">
                  <a:solidFill>
                    <a:srgbClr val="ffffff"/>
                  </a:solidFill>
                  <a:latin typeface="Calibri"/>
                </a:endParaRPr>
              </a:p>
            </p:txBody>
          </p:sp>
          <p:sp>
            <p:nvSpPr>
              <p:cNvPr id="760" name="Textfeld 540"/>
              <p:cNvSpPr/>
              <p:nvPr/>
            </p:nvSpPr>
            <p:spPr>
              <a:xfrm>
                <a:off x="3322800" y="4965120"/>
                <a:ext cx="303120" cy="98280"/>
              </a:xfrm>
              <a:prstGeom prst="rect">
                <a:avLst/>
              </a:prstGeom>
              <a:noFill/>
              <a:ln w="0">
                <a:noFill/>
              </a:ln>
            </p:spPr>
            <p:style>
              <a:lnRef idx="0"/>
              <a:fillRef idx="0"/>
              <a:effectRef idx="0"/>
              <a:fontRef idx="minor"/>
            </p:style>
            <p:txBody>
              <a:bodyPr lIns="0" rIns="0" tIns="0" bIns="0" anchor="t">
                <a:noAutofit/>
              </a:bodyPr>
              <a:p>
                <a:pPr defTabSz="457200">
                  <a:lnSpc>
                    <a:spcPct val="100000"/>
                  </a:lnSpc>
                  <a:tabLst>
                    <a:tab algn="l" pos="0"/>
                  </a:tabLst>
                </a:pPr>
                <a:r>
                  <a:rPr b="0" lang="de-DE" sz="500" spc="-1" strike="noStrike">
                    <a:solidFill>
                      <a:srgbClr val="004b7d"/>
                    </a:solidFill>
                    <a:latin typeface="Arial"/>
                    <a:ea typeface="Arial"/>
                  </a:rPr>
                  <a:t>Serbien</a:t>
                </a:r>
                <a:endParaRPr b="0" lang="en-US" sz="500" spc="-1" strike="noStrike">
                  <a:solidFill>
                    <a:srgbClr val="ffffff"/>
                  </a:solidFill>
                  <a:latin typeface="Calibri"/>
                </a:endParaRPr>
              </a:p>
            </p:txBody>
          </p:sp>
          <p:sp>
            <p:nvSpPr>
              <p:cNvPr id="761" name="Textfeld 541"/>
              <p:cNvSpPr/>
              <p:nvPr/>
            </p:nvSpPr>
            <p:spPr>
              <a:xfrm>
                <a:off x="3708720" y="5097240"/>
                <a:ext cx="406800" cy="100080"/>
              </a:xfrm>
              <a:prstGeom prst="rect">
                <a:avLst/>
              </a:prstGeom>
              <a:noFill/>
              <a:ln w="0">
                <a:noFill/>
              </a:ln>
            </p:spPr>
            <p:style>
              <a:lnRef idx="0"/>
              <a:fillRef idx="0"/>
              <a:effectRef idx="0"/>
              <a:fontRef idx="minor"/>
            </p:style>
            <p:txBody>
              <a:bodyPr lIns="0" rIns="0" tIns="0" bIns="0" anchor="t">
                <a:noAutofit/>
              </a:bodyPr>
              <a:p>
                <a:pPr defTabSz="457200">
                  <a:lnSpc>
                    <a:spcPct val="100000"/>
                  </a:lnSpc>
                  <a:tabLst>
                    <a:tab algn="l" pos="0"/>
                  </a:tabLst>
                </a:pPr>
                <a:r>
                  <a:rPr b="0" lang="de-DE" sz="500" spc="-1" strike="noStrike">
                    <a:solidFill>
                      <a:srgbClr val="004b7d"/>
                    </a:solidFill>
                    <a:latin typeface="Arial"/>
                    <a:ea typeface="Arial"/>
                  </a:rPr>
                  <a:t>Bulgarien</a:t>
                </a:r>
                <a:endParaRPr b="0" lang="en-US" sz="500" spc="-1" strike="noStrike">
                  <a:solidFill>
                    <a:srgbClr val="ffffff"/>
                  </a:solidFill>
                  <a:latin typeface="Calibri"/>
                </a:endParaRPr>
              </a:p>
            </p:txBody>
          </p:sp>
          <p:sp>
            <p:nvSpPr>
              <p:cNvPr id="762" name="Textfeld 542"/>
              <p:cNvSpPr/>
              <p:nvPr/>
            </p:nvSpPr>
            <p:spPr>
              <a:xfrm>
                <a:off x="3222000" y="5459400"/>
                <a:ext cx="406800" cy="100080"/>
              </a:xfrm>
              <a:prstGeom prst="rect">
                <a:avLst/>
              </a:prstGeom>
              <a:noFill/>
              <a:ln w="0">
                <a:noFill/>
              </a:ln>
            </p:spPr>
            <p:style>
              <a:lnRef idx="0"/>
              <a:fillRef idx="0"/>
              <a:effectRef idx="0"/>
              <a:fontRef idx="minor"/>
            </p:style>
            <p:txBody>
              <a:bodyPr lIns="0" rIns="0" tIns="0" bIns="0" anchor="t">
                <a:noAutofit/>
              </a:bodyPr>
              <a:p>
                <a:pPr defTabSz="457200">
                  <a:lnSpc>
                    <a:spcPct val="100000"/>
                  </a:lnSpc>
                  <a:tabLst>
                    <a:tab algn="l" pos="0"/>
                  </a:tabLst>
                </a:pPr>
                <a:r>
                  <a:rPr b="0" lang="de-DE" sz="500" spc="-1" strike="noStrike">
                    <a:solidFill>
                      <a:srgbClr val="004b7d"/>
                    </a:solidFill>
                    <a:latin typeface="Arial"/>
                    <a:ea typeface="Arial"/>
                  </a:rPr>
                  <a:t>Griechenland</a:t>
                </a:r>
                <a:endParaRPr b="0" lang="en-US" sz="500" spc="-1" strike="noStrike">
                  <a:solidFill>
                    <a:srgbClr val="ffffff"/>
                  </a:solidFill>
                  <a:latin typeface="Calibri"/>
                </a:endParaRPr>
              </a:p>
            </p:txBody>
          </p:sp>
          <p:sp>
            <p:nvSpPr>
              <p:cNvPr id="763" name="Textfeld 543"/>
              <p:cNvSpPr/>
              <p:nvPr/>
            </p:nvSpPr>
            <p:spPr>
              <a:xfrm>
                <a:off x="1683000" y="5361120"/>
                <a:ext cx="406800" cy="100080"/>
              </a:xfrm>
              <a:prstGeom prst="rect">
                <a:avLst/>
              </a:prstGeom>
              <a:noFill/>
              <a:ln w="0">
                <a:noFill/>
              </a:ln>
            </p:spPr>
            <p:style>
              <a:lnRef idx="0"/>
              <a:fillRef idx="0"/>
              <a:effectRef idx="0"/>
              <a:fontRef idx="minor"/>
            </p:style>
            <p:txBody>
              <a:bodyPr lIns="0" rIns="0" tIns="0" bIns="0" anchor="t">
                <a:noAutofit/>
              </a:bodyPr>
              <a:p>
                <a:pPr defTabSz="457200">
                  <a:lnSpc>
                    <a:spcPct val="100000"/>
                  </a:lnSpc>
                  <a:tabLst>
                    <a:tab algn="l" pos="0"/>
                  </a:tabLst>
                </a:pPr>
                <a:r>
                  <a:rPr b="0" lang="de-DE" sz="500" spc="-1" strike="noStrike">
                    <a:solidFill>
                      <a:srgbClr val="004b7d"/>
                    </a:solidFill>
                    <a:latin typeface="Arial"/>
                    <a:ea typeface="Arial"/>
                  </a:rPr>
                  <a:t>Spanien</a:t>
                </a:r>
                <a:endParaRPr b="0" lang="en-US" sz="500" spc="-1" strike="noStrike">
                  <a:solidFill>
                    <a:srgbClr val="ffffff"/>
                  </a:solidFill>
                  <a:latin typeface="Calibri"/>
                </a:endParaRPr>
              </a:p>
            </p:txBody>
          </p:sp>
          <p:sp>
            <p:nvSpPr>
              <p:cNvPr id="764" name="Textfeld 544"/>
              <p:cNvSpPr/>
              <p:nvPr/>
            </p:nvSpPr>
            <p:spPr>
              <a:xfrm>
                <a:off x="973440" y="5386320"/>
                <a:ext cx="354240" cy="79920"/>
              </a:xfrm>
              <a:prstGeom prst="rect">
                <a:avLst/>
              </a:prstGeom>
              <a:noFill/>
              <a:ln w="0">
                <a:noFill/>
              </a:ln>
            </p:spPr>
            <p:style>
              <a:lnRef idx="0"/>
              <a:fillRef idx="0"/>
              <a:effectRef idx="0"/>
              <a:fontRef idx="minor"/>
            </p:style>
            <p:txBody>
              <a:bodyPr lIns="0" rIns="0" tIns="0" bIns="0" anchor="t">
                <a:noAutofit/>
              </a:bodyPr>
              <a:p>
                <a:pPr defTabSz="457200">
                  <a:lnSpc>
                    <a:spcPct val="100000"/>
                  </a:lnSpc>
                  <a:tabLst>
                    <a:tab algn="l" pos="0"/>
                  </a:tabLst>
                </a:pPr>
                <a:r>
                  <a:rPr b="0" lang="de-DE" sz="500" spc="-1" strike="noStrike">
                    <a:solidFill>
                      <a:srgbClr val="004b7d"/>
                    </a:solidFill>
                    <a:latin typeface="Arial"/>
                    <a:ea typeface="Arial"/>
                  </a:rPr>
                  <a:t>Portugal</a:t>
                </a:r>
                <a:endParaRPr b="0" lang="en-US" sz="500" spc="-1" strike="noStrike">
                  <a:solidFill>
                    <a:srgbClr val="ffffff"/>
                  </a:solidFill>
                  <a:latin typeface="Calibri"/>
                </a:endParaRPr>
              </a:p>
            </p:txBody>
          </p:sp>
          <p:sp>
            <p:nvSpPr>
              <p:cNvPr id="765" name="Textfeld 545"/>
              <p:cNvSpPr/>
              <p:nvPr/>
            </p:nvSpPr>
            <p:spPr>
              <a:xfrm>
                <a:off x="3986640" y="4538880"/>
                <a:ext cx="340560" cy="109800"/>
              </a:xfrm>
              <a:prstGeom prst="rect">
                <a:avLst/>
              </a:prstGeom>
              <a:noFill/>
              <a:ln w="0">
                <a:noFill/>
              </a:ln>
            </p:spPr>
            <p:style>
              <a:lnRef idx="0"/>
              <a:fillRef idx="0"/>
              <a:effectRef idx="0"/>
              <a:fontRef idx="minor"/>
            </p:style>
            <p:txBody>
              <a:bodyPr lIns="0" rIns="0" tIns="0" bIns="0" anchor="t">
                <a:noAutofit/>
              </a:bodyPr>
              <a:p>
                <a:pPr defTabSz="457200">
                  <a:lnSpc>
                    <a:spcPct val="100000"/>
                  </a:lnSpc>
                  <a:tabLst>
                    <a:tab algn="l" pos="0"/>
                  </a:tabLst>
                </a:pPr>
                <a:r>
                  <a:rPr b="0" lang="de-DE" sz="500" spc="-1" strike="noStrike">
                    <a:solidFill>
                      <a:srgbClr val="004b7d"/>
                    </a:solidFill>
                    <a:latin typeface="Arial"/>
                    <a:ea typeface="Arial"/>
                  </a:rPr>
                  <a:t>Ukraine</a:t>
                </a:r>
                <a:endParaRPr b="0" lang="en-US" sz="500" spc="-1" strike="noStrike">
                  <a:solidFill>
                    <a:srgbClr val="ffffff"/>
                  </a:solidFill>
                  <a:latin typeface="Calibri"/>
                </a:endParaRPr>
              </a:p>
            </p:txBody>
          </p:sp>
          <p:sp>
            <p:nvSpPr>
              <p:cNvPr id="766" name="Textfeld 546"/>
              <p:cNvSpPr/>
              <p:nvPr/>
            </p:nvSpPr>
            <p:spPr>
              <a:xfrm>
                <a:off x="3699000" y="4761360"/>
                <a:ext cx="406800" cy="100080"/>
              </a:xfrm>
              <a:prstGeom prst="rect">
                <a:avLst/>
              </a:prstGeom>
              <a:noFill/>
              <a:ln w="0">
                <a:noFill/>
              </a:ln>
            </p:spPr>
            <p:style>
              <a:lnRef idx="0"/>
              <a:fillRef idx="0"/>
              <a:effectRef idx="0"/>
              <a:fontRef idx="minor"/>
            </p:style>
            <p:txBody>
              <a:bodyPr lIns="0" rIns="0" tIns="0" bIns="0" anchor="t">
                <a:noAutofit/>
              </a:bodyPr>
              <a:p>
                <a:pPr defTabSz="457200">
                  <a:lnSpc>
                    <a:spcPct val="100000"/>
                  </a:lnSpc>
                  <a:tabLst>
                    <a:tab algn="l" pos="0"/>
                  </a:tabLst>
                </a:pPr>
                <a:r>
                  <a:rPr b="0" lang="de-DE" sz="500" spc="-1" strike="noStrike">
                    <a:solidFill>
                      <a:srgbClr val="004b7d"/>
                    </a:solidFill>
                    <a:latin typeface="Arial"/>
                    <a:ea typeface="Arial"/>
                  </a:rPr>
                  <a:t>Moldawien</a:t>
                </a:r>
                <a:endParaRPr b="0" lang="en-US" sz="500" spc="-1" strike="noStrike">
                  <a:solidFill>
                    <a:srgbClr val="ffffff"/>
                  </a:solidFill>
                  <a:latin typeface="Calibri"/>
                </a:endParaRPr>
              </a:p>
            </p:txBody>
          </p:sp>
          <p:sp>
            <p:nvSpPr>
              <p:cNvPr id="767" name="Textfeld 547"/>
              <p:cNvSpPr/>
              <p:nvPr/>
            </p:nvSpPr>
            <p:spPr>
              <a:xfrm>
                <a:off x="3702240" y="4185000"/>
                <a:ext cx="406800" cy="100080"/>
              </a:xfrm>
              <a:prstGeom prst="rect">
                <a:avLst/>
              </a:prstGeom>
              <a:noFill/>
              <a:ln w="0">
                <a:noFill/>
              </a:ln>
            </p:spPr>
            <p:style>
              <a:lnRef idx="0"/>
              <a:fillRef idx="0"/>
              <a:effectRef idx="0"/>
              <a:fontRef idx="minor"/>
            </p:style>
            <p:txBody>
              <a:bodyPr lIns="0" rIns="0" tIns="0" bIns="0" anchor="t">
                <a:noAutofit/>
              </a:bodyPr>
              <a:p>
                <a:pPr defTabSz="457200">
                  <a:lnSpc>
                    <a:spcPct val="100000"/>
                  </a:lnSpc>
                  <a:tabLst>
                    <a:tab algn="l" pos="0"/>
                  </a:tabLst>
                </a:pPr>
                <a:r>
                  <a:rPr b="0" lang="de-DE" sz="500" spc="-1" strike="noStrike">
                    <a:solidFill>
                      <a:srgbClr val="004b7d"/>
                    </a:solidFill>
                    <a:latin typeface="Arial"/>
                    <a:ea typeface="Arial"/>
                  </a:rPr>
                  <a:t>Weißrussland</a:t>
                </a:r>
                <a:endParaRPr b="0" lang="en-US" sz="500" spc="-1" strike="noStrike">
                  <a:solidFill>
                    <a:srgbClr val="ffffff"/>
                  </a:solidFill>
                  <a:latin typeface="Calibri"/>
                </a:endParaRPr>
              </a:p>
            </p:txBody>
          </p:sp>
          <p:sp>
            <p:nvSpPr>
              <p:cNvPr id="768" name="Ellipse 548"/>
              <p:cNvSpPr/>
              <p:nvPr/>
            </p:nvSpPr>
            <p:spPr>
              <a:xfrm>
                <a:off x="2498040" y="4158360"/>
                <a:ext cx="82080" cy="8208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p:style>
            <p:txBody>
              <a:bodyPr lIns="90000" rIns="90000" tIns="13320" bIns="13320" anchor="ctr">
                <a:noAutofit/>
              </a:bodyPr>
              <a:p>
                <a:pPr algn="ctr" defTabSz="457200">
                  <a:lnSpc>
                    <a:spcPct val="100000"/>
                  </a:lnSpc>
                  <a:tabLst>
                    <a:tab algn="l" pos="0"/>
                  </a:tabLst>
                </a:pPr>
                <a:endParaRPr b="0" lang="de-DE" sz="1600" spc="-1" strike="noStrike">
                  <a:solidFill>
                    <a:srgbClr val="000000"/>
                  </a:solidFill>
                  <a:latin typeface="Arial"/>
                  <a:ea typeface="Arial"/>
                </a:endParaRPr>
              </a:p>
            </p:txBody>
          </p:sp>
          <p:cxnSp>
            <p:nvCxnSpPr>
              <p:cNvPr id="769" name="Gerader Verbinder 727"/>
              <p:cNvCxnSpPr/>
              <p:nvPr/>
            </p:nvCxnSpPr>
            <p:spPr>
              <a:xfrm>
                <a:off x="1685880" y="4142520"/>
                <a:ext cx="812520" cy="57240"/>
              </a:xfrm>
              <a:prstGeom prst="straightConnector1">
                <a:avLst/>
              </a:prstGeom>
              <a:ln>
                <a:solidFill>
                  <a:srgbClr val="004b7d"/>
                </a:solidFill>
              </a:ln>
            </p:spPr>
          </p:cxnSp>
          <p:cxnSp>
            <p:nvCxnSpPr>
              <p:cNvPr id="770" name="Gerader Verbinder 728"/>
              <p:cNvCxnSpPr/>
              <p:nvPr/>
            </p:nvCxnSpPr>
            <p:spPr>
              <a:xfrm>
                <a:off x="1316520" y="4151880"/>
                <a:ext cx="1181880" cy="47880"/>
              </a:xfrm>
              <a:prstGeom prst="straightConnector1">
                <a:avLst/>
              </a:prstGeom>
              <a:ln>
                <a:solidFill>
                  <a:srgbClr val="004b7d"/>
                </a:solidFill>
              </a:ln>
            </p:spPr>
          </p:cxnSp>
          <p:cxnSp>
            <p:nvCxnSpPr>
              <p:cNvPr id="771" name="Gerader Verbinder 729"/>
              <p:cNvCxnSpPr/>
              <p:nvPr/>
            </p:nvCxnSpPr>
            <p:spPr>
              <a:xfrm flipV="1">
                <a:off x="2188080" y="4228560"/>
                <a:ext cx="322200" cy="123840"/>
              </a:xfrm>
              <a:prstGeom prst="straightConnector1">
                <a:avLst/>
              </a:prstGeom>
              <a:ln>
                <a:solidFill>
                  <a:srgbClr val="004b7d"/>
                </a:solidFill>
              </a:ln>
            </p:spPr>
          </p:cxnSp>
          <p:cxnSp>
            <p:nvCxnSpPr>
              <p:cNvPr id="772" name="Gerader Verbinder 730"/>
              <p:cNvCxnSpPr/>
              <p:nvPr/>
            </p:nvCxnSpPr>
            <p:spPr>
              <a:xfrm flipV="1">
                <a:off x="1830960" y="4228560"/>
                <a:ext cx="679320" cy="378720"/>
              </a:xfrm>
              <a:prstGeom prst="straightConnector1">
                <a:avLst/>
              </a:prstGeom>
              <a:ln>
                <a:solidFill>
                  <a:srgbClr val="004b7d"/>
                </a:solidFill>
              </a:ln>
            </p:spPr>
          </p:cxnSp>
          <p:cxnSp>
            <p:nvCxnSpPr>
              <p:cNvPr id="773" name="Gerader Verbinder 731"/>
              <p:cNvCxnSpPr/>
              <p:nvPr/>
            </p:nvCxnSpPr>
            <p:spPr>
              <a:xfrm flipV="1">
                <a:off x="2271600" y="4199400"/>
                <a:ext cx="226800" cy="33840"/>
              </a:xfrm>
              <a:prstGeom prst="straightConnector1">
                <a:avLst/>
              </a:prstGeom>
              <a:ln>
                <a:solidFill>
                  <a:srgbClr val="004b7d"/>
                </a:solidFill>
              </a:ln>
            </p:spPr>
          </p:cxnSp>
          <p:cxnSp>
            <p:nvCxnSpPr>
              <p:cNvPr id="774" name="Gerader Verbinder 733"/>
              <p:cNvCxnSpPr/>
              <p:nvPr/>
            </p:nvCxnSpPr>
            <p:spPr>
              <a:xfrm flipV="1">
                <a:off x="1306800" y="4228560"/>
                <a:ext cx="1203480" cy="1131480"/>
              </a:xfrm>
              <a:prstGeom prst="straightConnector1">
                <a:avLst/>
              </a:prstGeom>
              <a:ln>
                <a:solidFill>
                  <a:srgbClr val="004b7d"/>
                </a:solidFill>
              </a:ln>
            </p:spPr>
          </p:cxnSp>
          <p:cxnSp>
            <p:nvCxnSpPr>
              <p:cNvPr id="775" name="Gerader Verbinder 735"/>
              <p:cNvCxnSpPr/>
              <p:nvPr/>
            </p:nvCxnSpPr>
            <p:spPr>
              <a:xfrm flipV="1">
                <a:off x="1654920" y="4240440"/>
                <a:ext cx="884520" cy="1066680"/>
              </a:xfrm>
              <a:prstGeom prst="straightConnector1">
                <a:avLst/>
              </a:prstGeom>
              <a:ln>
                <a:solidFill>
                  <a:srgbClr val="004b7d"/>
                </a:solidFill>
              </a:ln>
            </p:spPr>
          </p:cxnSp>
          <p:cxnSp>
            <p:nvCxnSpPr>
              <p:cNvPr id="776" name="Gerader Verbinder 736"/>
              <p:cNvCxnSpPr/>
              <p:nvPr/>
            </p:nvCxnSpPr>
            <p:spPr>
              <a:xfrm flipV="1">
                <a:off x="2423160" y="4240440"/>
                <a:ext cx="116280" cy="464400"/>
              </a:xfrm>
              <a:prstGeom prst="straightConnector1">
                <a:avLst/>
              </a:prstGeom>
              <a:ln>
                <a:solidFill>
                  <a:srgbClr val="004b7d"/>
                </a:solidFill>
              </a:ln>
            </p:spPr>
          </p:cxnSp>
          <p:cxnSp>
            <p:nvCxnSpPr>
              <p:cNvPr id="777" name="Gerader Verbinder 737"/>
              <p:cNvCxnSpPr/>
              <p:nvPr/>
            </p:nvCxnSpPr>
            <p:spPr>
              <a:xfrm flipH="1" flipV="1">
                <a:off x="2539080" y="4240440"/>
                <a:ext cx="40320" cy="746280"/>
              </a:xfrm>
              <a:prstGeom prst="straightConnector1">
                <a:avLst/>
              </a:prstGeom>
              <a:ln>
                <a:solidFill>
                  <a:srgbClr val="004b7d"/>
                </a:solidFill>
              </a:ln>
            </p:spPr>
          </p:cxnSp>
          <p:cxnSp>
            <p:nvCxnSpPr>
              <p:cNvPr id="778" name="Gerader Verbinder 741"/>
              <p:cNvCxnSpPr/>
              <p:nvPr/>
            </p:nvCxnSpPr>
            <p:spPr>
              <a:xfrm flipH="1" flipV="1">
                <a:off x="2568240" y="4228560"/>
                <a:ext cx="201960" cy="406080"/>
              </a:xfrm>
              <a:prstGeom prst="straightConnector1">
                <a:avLst/>
              </a:prstGeom>
              <a:ln>
                <a:solidFill>
                  <a:srgbClr val="004b7d"/>
                </a:solidFill>
              </a:ln>
            </p:spPr>
          </p:cxnSp>
          <p:cxnSp>
            <p:nvCxnSpPr>
              <p:cNvPr id="779" name="Gerader Verbinder 747"/>
              <p:cNvCxnSpPr/>
              <p:nvPr/>
            </p:nvCxnSpPr>
            <p:spPr>
              <a:xfrm flipH="1" flipV="1">
                <a:off x="2568240" y="4228560"/>
                <a:ext cx="405000" cy="535680"/>
              </a:xfrm>
              <a:prstGeom prst="straightConnector1">
                <a:avLst/>
              </a:prstGeom>
              <a:ln>
                <a:solidFill>
                  <a:srgbClr val="004b7d"/>
                </a:solidFill>
              </a:ln>
            </p:spPr>
          </p:cxnSp>
          <p:cxnSp>
            <p:nvCxnSpPr>
              <p:cNvPr id="780" name="Gerader Verbinder 751"/>
              <p:cNvCxnSpPr/>
              <p:nvPr/>
            </p:nvCxnSpPr>
            <p:spPr>
              <a:xfrm flipH="1" flipV="1">
                <a:off x="2568240" y="4228560"/>
                <a:ext cx="243720" cy="188640"/>
              </a:xfrm>
              <a:prstGeom prst="straightConnector1">
                <a:avLst/>
              </a:prstGeom>
              <a:ln>
                <a:solidFill>
                  <a:srgbClr val="004b7d"/>
                </a:solidFill>
              </a:ln>
            </p:spPr>
          </p:cxnSp>
          <p:cxnSp>
            <p:nvCxnSpPr>
              <p:cNvPr id="781" name="Gerader Verbinder 754"/>
              <p:cNvCxnSpPr/>
              <p:nvPr/>
            </p:nvCxnSpPr>
            <p:spPr>
              <a:xfrm flipH="1">
                <a:off x="2580480" y="4142880"/>
                <a:ext cx="529560" cy="56880"/>
              </a:xfrm>
              <a:prstGeom prst="straightConnector1">
                <a:avLst/>
              </a:prstGeom>
              <a:ln>
                <a:solidFill>
                  <a:srgbClr val="004b7d"/>
                </a:solidFill>
              </a:ln>
            </p:spPr>
          </p:cxnSp>
          <p:cxnSp>
            <p:nvCxnSpPr>
              <p:cNvPr id="782" name="Gerader Verbinder 762"/>
              <p:cNvCxnSpPr/>
              <p:nvPr/>
            </p:nvCxnSpPr>
            <p:spPr>
              <a:xfrm flipH="1">
                <a:off x="2539080" y="3817800"/>
                <a:ext cx="38160" cy="340920"/>
              </a:xfrm>
              <a:prstGeom prst="straightConnector1">
                <a:avLst/>
              </a:prstGeom>
              <a:ln>
                <a:solidFill>
                  <a:srgbClr val="004b7d"/>
                </a:solidFill>
              </a:ln>
            </p:spPr>
          </p:cxnSp>
          <p:cxnSp>
            <p:nvCxnSpPr>
              <p:cNvPr id="783" name="Gerader Verbinder 766"/>
              <p:cNvCxnSpPr/>
              <p:nvPr/>
            </p:nvCxnSpPr>
            <p:spPr>
              <a:xfrm flipH="1">
                <a:off x="2568240" y="3436560"/>
                <a:ext cx="233640" cy="734040"/>
              </a:xfrm>
              <a:prstGeom prst="straightConnector1">
                <a:avLst/>
              </a:prstGeom>
              <a:ln>
                <a:solidFill>
                  <a:srgbClr val="004b7d"/>
                </a:solidFill>
              </a:ln>
            </p:spPr>
          </p:cxnSp>
          <p:cxnSp>
            <p:nvCxnSpPr>
              <p:cNvPr id="784" name="Gerader Verbinder 770"/>
              <p:cNvCxnSpPr/>
              <p:nvPr/>
            </p:nvCxnSpPr>
            <p:spPr>
              <a:xfrm>
                <a:off x="2354400" y="3341160"/>
                <a:ext cx="155880" cy="829440"/>
              </a:xfrm>
              <a:prstGeom prst="straightConnector1">
                <a:avLst/>
              </a:prstGeom>
              <a:ln>
                <a:solidFill>
                  <a:srgbClr val="004b7d"/>
                </a:solidFill>
              </a:ln>
            </p:spPr>
          </p:cxnSp>
          <p:cxnSp>
            <p:nvCxnSpPr>
              <p:cNvPr id="785" name="Gerader Verbinder 779"/>
              <p:cNvCxnSpPr/>
              <p:nvPr/>
            </p:nvCxnSpPr>
            <p:spPr>
              <a:xfrm flipH="1">
                <a:off x="2580480" y="3952440"/>
                <a:ext cx="879120" cy="247320"/>
              </a:xfrm>
              <a:prstGeom prst="straightConnector1">
                <a:avLst/>
              </a:prstGeom>
              <a:ln>
                <a:solidFill>
                  <a:srgbClr val="004b7d"/>
                </a:solidFill>
              </a:ln>
            </p:spPr>
          </p:cxnSp>
          <p:cxnSp>
            <p:nvCxnSpPr>
              <p:cNvPr id="786" name="Gerader Verbinder 783"/>
              <p:cNvCxnSpPr/>
              <p:nvPr/>
            </p:nvCxnSpPr>
            <p:spPr>
              <a:xfrm flipH="1" flipV="1">
                <a:off x="2568240" y="4228560"/>
                <a:ext cx="551520" cy="509040"/>
              </a:xfrm>
              <a:prstGeom prst="straightConnector1">
                <a:avLst/>
              </a:prstGeom>
              <a:ln>
                <a:solidFill>
                  <a:srgbClr val="004b7d"/>
                </a:solidFill>
              </a:ln>
            </p:spPr>
          </p:cxnSp>
          <p:cxnSp>
            <p:nvCxnSpPr>
              <p:cNvPr id="787" name="Gerader Verbinder 788"/>
              <p:cNvCxnSpPr/>
              <p:nvPr/>
            </p:nvCxnSpPr>
            <p:spPr>
              <a:xfrm flipH="1" flipV="1">
                <a:off x="2568240" y="4228560"/>
                <a:ext cx="673920" cy="726480"/>
              </a:xfrm>
              <a:prstGeom prst="straightConnector1">
                <a:avLst/>
              </a:prstGeom>
              <a:ln>
                <a:solidFill>
                  <a:srgbClr val="004b7d"/>
                </a:solidFill>
              </a:ln>
            </p:spPr>
          </p:cxnSp>
          <p:cxnSp>
            <p:nvCxnSpPr>
              <p:cNvPr id="788" name="Gerader Verbinder 792"/>
              <p:cNvCxnSpPr/>
              <p:nvPr/>
            </p:nvCxnSpPr>
            <p:spPr>
              <a:xfrm flipH="1" flipV="1">
                <a:off x="2580480" y="4199400"/>
                <a:ext cx="681120" cy="325440"/>
              </a:xfrm>
              <a:prstGeom prst="straightConnector1">
                <a:avLst/>
              </a:prstGeom>
              <a:ln>
                <a:solidFill>
                  <a:srgbClr val="004b7d"/>
                </a:solidFill>
              </a:ln>
            </p:spPr>
          </p:cxnSp>
          <p:cxnSp>
            <p:nvCxnSpPr>
              <p:cNvPr id="789" name="Gerader Verbinder 796"/>
              <p:cNvCxnSpPr/>
              <p:nvPr/>
            </p:nvCxnSpPr>
            <p:spPr>
              <a:xfrm flipH="1" flipV="1">
                <a:off x="2568240" y="4228560"/>
                <a:ext cx="969840" cy="567720"/>
              </a:xfrm>
              <a:prstGeom prst="straightConnector1">
                <a:avLst/>
              </a:prstGeom>
              <a:ln>
                <a:solidFill>
                  <a:srgbClr val="004b7d"/>
                </a:solidFill>
              </a:ln>
            </p:spPr>
          </p:cxnSp>
          <p:cxnSp>
            <p:nvCxnSpPr>
              <p:cNvPr id="790" name="Gerader Verbinder 800"/>
              <p:cNvCxnSpPr/>
              <p:nvPr/>
            </p:nvCxnSpPr>
            <p:spPr>
              <a:xfrm flipH="1" flipV="1">
                <a:off x="2568240" y="4228560"/>
                <a:ext cx="757080" cy="1137240"/>
              </a:xfrm>
              <a:prstGeom prst="straightConnector1">
                <a:avLst/>
              </a:prstGeom>
              <a:ln>
                <a:solidFill>
                  <a:srgbClr val="004b7d"/>
                </a:solidFill>
              </a:ln>
            </p:spPr>
          </p:cxnSp>
          <p:cxnSp>
            <p:nvCxnSpPr>
              <p:cNvPr id="791" name="Gerader Verbinder 804"/>
              <p:cNvCxnSpPr/>
              <p:nvPr/>
            </p:nvCxnSpPr>
            <p:spPr>
              <a:xfrm flipH="1" flipV="1">
                <a:off x="2568240" y="4228560"/>
                <a:ext cx="1042920" cy="865800"/>
              </a:xfrm>
              <a:prstGeom prst="straightConnector1">
                <a:avLst/>
              </a:prstGeom>
              <a:ln>
                <a:solidFill>
                  <a:srgbClr val="004b7d"/>
                </a:solidFill>
              </a:ln>
            </p:spPr>
          </p:cxnSp>
          <p:cxnSp>
            <p:nvCxnSpPr>
              <p:cNvPr id="792" name="Gerader Verbinder 808"/>
              <p:cNvCxnSpPr/>
              <p:nvPr/>
            </p:nvCxnSpPr>
            <p:spPr>
              <a:xfrm flipH="1" flipV="1">
                <a:off x="2580480" y="4199400"/>
                <a:ext cx="1229040" cy="493920"/>
              </a:xfrm>
              <a:prstGeom prst="straightConnector1">
                <a:avLst/>
              </a:prstGeom>
              <a:ln>
                <a:solidFill>
                  <a:srgbClr val="004b7d"/>
                </a:solidFill>
              </a:ln>
            </p:spPr>
          </p:cxnSp>
          <p:cxnSp>
            <p:nvCxnSpPr>
              <p:cNvPr id="793" name="Gerader Verbinder 812"/>
              <p:cNvCxnSpPr/>
              <p:nvPr/>
            </p:nvCxnSpPr>
            <p:spPr>
              <a:xfrm flipH="1" flipV="1">
                <a:off x="2580480" y="4199400"/>
                <a:ext cx="1326600" cy="315720"/>
              </a:xfrm>
              <a:prstGeom prst="straightConnector1">
                <a:avLst/>
              </a:prstGeom>
              <a:ln>
                <a:solidFill>
                  <a:srgbClr val="004b7d"/>
                </a:solidFill>
              </a:ln>
            </p:spPr>
          </p:cxnSp>
          <p:cxnSp>
            <p:nvCxnSpPr>
              <p:cNvPr id="794" name="Gerader Verbinder 817"/>
              <p:cNvCxnSpPr/>
              <p:nvPr/>
            </p:nvCxnSpPr>
            <p:spPr>
              <a:xfrm flipH="1">
                <a:off x="2580480" y="4194360"/>
                <a:ext cx="1030680" cy="5400"/>
              </a:xfrm>
              <a:prstGeom prst="straightConnector1">
                <a:avLst/>
              </a:prstGeom>
              <a:ln>
                <a:solidFill>
                  <a:srgbClr val="004b7d"/>
                </a:solidFill>
              </a:ln>
            </p:spPr>
          </p:cxnSp>
          <p:cxnSp>
            <p:nvCxnSpPr>
              <p:cNvPr id="795" name="Gerader Verbinder 821"/>
              <p:cNvCxnSpPr/>
              <p:nvPr/>
            </p:nvCxnSpPr>
            <p:spPr>
              <a:xfrm flipH="1">
                <a:off x="2580480" y="3786120"/>
                <a:ext cx="969840" cy="413640"/>
              </a:xfrm>
              <a:prstGeom prst="straightConnector1">
                <a:avLst/>
              </a:prstGeom>
              <a:ln>
                <a:solidFill>
                  <a:srgbClr val="004b7d"/>
                </a:solidFill>
              </a:ln>
            </p:spPr>
          </p:cxnSp>
          <p:cxnSp>
            <p:nvCxnSpPr>
              <p:cNvPr id="796" name="Gerader Verbinder 825"/>
              <p:cNvCxnSpPr/>
              <p:nvPr/>
            </p:nvCxnSpPr>
            <p:spPr>
              <a:xfrm flipH="1">
                <a:off x="2580480" y="3610080"/>
                <a:ext cx="1038240" cy="589680"/>
              </a:xfrm>
              <a:prstGeom prst="straightConnector1">
                <a:avLst/>
              </a:prstGeom>
              <a:ln>
                <a:solidFill>
                  <a:srgbClr val="004b7d"/>
                </a:solidFill>
              </a:ln>
            </p:spPr>
          </p:cxnSp>
          <p:cxnSp>
            <p:nvCxnSpPr>
              <p:cNvPr id="797" name="Gerader Verbinder 829"/>
              <p:cNvCxnSpPr/>
              <p:nvPr/>
            </p:nvCxnSpPr>
            <p:spPr>
              <a:xfrm flipH="1">
                <a:off x="2568240" y="3113640"/>
                <a:ext cx="964800" cy="1056960"/>
              </a:xfrm>
              <a:prstGeom prst="straightConnector1">
                <a:avLst/>
              </a:prstGeom>
              <a:ln>
                <a:solidFill>
                  <a:srgbClr val="004b7d"/>
                </a:solidFill>
              </a:ln>
            </p:spPr>
          </p:cxnSp>
        </p:grpSp>
      </p:grpSp>
      <p:sp>
        <p:nvSpPr>
          <p:cNvPr id="798" name="LHC Bild groß"/>
          <p:cNvSpPr/>
          <p:nvPr/>
        </p:nvSpPr>
        <p:spPr>
          <a:xfrm>
            <a:off x="1404720" y="4158360"/>
            <a:ext cx="1655640" cy="1655640"/>
          </a:xfrm>
          <a:prstGeom prst="ellipse">
            <a:avLst/>
          </a:prstGeom>
          <a:blipFill rotWithShape="0">
            <a:blip r:embed="rId69"/>
            <a:srcRect/>
            <a:stretch/>
          </a:blipFill>
          <a:ln w="57150">
            <a:solidFill>
              <a:srgbClr val="b2b4b2">
                <a:lumMod val="40000"/>
                <a:lumOff val="60000"/>
              </a:srgbClr>
            </a:solidFill>
            <a:round/>
          </a:ln>
        </p:spPr>
        <p:style>
          <a:lnRef idx="0"/>
          <a:fillRef idx="0"/>
          <a:effectRef idx="0"/>
          <a:fontRef idx="minor"/>
        </p:style>
        <p:txBody>
          <a:bodyPr lIns="90000" rIns="90000" tIns="45000" bIns="45000" anchor="t">
            <a:noAutofit/>
          </a:bodyPr>
          <a:p>
            <a:endParaRPr b="0" lang="en-US" sz="1800" spc="-1" strike="noStrike">
              <a:solidFill>
                <a:srgbClr val="000000"/>
              </a:solidFill>
              <a:latin typeface="Calibri"/>
            </a:endParaRPr>
          </a:p>
        </p:txBody>
      </p:sp>
      <p:sp>
        <p:nvSpPr>
          <p:cNvPr id="799" name="LHC Beschriftung"/>
          <p:cNvSpPr/>
          <p:nvPr/>
        </p:nvSpPr>
        <p:spPr>
          <a:xfrm>
            <a:off x="762120" y="4878000"/>
            <a:ext cx="1159200" cy="263520"/>
          </a:xfrm>
          <a:prstGeom prst="homePlate">
            <a:avLst>
              <a:gd name="adj" fmla="val 28195"/>
            </a:avLst>
          </a:prstGeom>
          <a:solidFill>
            <a:schemeClr val="accent2"/>
          </a:solidFill>
          <a:ln w="9525">
            <a:noFill/>
          </a:ln>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defTabSz="457200">
              <a:lnSpc>
                <a:spcPct val="100000"/>
              </a:lnSpc>
              <a:tabLst>
                <a:tab algn="l" pos="0"/>
              </a:tabLst>
            </a:pPr>
            <a:r>
              <a:rPr b="0" lang="de-DE" sz="1200" spc="-1" strike="noStrike">
                <a:solidFill>
                  <a:srgbClr val="ffffff"/>
                </a:solidFill>
                <a:latin typeface="Arial"/>
                <a:ea typeface="Arial"/>
              </a:rPr>
              <a:t>LHC@CERN</a:t>
            </a:r>
            <a:endParaRPr b="0" lang="en-US" sz="1200" spc="-1" strike="noStrike">
              <a:solidFill>
                <a:srgbClr val="000000"/>
              </a:solidFill>
              <a:latin typeface="Calibri"/>
            </a:endParaRPr>
          </a:p>
        </p:txBody>
      </p:sp>
      <p:sp>
        <p:nvSpPr>
          <p:cNvPr id="800" name="XFEL Bild groß"/>
          <p:cNvSpPr/>
          <p:nvPr/>
        </p:nvSpPr>
        <p:spPr>
          <a:xfrm>
            <a:off x="741240" y="3042720"/>
            <a:ext cx="1655640" cy="1655640"/>
          </a:xfrm>
          <a:prstGeom prst="ellipse">
            <a:avLst/>
          </a:prstGeom>
          <a:blipFill rotWithShape="0">
            <a:blip r:embed="rId70"/>
            <a:srcRect/>
            <a:stretch/>
          </a:blipFill>
          <a:ln w="57150">
            <a:noFill/>
          </a:ln>
        </p:spPr>
        <p:style>
          <a:lnRef idx="0"/>
          <a:fillRef idx="0"/>
          <a:effectRef idx="0"/>
          <a:fontRef idx="minor"/>
        </p:style>
        <p:txBody>
          <a:bodyPr lIns="90000" rIns="90000" tIns="45000" bIns="45000" anchor="t">
            <a:noAutofit/>
          </a:bodyPr>
          <a:p>
            <a:endParaRPr b="0" lang="en-US" sz="1800" spc="-1" strike="noStrike">
              <a:solidFill>
                <a:srgbClr val="000000"/>
              </a:solidFill>
              <a:latin typeface="Calibri"/>
            </a:endParaRPr>
          </a:p>
        </p:txBody>
      </p:sp>
      <p:sp>
        <p:nvSpPr>
          <p:cNvPr id="801" name="XFEL Bild klein"/>
          <p:cNvSpPr/>
          <p:nvPr/>
        </p:nvSpPr>
        <p:spPr>
          <a:xfrm>
            <a:off x="1155240" y="3456720"/>
            <a:ext cx="827640" cy="827640"/>
          </a:xfrm>
          <a:prstGeom prst="ellipse">
            <a:avLst/>
          </a:prstGeom>
          <a:blipFill rotWithShape="0">
            <a:blip r:embed="rId71"/>
            <a:srcRect/>
            <a:stretch/>
          </a:blipFill>
          <a:ln w="38100">
            <a:solidFill>
              <a:srgbClr val="b2b4b2">
                <a:lumMod val="40000"/>
                <a:lumOff val="60000"/>
              </a:srgbClr>
            </a:solidFill>
            <a:round/>
          </a:ln>
        </p:spPr>
        <p:style>
          <a:lnRef idx="0"/>
          <a:fillRef idx="0"/>
          <a:effectRef idx="0"/>
          <a:fontRef idx="minor"/>
        </p:style>
        <p:txBody>
          <a:bodyPr lIns="90000" rIns="90000" tIns="45000" bIns="45000" anchor="t">
            <a:noAutofit/>
          </a:bodyPr>
          <a:p>
            <a:endParaRPr b="0" lang="en-US" sz="1800" spc="-1" strike="noStrike">
              <a:solidFill>
                <a:srgbClr val="000000"/>
              </a:solidFill>
              <a:latin typeface="Calibri"/>
            </a:endParaRPr>
          </a:p>
        </p:txBody>
      </p:sp>
      <p:sp>
        <p:nvSpPr>
          <p:cNvPr id="802" name="XFEL Beschriftung"/>
          <p:cNvSpPr/>
          <p:nvPr/>
        </p:nvSpPr>
        <p:spPr>
          <a:xfrm>
            <a:off x="403920" y="3046320"/>
            <a:ext cx="1744560" cy="290880"/>
          </a:xfrm>
          <a:prstGeom prst="homePlate">
            <a:avLst>
              <a:gd name="adj" fmla="val 28195"/>
            </a:avLst>
          </a:prstGeom>
          <a:solidFill>
            <a:schemeClr val="accent2"/>
          </a:solidFill>
          <a:ln w="9525">
            <a:noFill/>
          </a:ln>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defTabSz="457200">
              <a:lnSpc>
                <a:spcPct val="100000"/>
              </a:lnSpc>
              <a:tabLst>
                <a:tab algn="l" pos="0"/>
              </a:tabLst>
            </a:pPr>
            <a:r>
              <a:rPr b="0" lang="de-DE" sz="1200" spc="-1" strike="noStrike">
                <a:solidFill>
                  <a:srgbClr val="ffffff"/>
                </a:solidFill>
                <a:latin typeface="Arial"/>
                <a:ea typeface="Arial"/>
              </a:rPr>
              <a:t>European XFEL</a:t>
            </a:r>
            <a:endParaRPr b="0" lang="en-US" sz="1200" spc="-1" strike="noStrike">
              <a:solidFill>
                <a:srgbClr val="000000"/>
              </a:solidFill>
              <a:latin typeface="Calibri"/>
            </a:endParaRPr>
          </a:p>
        </p:txBody>
      </p:sp>
      <p:sp>
        <p:nvSpPr>
          <p:cNvPr id="803" name="icecube bild groß"/>
          <p:cNvSpPr/>
          <p:nvPr/>
        </p:nvSpPr>
        <p:spPr>
          <a:xfrm>
            <a:off x="6540480" y="4790880"/>
            <a:ext cx="1655640" cy="1655640"/>
          </a:xfrm>
          <a:prstGeom prst="ellipse">
            <a:avLst/>
          </a:prstGeom>
          <a:blipFill rotWithShape="0">
            <a:blip r:embed="rId72"/>
            <a:srcRect/>
            <a:stretch/>
          </a:blipFill>
          <a:ln w="57150">
            <a:solidFill>
              <a:srgbClr val="b2b4b2">
                <a:lumMod val="40000"/>
                <a:lumOff val="60000"/>
              </a:srgbClr>
            </a:solidFill>
            <a:round/>
          </a:ln>
        </p:spPr>
        <p:style>
          <a:lnRef idx="0"/>
          <a:fillRef idx="0"/>
          <a:effectRef idx="0"/>
          <a:fontRef idx="minor"/>
        </p:style>
        <p:txBody>
          <a:bodyPr lIns="90000" rIns="90000" tIns="45000" bIns="45000" anchor="t">
            <a:noAutofit/>
          </a:bodyPr>
          <a:p>
            <a:endParaRPr b="0" lang="en-US" sz="1800" spc="-1" strike="noStrike">
              <a:solidFill>
                <a:srgbClr val="000000"/>
              </a:solidFill>
              <a:latin typeface="Calibri"/>
            </a:endParaRPr>
          </a:p>
        </p:txBody>
      </p:sp>
      <p:sp>
        <p:nvSpPr>
          <p:cNvPr id="804" name="icecube bild klein"/>
          <p:cNvSpPr/>
          <p:nvPr/>
        </p:nvSpPr>
        <p:spPr>
          <a:xfrm>
            <a:off x="6954480" y="5204880"/>
            <a:ext cx="827640" cy="827640"/>
          </a:xfrm>
          <a:prstGeom prst="ellipse">
            <a:avLst/>
          </a:prstGeom>
          <a:blipFill rotWithShape="0">
            <a:blip r:embed="rId73"/>
            <a:srcRect/>
            <a:stretch/>
          </a:blipFill>
          <a:ln w="0">
            <a:noFill/>
          </a:ln>
        </p:spPr>
        <p:style>
          <a:lnRef idx="0"/>
          <a:fillRef idx="0"/>
          <a:effectRef idx="0"/>
          <a:fontRef idx="minor"/>
        </p:style>
        <p:txBody>
          <a:bodyPr lIns="90000" rIns="90000" tIns="45000" bIns="45000" anchor="t">
            <a:noAutofit/>
          </a:bodyPr>
          <a:p>
            <a:endParaRPr b="0" lang="en-US" sz="1800" spc="-1" strike="noStrike">
              <a:solidFill>
                <a:srgbClr val="000000"/>
              </a:solidFill>
              <a:latin typeface="Calibri"/>
            </a:endParaRPr>
          </a:p>
        </p:txBody>
      </p:sp>
      <p:sp>
        <p:nvSpPr>
          <p:cNvPr id="805" name="icecube Beschriftung"/>
          <p:cNvSpPr/>
          <p:nvPr/>
        </p:nvSpPr>
        <p:spPr>
          <a:xfrm>
            <a:off x="6155280" y="5513040"/>
            <a:ext cx="921240" cy="216360"/>
          </a:xfrm>
          <a:prstGeom prst="homePlate">
            <a:avLst>
              <a:gd name="adj" fmla="val 28195"/>
            </a:avLst>
          </a:prstGeom>
          <a:solidFill>
            <a:schemeClr val="accent2"/>
          </a:solidFill>
          <a:ln w="9525">
            <a:noFill/>
          </a:ln>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defTabSz="457200">
              <a:lnSpc>
                <a:spcPct val="100000"/>
              </a:lnSpc>
              <a:tabLst>
                <a:tab algn="l" pos="0"/>
              </a:tabLst>
            </a:pPr>
            <a:r>
              <a:rPr b="0" lang="de-DE" sz="1200" spc="-1" strike="noStrike" cap="all">
                <a:solidFill>
                  <a:srgbClr val="ffffff"/>
                </a:solidFill>
                <a:latin typeface="Arial"/>
                <a:ea typeface="Arial"/>
              </a:rPr>
              <a:t>Icecube</a:t>
            </a:r>
            <a:endParaRPr b="0" lang="en-US" sz="1200" spc="-1" strike="noStrike">
              <a:solidFill>
                <a:srgbClr val="000000"/>
              </a:solidFill>
              <a:latin typeface="Calibri"/>
            </a:endParaRPr>
          </a:p>
        </p:txBody>
      </p:sp>
      <p:sp>
        <p:nvSpPr>
          <p:cNvPr id="806" name="CTA Bild groß"/>
          <p:cNvSpPr/>
          <p:nvPr/>
        </p:nvSpPr>
        <p:spPr>
          <a:xfrm>
            <a:off x="5668560" y="2537280"/>
            <a:ext cx="1655640" cy="1655640"/>
          </a:xfrm>
          <a:prstGeom prst="ellipse">
            <a:avLst/>
          </a:prstGeom>
          <a:blipFill rotWithShape="0">
            <a:blip r:embed="rId74"/>
            <a:srcRect/>
            <a:stretch/>
          </a:blipFill>
          <a:ln w="57150">
            <a:solidFill>
              <a:srgbClr val="b2b4b2">
                <a:lumMod val="40000"/>
                <a:lumOff val="60000"/>
              </a:srgbClr>
            </a:solidFill>
            <a:round/>
          </a:ln>
        </p:spPr>
        <p:style>
          <a:lnRef idx="0"/>
          <a:fillRef idx="0"/>
          <a:effectRef idx="0"/>
          <a:fontRef idx="minor"/>
        </p:style>
        <p:txBody>
          <a:bodyPr lIns="90000" rIns="90000" tIns="45000" bIns="45000" anchor="t">
            <a:noAutofit/>
          </a:bodyPr>
          <a:p>
            <a:endParaRPr b="0" lang="en-US" sz="1800" spc="-1" strike="noStrike">
              <a:solidFill>
                <a:srgbClr val="000000"/>
              </a:solidFill>
              <a:latin typeface="Calibri"/>
            </a:endParaRPr>
          </a:p>
        </p:txBody>
      </p:sp>
      <p:sp>
        <p:nvSpPr>
          <p:cNvPr id="807" name="CTA Bild klein"/>
          <p:cNvSpPr/>
          <p:nvPr/>
        </p:nvSpPr>
        <p:spPr>
          <a:xfrm>
            <a:off x="6082560" y="2951280"/>
            <a:ext cx="827640" cy="827640"/>
          </a:xfrm>
          <a:prstGeom prst="ellipse">
            <a:avLst/>
          </a:prstGeom>
          <a:blipFill rotWithShape="0">
            <a:blip r:embed="rId75"/>
            <a:srcRect/>
            <a:stretch/>
          </a:blipFill>
          <a:ln w="0">
            <a:noFill/>
          </a:ln>
        </p:spPr>
        <p:style>
          <a:lnRef idx="0"/>
          <a:fillRef idx="0"/>
          <a:effectRef idx="0"/>
          <a:fontRef idx="minor"/>
        </p:style>
        <p:txBody>
          <a:bodyPr lIns="90000" rIns="90000" tIns="45000" bIns="45000" anchor="t">
            <a:noAutofit/>
          </a:bodyPr>
          <a:p>
            <a:endParaRPr b="0" lang="en-US" sz="1800" spc="-1" strike="noStrike">
              <a:solidFill>
                <a:srgbClr val="000000"/>
              </a:solidFill>
              <a:latin typeface="Calibri"/>
            </a:endParaRPr>
          </a:p>
        </p:txBody>
      </p:sp>
      <p:sp>
        <p:nvSpPr>
          <p:cNvPr id="808" name="CTA Beschriftung"/>
          <p:cNvSpPr/>
          <p:nvPr/>
        </p:nvSpPr>
        <p:spPr>
          <a:xfrm>
            <a:off x="5595480" y="3256920"/>
            <a:ext cx="604080" cy="216360"/>
          </a:xfrm>
          <a:prstGeom prst="homePlate">
            <a:avLst>
              <a:gd name="adj" fmla="val 28195"/>
            </a:avLst>
          </a:prstGeom>
          <a:solidFill>
            <a:schemeClr val="accent2"/>
          </a:solidFill>
          <a:ln w="9525">
            <a:noFill/>
          </a:ln>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defTabSz="457200">
              <a:lnSpc>
                <a:spcPct val="100000"/>
              </a:lnSpc>
              <a:tabLst>
                <a:tab algn="l" pos="0"/>
              </a:tabLst>
            </a:pPr>
            <a:r>
              <a:rPr b="0" lang="de-DE" sz="1200" spc="-1" strike="noStrike">
                <a:solidFill>
                  <a:srgbClr val="ffffff"/>
                </a:solidFill>
                <a:latin typeface="Arial"/>
                <a:ea typeface="Arial"/>
              </a:rPr>
              <a:t>CTA</a:t>
            </a:r>
            <a:endParaRPr b="0" lang="en-US" sz="1200" spc="-1" strike="noStrike">
              <a:solidFill>
                <a:srgbClr val="000000"/>
              </a:solidFill>
              <a:latin typeface="Calibri"/>
            </a:endParaRPr>
          </a:p>
        </p:txBody>
      </p:sp>
      <p:sp>
        <p:nvSpPr>
          <p:cNvPr id="809" name="Belle 2 groß"/>
          <p:cNvSpPr/>
          <p:nvPr/>
        </p:nvSpPr>
        <p:spPr>
          <a:xfrm>
            <a:off x="9985680" y="2729520"/>
            <a:ext cx="1655640" cy="1655640"/>
          </a:xfrm>
          <a:prstGeom prst="ellipse">
            <a:avLst/>
          </a:prstGeom>
          <a:blipFill rotWithShape="0">
            <a:blip r:embed="rId76"/>
            <a:srcRect/>
            <a:stretch/>
          </a:blipFill>
          <a:ln w="57150">
            <a:solidFill>
              <a:srgbClr val="b2b4b2">
                <a:lumMod val="40000"/>
                <a:lumOff val="60000"/>
              </a:srgbClr>
            </a:solidFill>
            <a:round/>
          </a:ln>
        </p:spPr>
        <p:style>
          <a:lnRef idx="0"/>
          <a:fillRef idx="0"/>
          <a:effectRef idx="0"/>
          <a:fontRef idx="minor"/>
        </p:style>
        <p:txBody>
          <a:bodyPr lIns="90000" rIns="90000" tIns="45000" bIns="45000" anchor="t">
            <a:noAutofit/>
          </a:bodyPr>
          <a:p>
            <a:endParaRPr b="0" lang="en-US" sz="1800" spc="-1" strike="noStrike">
              <a:solidFill>
                <a:srgbClr val="000000"/>
              </a:solidFill>
              <a:latin typeface="Calibri"/>
            </a:endParaRPr>
          </a:p>
        </p:txBody>
      </p:sp>
      <p:sp>
        <p:nvSpPr>
          <p:cNvPr id="810" name="Belle 2 klein"/>
          <p:cNvSpPr/>
          <p:nvPr/>
        </p:nvSpPr>
        <p:spPr>
          <a:xfrm>
            <a:off x="10399680" y="3143520"/>
            <a:ext cx="827640" cy="827640"/>
          </a:xfrm>
          <a:prstGeom prst="ellipse">
            <a:avLst/>
          </a:prstGeom>
          <a:blipFill rotWithShape="0">
            <a:blip r:embed="rId77"/>
            <a:srcRect/>
            <a:stretch/>
          </a:blipFill>
          <a:ln w="0">
            <a:noFill/>
          </a:ln>
        </p:spPr>
        <p:style>
          <a:lnRef idx="0"/>
          <a:fillRef idx="0"/>
          <a:effectRef idx="0"/>
          <a:fontRef idx="minor"/>
        </p:style>
        <p:txBody>
          <a:bodyPr lIns="90000" rIns="90000" tIns="45000" bIns="45000" anchor="t">
            <a:noAutofit/>
          </a:bodyPr>
          <a:p>
            <a:endParaRPr b="0" lang="en-US" sz="1800" spc="-1" strike="noStrike">
              <a:solidFill>
                <a:srgbClr val="000000"/>
              </a:solidFill>
              <a:latin typeface="Calibri"/>
            </a:endParaRPr>
          </a:p>
        </p:txBody>
      </p:sp>
      <p:sp>
        <p:nvSpPr>
          <p:cNvPr id="811" name="belle 2 Beschriftung"/>
          <p:cNvSpPr/>
          <p:nvPr/>
        </p:nvSpPr>
        <p:spPr>
          <a:xfrm>
            <a:off x="9696600" y="3449520"/>
            <a:ext cx="817200" cy="216360"/>
          </a:xfrm>
          <a:prstGeom prst="homePlate">
            <a:avLst>
              <a:gd name="adj" fmla="val 28195"/>
            </a:avLst>
          </a:prstGeom>
          <a:solidFill>
            <a:schemeClr val="accent2"/>
          </a:solidFill>
          <a:ln w="9525">
            <a:noFill/>
          </a:ln>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defTabSz="457200">
              <a:lnSpc>
                <a:spcPct val="100000"/>
              </a:lnSpc>
              <a:tabLst>
                <a:tab algn="l" pos="0"/>
              </a:tabLst>
            </a:pPr>
            <a:r>
              <a:rPr b="0" lang="de-DE" sz="1200" spc="-1" strike="noStrike" cap="all">
                <a:solidFill>
                  <a:srgbClr val="ffffff"/>
                </a:solidFill>
                <a:latin typeface="Arial"/>
                <a:ea typeface="Arial"/>
              </a:rPr>
              <a:t>Belle II</a:t>
            </a:r>
            <a:endParaRPr b="0" lang="en-US" sz="1200" spc="-1" strike="noStrike">
              <a:solidFill>
                <a:srgbClr val="000000"/>
              </a:solidFill>
              <a:latin typeface="Calibri"/>
            </a:endParaRPr>
          </a:p>
        </p:txBody>
      </p:sp>
      <p:sp>
        <p:nvSpPr>
          <p:cNvPr id="812" name="Textplatzhalter 4"/>
          <p:cNvSpPr/>
          <p:nvPr/>
        </p:nvSpPr>
        <p:spPr>
          <a:xfrm>
            <a:off x="407880" y="817560"/>
            <a:ext cx="11375640" cy="378720"/>
          </a:xfrm>
          <a:prstGeom prst="rect">
            <a:avLst/>
          </a:prstGeom>
          <a:noFill/>
          <a:ln w="0">
            <a:noFill/>
          </a:ln>
        </p:spPr>
        <p:style>
          <a:lnRef idx="0"/>
          <a:fillRef idx="0"/>
          <a:effectRef idx="0"/>
          <a:fontRef idx="minor"/>
        </p:style>
        <p:txBody>
          <a:bodyPr lIns="90000" rIns="90000" tIns="45000" bIns="45000" anchor="t">
            <a:noAutofit/>
          </a:bodyPr>
          <a:p>
            <a:pPr defTabSz="914400">
              <a:lnSpc>
                <a:spcPct val="110000"/>
              </a:lnSpc>
              <a:spcAft>
                <a:spcPts val="1199"/>
              </a:spcAft>
              <a:tabLst>
                <a:tab algn="l" pos="0"/>
              </a:tabLst>
            </a:pPr>
            <a:r>
              <a:rPr b="1" lang="en-US" sz="1800" spc="-1" strike="noStrike">
                <a:solidFill>
                  <a:schemeClr val="accent2"/>
                </a:solidFill>
                <a:latin typeface="Arial"/>
                <a:ea typeface="Arial"/>
              </a:rPr>
              <a:t>DESY as strong partner in international research projects</a:t>
            </a:r>
            <a:endParaRPr b="0" lang="en-US" sz="1800" spc="-1" strike="noStrike">
              <a:solidFill>
                <a:srgbClr val="ffffff"/>
              </a:solidFill>
              <a:latin typeface="Calibri"/>
            </a:endParaRPr>
          </a:p>
        </p:txBody>
      </p:sp>
      <p:pic>
        <p:nvPicPr>
          <p:cNvPr id="813" name="Grafik 7" descr=""/>
          <p:cNvPicPr/>
          <p:nvPr/>
        </p:nvPicPr>
        <p:blipFill>
          <a:blip r:embed="rId78"/>
          <a:srcRect l="61130" t="0" r="0" b="90"/>
          <a:stretch/>
        </p:blipFill>
        <p:spPr>
          <a:xfrm>
            <a:off x="10892160" y="0"/>
            <a:ext cx="1141560" cy="1155600"/>
          </a:xfrm>
          <a:prstGeom prst="rect">
            <a:avLst/>
          </a:prstGeom>
          <a:ln w="0">
            <a:noFill/>
          </a:ln>
        </p:spPr>
      </p:pic>
      <p:sp>
        <p:nvSpPr>
          <p:cNvPr id="814" name="PlaceHolder 1"/>
          <p:cNvSpPr>
            <a:spLocks noGrp="1"/>
          </p:cNvSpPr>
          <p:nvPr>
            <p:ph type="ftr" idx="40"/>
          </p:nvPr>
        </p:nvSpPr>
        <p:spPr>
          <a:xfrm>
            <a:off x="708120" y="6547680"/>
            <a:ext cx="10032120" cy="186480"/>
          </a:xfrm>
          <a:prstGeom prst="rect">
            <a:avLst/>
          </a:prstGeom>
          <a:noFill/>
          <a:ln w="0">
            <a:noFill/>
          </a:ln>
        </p:spPr>
        <p:txBody>
          <a:bodyPr lIns="0" rIns="0" tIns="0" bIns="0" anchor="t">
            <a:noAutofit/>
          </a:bodyPr>
          <a:lstStyle>
            <a:lvl1pPr indent="0" defTabSz="457200">
              <a:lnSpc>
                <a:spcPct val="100000"/>
              </a:lnSpc>
              <a:buNone/>
              <a:defRPr b="0" lang="en-US" sz="1100" spc="-1" strike="noStrike">
                <a:solidFill>
                  <a:schemeClr val="lt1"/>
                </a:solidFill>
                <a:latin typeface="Arial"/>
                <a:ea typeface="Arial"/>
              </a:defRPr>
            </a:lvl1pPr>
          </a:lstStyle>
          <a:p>
            <a:pPr indent="0" defTabSz="457200">
              <a:lnSpc>
                <a:spcPct val="100000"/>
              </a:lnSpc>
              <a:buNone/>
            </a:pPr>
            <a:r>
              <a:rPr b="0" lang="en-US" sz="1100" spc="-1" strike="noStrike">
                <a:solidFill>
                  <a:schemeClr val="lt1"/>
                </a:solidFill>
                <a:latin typeface="Arial"/>
                <a:ea typeface="Arial"/>
              </a:rPr>
              <a:t>Beate Heinemann, microTCA workshop in Hamburg, 12/2024</a:t>
            </a:r>
            <a:endParaRPr b="0" lang="en-US" sz="1100" spc="-1" strike="noStrike">
              <a:solidFill>
                <a:srgbClr val="ffffff"/>
              </a:solidFill>
              <a:latin typeface="Calibri"/>
            </a:endParaRPr>
          </a:p>
        </p:txBody>
      </p:sp>
    </p:spTree>
  </p:cSld>
  <mc:AlternateContent>
    <mc:Choice Requires="p14">
      <p:transition spd="slow" p14:dur="1500">
        <p:split dir="out" orient="vert"/>
      </p:transition>
    </mc:Choice>
    <mc:Fallback>
      <p:transition spd="slow">
        <p:split dir="out" orient="vert"/>
      </p:transition>
    </mc:Fallback>
  </mc:AlternateContent>
  <p:timing>
    <p:tnLst>
      <p:par>
        <p:cTn id="63" dur="indefinite" restart="never" nodeType="tmRoot">
          <p:childTnLst>
            <p:seq>
              <p:cTn id="64" dur="indefinite" nodeType="mainSeq">
                <p:childTnLst>
                  <p:par>
                    <p:cTn id="65" fill="hold">
                      <p:stCondLst>
                        <p:cond delay="0"/>
                      </p:stCondLst>
                      <p:childTnLst>
                        <p:par>
                          <p:cTn id="66" fill="hold">
                            <p:stCondLst>
                              <p:cond delay="0"/>
                            </p:stCondLst>
                            <p:childTnLst>
                              <p:par>
                                <p:cTn id="67" nodeType="withEffect" fill="hold" presetClass="entr" presetID="21" presetSubtype="1">
                                  <p:stCondLst>
                                    <p:cond delay="0"/>
                                  </p:stCondLst>
                                  <p:childTnLst>
                                    <p:set>
                                      <p:cBhvr>
                                        <p:cTn id="68" dur="1" fill="hold">
                                          <p:stCondLst>
                                            <p:cond delay="0"/>
                                          </p:stCondLst>
                                        </p:cTn>
                                        <p:tgtEl>
                                          <p:spTgt spid="652"/>
                                        </p:tgtEl>
                                        <p:attrNameLst>
                                          <p:attrName>style.visibility</p:attrName>
                                        </p:attrNameLst>
                                      </p:cBhvr>
                                      <p:to>
                                        <p:strVal val="visible"/>
                                      </p:to>
                                    </p:set>
                                    <p:animEffect filter="wheel(1)" transition="in">
                                      <p:cBhvr additive="repl">
                                        <p:cTn id="69" dur="500"/>
                                        <p:tgtEl>
                                          <p:spTgt spid="652"/>
                                        </p:tgtEl>
                                      </p:cBhvr>
                                    </p:animEffect>
                                  </p:childTnLst>
                                </p:cTn>
                              </p:par>
                            </p:childTnLst>
                          </p:cTn>
                        </p:par>
                        <p:par>
                          <p:cTn id="70" fill="hold">
                            <p:stCondLst>
                              <p:cond delay="500"/>
                            </p:stCondLst>
                            <p:childTnLst>
                              <p:par>
                                <p:cTn id="71" nodeType="afterEffect" fill="hold" presetClass="entr" presetID="22" presetSubtype="2">
                                  <p:stCondLst>
                                    <p:cond delay="0"/>
                                  </p:stCondLst>
                                  <p:childTnLst>
                                    <p:set>
                                      <p:cBhvr>
                                        <p:cTn id="72" dur="1" fill="hold">
                                          <p:stCondLst>
                                            <p:cond delay="0"/>
                                          </p:stCondLst>
                                        </p:cTn>
                                        <p:tgtEl>
                                          <p:spTgt spid="662"/>
                                        </p:tgtEl>
                                        <p:attrNameLst>
                                          <p:attrName>style.visibility</p:attrName>
                                        </p:attrNameLst>
                                      </p:cBhvr>
                                      <p:to>
                                        <p:strVal val="visible"/>
                                      </p:to>
                                    </p:set>
                                    <p:animEffect filter="wipe(right)" transition="in">
                                      <p:cBhvr additive="repl">
                                        <p:cTn id="73" dur="500"/>
                                        <p:tgtEl>
                                          <p:spTgt spid="662"/>
                                        </p:tgtEl>
                                      </p:cBhvr>
                                    </p:animEffect>
                                  </p:childTnLst>
                                </p:cTn>
                              </p:par>
                              <p:par>
                                <p:cTn id="74" nodeType="withEffect" fill="hold" presetClass="entr" presetID="10">
                                  <p:stCondLst>
                                    <p:cond delay="0"/>
                                  </p:stCondLst>
                                  <p:childTnLst>
                                    <p:set>
                                      <p:cBhvr>
                                        <p:cTn id="75" dur="1" fill="hold">
                                          <p:stCondLst>
                                            <p:cond delay="0"/>
                                          </p:stCondLst>
                                        </p:cTn>
                                        <p:tgtEl>
                                          <p:spTgt spid="653"/>
                                        </p:tgtEl>
                                        <p:attrNameLst>
                                          <p:attrName>style.visibility</p:attrName>
                                        </p:attrNameLst>
                                      </p:cBhvr>
                                      <p:to>
                                        <p:strVal val="visible"/>
                                      </p:to>
                                    </p:set>
                                    <p:animEffect filter="fade" transition="in">
                                      <p:cBhvr additive="repl">
                                        <p:cTn id="76" dur="250"/>
                                        <p:tgtEl>
                                          <p:spTgt spid="653"/>
                                        </p:tgtEl>
                                      </p:cBhvr>
                                    </p:animEffect>
                                  </p:childTnLst>
                                </p:cTn>
                              </p:par>
                            </p:childTnLst>
                          </p:cTn>
                        </p:par>
                        <p:par>
                          <p:cTn id="77" fill="hold">
                            <p:stCondLst>
                              <p:cond delay="1000"/>
                            </p:stCondLst>
                            <p:childTnLst>
                              <p:par>
                                <p:cTn id="78" nodeType="afterEffect" fill="hold" presetClass="entr" presetID="23" presetSubtype="16">
                                  <p:stCondLst>
                                    <p:cond delay="0"/>
                                  </p:stCondLst>
                                  <p:childTnLst>
                                    <p:set>
                                      <p:cBhvr>
                                        <p:cTn id="79" dur="1" fill="hold">
                                          <p:stCondLst>
                                            <p:cond delay="0"/>
                                          </p:stCondLst>
                                        </p:cTn>
                                        <p:tgtEl>
                                          <p:spTgt spid="800"/>
                                        </p:tgtEl>
                                        <p:attrNameLst>
                                          <p:attrName>style.visibility</p:attrName>
                                        </p:attrNameLst>
                                      </p:cBhvr>
                                      <p:to>
                                        <p:strVal val="visible"/>
                                      </p:to>
                                    </p:set>
                                    <p:anim calcmode="lin" valueType="num">
                                      <p:cBhvr additive="repl">
                                        <p:cTn id="80" dur="250" fill="hold"/>
                                        <p:tgtEl>
                                          <p:spTgt spid="800"/>
                                        </p:tgtEl>
                                        <p:attrNameLst>
                                          <p:attrName>ppt_w</p:attrName>
                                        </p:attrNameLst>
                                      </p:cBhvr>
                                      <p:tavLst>
                                        <p:tav tm="0">
                                          <p:val>
                                            <p:fltVal val="0"/>
                                          </p:val>
                                        </p:tav>
                                        <p:tav tm="100000">
                                          <p:val>
                                            <p:strVal val="#ppt_w"/>
                                          </p:val>
                                        </p:tav>
                                      </p:tavLst>
                                    </p:anim>
                                    <p:anim calcmode="lin" valueType="num">
                                      <p:cBhvr additive="repl">
                                        <p:cTn id="81" dur="250" fill="hold"/>
                                        <p:tgtEl>
                                          <p:spTgt spid="800"/>
                                        </p:tgtEl>
                                        <p:attrNameLst>
                                          <p:attrName>ppt_h</p:attrName>
                                        </p:attrNameLst>
                                      </p:cBhvr>
                                      <p:tavLst>
                                        <p:tav tm="0">
                                          <p:val>
                                            <p:fltVal val="0"/>
                                          </p:val>
                                        </p:tav>
                                        <p:tav tm="100000">
                                          <p:val>
                                            <p:strVal val="#ppt_h"/>
                                          </p:val>
                                        </p:tav>
                                      </p:tavLst>
                                    </p:anim>
                                  </p:childTnLst>
                                </p:cTn>
                              </p:par>
                            </p:childTnLst>
                          </p:cTn>
                        </p:par>
                        <p:par>
                          <p:cTn id="82" fill="hold">
                            <p:stCondLst>
                              <p:cond delay="1250"/>
                            </p:stCondLst>
                            <p:childTnLst>
                              <p:par>
                                <p:cTn id="83" nodeType="afterEffect" fill="hold" presetClass="entr" presetID="22" presetSubtype="8">
                                  <p:stCondLst>
                                    <p:cond delay="0"/>
                                  </p:stCondLst>
                                  <p:childTnLst>
                                    <p:set>
                                      <p:cBhvr>
                                        <p:cTn id="84" dur="1" fill="hold">
                                          <p:stCondLst>
                                            <p:cond delay="0"/>
                                          </p:stCondLst>
                                        </p:cTn>
                                        <p:tgtEl>
                                          <p:spTgt spid="802"/>
                                        </p:tgtEl>
                                        <p:attrNameLst>
                                          <p:attrName>style.visibility</p:attrName>
                                        </p:attrNameLst>
                                      </p:cBhvr>
                                      <p:to>
                                        <p:strVal val="visible"/>
                                      </p:to>
                                    </p:set>
                                    <p:animEffect filter="wipe(left)" transition="in">
                                      <p:cBhvr additive="repl">
                                        <p:cTn id="85" dur="250"/>
                                        <p:tgtEl>
                                          <p:spTgt spid="802"/>
                                        </p:tgtEl>
                                      </p:cBhvr>
                                    </p:animEffect>
                                  </p:childTnLst>
                                </p:cTn>
                              </p:par>
                            </p:childTnLst>
                          </p:cTn>
                        </p:par>
                        <p:par>
                          <p:cTn id="86" fill="hold">
                            <p:stCondLst>
                              <p:cond delay="1500"/>
                            </p:stCondLst>
                            <p:childTnLst>
                              <p:par>
                                <p:cTn id="87" nodeType="afterEffect" fill="hold" presetClass="exit" presetID="53" presetSubtype="32">
                                  <p:stCondLst>
                                    <p:cond delay="0"/>
                                  </p:stCondLst>
                                  <p:childTnLst>
                                    <p:anim calcmode="lin" valueType="num">
                                      <p:cBhvr additive="repl">
                                        <p:cTn id="88" dur="250"/>
                                        <p:tgtEl>
                                          <p:spTgt spid="800"/>
                                        </p:tgtEl>
                                        <p:attrNameLst>
                                          <p:attrName>ppt_w</p:attrName>
                                        </p:attrNameLst>
                                      </p:cBhvr>
                                      <p:tavLst>
                                        <p:tav tm="0">
                                          <p:val>
                                            <p:strVal val="#ppt_w"/>
                                          </p:val>
                                        </p:tav>
                                        <p:tav tm="100000">
                                          <p:val>
                                            <p:fltVal val="0"/>
                                          </p:val>
                                        </p:tav>
                                      </p:tavLst>
                                    </p:anim>
                                    <p:anim calcmode="lin" valueType="num">
                                      <p:cBhvr additive="repl">
                                        <p:cTn id="89" dur="250"/>
                                        <p:tgtEl>
                                          <p:spTgt spid="800"/>
                                        </p:tgtEl>
                                        <p:attrNameLst>
                                          <p:attrName>ppt_h</p:attrName>
                                        </p:attrNameLst>
                                      </p:cBhvr>
                                      <p:tavLst>
                                        <p:tav tm="0">
                                          <p:val>
                                            <p:strVal val="#ppt_h"/>
                                          </p:val>
                                        </p:tav>
                                        <p:tav tm="100000">
                                          <p:val>
                                            <p:fltVal val="0"/>
                                          </p:val>
                                        </p:tav>
                                      </p:tavLst>
                                    </p:anim>
                                    <p:animEffect filter="fade" transition="out">
                                      <p:cBhvr additive="repl">
                                        <p:cTn id="90" dur="250"/>
                                        <p:tgtEl>
                                          <p:spTgt spid="800"/>
                                        </p:tgtEl>
                                      </p:cBhvr>
                                    </p:animEffect>
                                    <p:set>
                                      <p:cBhvr>
                                        <p:cTn id="91" dur="1" fill="hold">
                                          <p:stCondLst>
                                            <p:cond delay="249"/>
                                          </p:stCondLst>
                                        </p:cTn>
                                        <p:tgtEl>
                                          <p:spTgt spid="800"/>
                                        </p:tgtEl>
                                        <p:attrNameLst>
                                          <p:attrName>style.visibility</p:attrName>
                                        </p:attrNameLst>
                                      </p:cBhvr>
                                      <p:to>
                                        <p:strVal val="hidden"/>
                                      </p:to>
                                    </p:set>
                                  </p:childTnLst>
                                </p:cTn>
                              </p:par>
                              <p:par>
                                <p:cTn id="92" nodeType="withEffect" fill="hold" presetClass="entr" presetID="10">
                                  <p:stCondLst>
                                    <p:cond delay="0"/>
                                  </p:stCondLst>
                                  <p:childTnLst>
                                    <p:set>
                                      <p:cBhvr>
                                        <p:cTn id="93" dur="1" fill="hold">
                                          <p:stCondLst>
                                            <p:cond delay="0"/>
                                          </p:stCondLst>
                                        </p:cTn>
                                        <p:tgtEl>
                                          <p:spTgt spid="801"/>
                                        </p:tgtEl>
                                        <p:attrNameLst>
                                          <p:attrName>style.visibility</p:attrName>
                                        </p:attrNameLst>
                                      </p:cBhvr>
                                      <p:to>
                                        <p:strVal val="visible"/>
                                      </p:to>
                                    </p:set>
                                    <p:animEffect filter="fade" transition="in">
                                      <p:cBhvr additive="repl">
                                        <p:cTn id="94" dur="250"/>
                                        <p:tgtEl>
                                          <p:spTgt spid="801"/>
                                        </p:tgtEl>
                                      </p:cBhvr>
                                    </p:animEffect>
                                  </p:childTnLst>
                                </p:cTn>
                              </p:par>
                              <p:par>
                                <p:cTn id="95" nodeType="withEffect" fill="hold" presetClass="entr" presetID="23" presetSubtype="16">
                                  <p:stCondLst>
                                    <p:cond delay="0"/>
                                  </p:stCondLst>
                                  <p:childTnLst>
                                    <p:set>
                                      <p:cBhvr>
                                        <p:cTn id="96" dur="1" fill="hold">
                                          <p:stCondLst>
                                            <p:cond delay="0"/>
                                          </p:stCondLst>
                                        </p:cTn>
                                        <p:tgtEl>
                                          <p:spTgt spid="798"/>
                                        </p:tgtEl>
                                        <p:attrNameLst>
                                          <p:attrName>style.visibility</p:attrName>
                                        </p:attrNameLst>
                                      </p:cBhvr>
                                      <p:to>
                                        <p:strVal val="visible"/>
                                      </p:to>
                                    </p:set>
                                    <p:anim calcmode="lin" valueType="num">
                                      <p:cBhvr additive="repl">
                                        <p:cTn id="97" dur="250" fill="hold"/>
                                        <p:tgtEl>
                                          <p:spTgt spid="798"/>
                                        </p:tgtEl>
                                        <p:attrNameLst>
                                          <p:attrName>ppt_w</p:attrName>
                                        </p:attrNameLst>
                                      </p:cBhvr>
                                      <p:tavLst>
                                        <p:tav tm="0">
                                          <p:val>
                                            <p:fltVal val="0"/>
                                          </p:val>
                                        </p:tav>
                                        <p:tav tm="100000">
                                          <p:val>
                                            <p:strVal val="#ppt_w"/>
                                          </p:val>
                                        </p:tav>
                                      </p:tavLst>
                                    </p:anim>
                                    <p:anim calcmode="lin" valueType="num">
                                      <p:cBhvr additive="repl">
                                        <p:cTn id="98" dur="250" fill="hold"/>
                                        <p:tgtEl>
                                          <p:spTgt spid="798"/>
                                        </p:tgtEl>
                                        <p:attrNameLst>
                                          <p:attrName>ppt_h</p:attrName>
                                        </p:attrNameLst>
                                      </p:cBhvr>
                                      <p:tavLst>
                                        <p:tav tm="0">
                                          <p:val>
                                            <p:fltVal val="0"/>
                                          </p:val>
                                        </p:tav>
                                        <p:tav tm="100000">
                                          <p:val>
                                            <p:strVal val="#ppt_h"/>
                                          </p:val>
                                        </p:tav>
                                      </p:tavLst>
                                    </p:anim>
                                  </p:childTnLst>
                                </p:cTn>
                              </p:par>
                            </p:childTnLst>
                          </p:cTn>
                        </p:par>
                        <p:par>
                          <p:cTn id="99" fill="hold">
                            <p:stCondLst>
                              <p:cond delay="1750"/>
                            </p:stCondLst>
                            <p:childTnLst>
                              <p:par>
                                <p:cTn id="100" nodeType="afterEffect" fill="hold" presetClass="entr" presetID="22" presetSubtype="8">
                                  <p:stCondLst>
                                    <p:cond delay="0"/>
                                  </p:stCondLst>
                                  <p:childTnLst>
                                    <p:set>
                                      <p:cBhvr>
                                        <p:cTn id="101" dur="1" fill="hold">
                                          <p:stCondLst>
                                            <p:cond delay="0"/>
                                          </p:stCondLst>
                                        </p:cTn>
                                        <p:tgtEl>
                                          <p:spTgt spid="799"/>
                                        </p:tgtEl>
                                        <p:attrNameLst>
                                          <p:attrName>style.visibility</p:attrName>
                                        </p:attrNameLst>
                                      </p:cBhvr>
                                      <p:to>
                                        <p:strVal val="visible"/>
                                      </p:to>
                                    </p:set>
                                    <p:animEffect filter="wipe(left)" transition="in">
                                      <p:cBhvr additive="repl">
                                        <p:cTn id="102" dur="250"/>
                                        <p:tgtEl>
                                          <p:spTgt spid="799"/>
                                        </p:tgtEl>
                                      </p:cBhvr>
                                    </p:animEffect>
                                  </p:childTnLst>
                                </p:cTn>
                              </p:par>
                            </p:childTnLst>
                          </p:cTn>
                        </p:par>
                        <p:par>
                          <p:cTn id="103" fill="hold">
                            <p:stCondLst>
                              <p:cond delay="2000"/>
                            </p:stCondLst>
                            <p:childTnLst>
                              <p:par>
                                <p:cTn id="104" nodeType="afterEffect" fill="hold" presetClass="exit" presetID="53" presetSubtype="32">
                                  <p:stCondLst>
                                    <p:cond delay="0"/>
                                  </p:stCondLst>
                                  <p:childTnLst>
                                    <p:anim calcmode="lin" valueType="num">
                                      <p:cBhvr additive="repl">
                                        <p:cTn id="105" dur="250"/>
                                        <p:tgtEl>
                                          <p:spTgt spid="798"/>
                                        </p:tgtEl>
                                        <p:attrNameLst>
                                          <p:attrName>ppt_w</p:attrName>
                                        </p:attrNameLst>
                                      </p:cBhvr>
                                      <p:tavLst>
                                        <p:tav tm="0">
                                          <p:val>
                                            <p:strVal val="#ppt_w"/>
                                          </p:val>
                                        </p:tav>
                                        <p:tav tm="100000">
                                          <p:val>
                                            <p:fltVal val="0"/>
                                          </p:val>
                                        </p:tav>
                                      </p:tavLst>
                                    </p:anim>
                                    <p:anim calcmode="lin" valueType="num">
                                      <p:cBhvr additive="repl">
                                        <p:cTn id="106" dur="250"/>
                                        <p:tgtEl>
                                          <p:spTgt spid="798"/>
                                        </p:tgtEl>
                                        <p:attrNameLst>
                                          <p:attrName>ppt_h</p:attrName>
                                        </p:attrNameLst>
                                      </p:cBhvr>
                                      <p:tavLst>
                                        <p:tav tm="0">
                                          <p:val>
                                            <p:strVal val="#ppt_h"/>
                                          </p:val>
                                        </p:tav>
                                        <p:tav tm="100000">
                                          <p:val>
                                            <p:fltVal val="0"/>
                                          </p:val>
                                        </p:tav>
                                      </p:tavLst>
                                    </p:anim>
                                    <p:animEffect filter="fade" transition="out">
                                      <p:cBhvr additive="repl">
                                        <p:cTn id="107" dur="250"/>
                                        <p:tgtEl>
                                          <p:spTgt spid="798"/>
                                        </p:tgtEl>
                                      </p:cBhvr>
                                    </p:animEffect>
                                    <p:set>
                                      <p:cBhvr>
                                        <p:cTn id="108" dur="1" fill="hold">
                                          <p:stCondLst>
                                            <p:cond delay="249"/>
                                          </p:stCondLst>
                                        </p:cTn>
                                        <p:tgtEl>
                                          <p:spTgt spid="798"/>
                                        </p:tgtEl>
                                        <p:attrNameLst>
                                          <p:attrName>style.visibility</p:attrName>
                                        </p:attrNameLst>
                                      </p:cBhvr>
                                      <p:to>
                                        <p:strVal val="hidden"/>
                                      </p:to>
                                    </p:set>
                                  </p:childTnLst>
                                </p:cTn>
                              </p:par>
                              <p:par>
                                <p:cTn id="109" nodeType="withEffect" fill="hold" presetClass="entr" presetID="23" presetSubtype="16">
                                  <p:stCondLst>
                                    <p:cond delay="0"/>
                                  </p:stCondLst>
                                  <p:childTnLst>
                                    <p:set>
                                      <p:cBhvr>
                                        <p:cTn id="110" dur="1" fill="hold">
                                          <p:stCondLst>
                                            <p:cond delay="0"/>
                                          </p:stCondLst>
                                        </p:cTn>
                                        <p:tgtEl>
                                          <p:spTgt spid="806"/>
                                        </p:tgtEl>
                                        <p:attrNameLst>
                                          <p:attrName>style.visibility</p:attrName>
                                        </p:attrNameLst>
                                      </p:cBhvr>
                                      <p:to>
                                        <p:strVal val="visible"/>
                                      </p:to>
                                    </p:set>
                                    <p:anim calcmode="lin" valueType="num">
                                      <p:cBhvr additive="repl">
                                        <p:cTn id="111" dur="250" fill="hold"/>
                                        <p:tgtEl>
                                          <p:spTgt spid="806"/>
                                        </p:tgtEl>
                                        <p:attrNameLst>
                                          <p:attrName>ppt_w</p:attrName>
                                        </p:attrNameLst>
                                      </p:cBhvr>
                                      <p:tavLst>
                                        <p:tav tm="0">
                                          <p:val>
                                            <p:fltVal val="0"/>
                                          </p:val>
                                        </p:tav>
                                        <p:tav tm="100000">
                                          <p:val>
                                            <p:strVal val="#ppt_w"/>
                                          </p:val>
                                        </p:tav>
                                      </p:tavLst>
                                    </p:anim>
                                    <p:anim calcmode="lin" valueType="num">
                                      <p:cBhvr additive="repl">
                                        <p:cTn id="112" dur="250" fill="hold"/>
                                        <p:tgtEl>
                                          <p:spTgt spid="806"/>
                                        </p:tgtEl>
                                        <p:attrNameLst>
                                          <p:attrName>ppt_h</p:attrName>
                                        </p:attrNameLst>
                                      </p:cBhvr>
                                      <p:tavLst>
                                        <p:tav tm="0">
                                          <p:val>
                                            <p:fltVal val="0"/>
                                          </p:val>
                                        </p:tav>
                                        <p:tav tm="100000">
                                          <p:val>
                                            <p:strVal val="#ppt_h"/>
                                          </p:val>
                                        </p:tav>
                                      </p:tavLst>
                                    </p:anim>
                                  </p:childTnLst>
                                </p:cTn>
                              </p:par>
                            </p:childTnLst>
                          </p:cTn>
                        </p:par>
                        <p:par>
                          <p:cTn id="113" fill="hold">
                            <p:stCondLst>
                              <p:cond delay="2250"/>
                            </p:stCondLst>
                            <p:childTnLst>
                              <p:par>
                                <p:cTn id="114" nodeType="afterEffect" fill="hold" presetClass="entr" presetID="22" presetSubtype="8">
                                  <p:stCondLst>
                                    <p:cond delay="0"/>
                                  </p:stCondLst>
                                  <p:childTnLst>
                                    <p:set>
                                      <p:cBhvr>
                                        <p:cTn id="115" dur="1" fill="hold">
                                          <p:stCondLst>
                                            <p:cond delay="0"/>
                                          </p:stCondLst>
                                        </p:cTn>
                                        <p:tgtEl>
                                          <p:spTgt spid="808"/>
                                        </p:tgtEl>
                                        <p:attrNameLst>
                                          <p:attrName>style.visibility</p:attrName>
                                        </p:attrNameLst>
                                      </p:cBhvr>
                                      <p:to>
                                        <p:strVal val="visible"/>
                                      </p:to>
                                    </p:set>
                                    <p:animEffect filter="wipe(left)" transition="in">
                                      <p:cBhvr additive="repl">
                                        <p:cTn id="116" dur="250"/>
                                        <p:tgtEl>
                                          <p:spTgt spid="808"/>
                                        </p:tgtEl>
                                      </p:cBhvr>
                                    </p:animEffect>
                                  </p:childTnLst>
                                </p:cTn>
                              </p:par>
                            </p:childTnLst>
                          </p:cTn>
                        </p:par>
                        <p:par>
                          <p:cTn id="117" fill="hold">
                            <p:stCondLst>
                              <p:cond delay="2500"/>
                            </p:stCondLst>
                            <p:childTnLst>
                              <p:par>
                                <p:cTn id="118" nodeType="afterEffect" fill="hold" presetClass="exit" presetID="53" presetSubtype="32">
                                  <p:stCondLst>
                                    <p:cond delay="0"/>
                                  </p:stCondLst>
                                  <p:childTnLst>
                                    <p:anim calcmode="lin" valueType="num">
                                      <p:cBhvr additive="repl">
                                        <p:cTn id="119" dur="250"/>
                                        <p:tgtEl>
                                          <p:spTgt spid="806"/>
                                        </p:tgtEl>
                                        <p:attrNameLst>
                                          <p:attrName>ppt_w</p:attrName>
                                        </p:attrNameLst>
                                      </p:cBhvr>
                                      <p:tavLst>
                                        <p:tav tm="0">
                                          <p:val>
                                            <p:strVal val="#ppt_w"/>
                                          </p:val>
                                        </p:tav>
                                        <p:tav tm="100000">
                                          <p:val>
                                            <p:fltVal val="0"/>
                                          </p:val>
                                        </p:tav>
                                      </p:tavLst>
                                    </p:anim>
                                    <p:anim calcmode="lin" valueType="num">
                                      <p:cBhvr additive="repl">
                                        <p:cTn id="120" dur="250"/>
                                        <p:tgtEl>
                                          <p:spTgt spid="806"/>
                                        </p:tgtEl>
                                        <p:attrNameLst>
                                          <p:attrName>ppt_h</p:attrName>
                                        </p:attrNameLst>
                                      </p:cBhvr>
                                      <p:tavLst>
                                        <p:tav tm="0">
                                          <p:val>
                                            <p:strVal val="#ppt_h"/>
                                          </p:val>
                                        </p:tav>
                                        <p:tav tm="100000">
                                          <p:val>
                                            <p:fltVal val="0"/>
                                          </p:val>
                                        </p:tav>
                                      </p:tavLst>
                                    </p:anim>
                                    <p:animEffect filter="fade" transition="out">
                                      <p:cBhvr additive="repl">
                                        <p:cTn id="121" dur="250"/>
                                        <p:tgtEl>
                                          <p:spTgt spid="806"/>
                                        </p:tgtEl>
                                      </p:cBhvr>
                                    </p:animEffect>
                                    <p:set>
                                      <p:cBhvr>
                                        <p:cTn id="122" dur="1" fill="hold">
                                          <p:stCondLst>
                                            <p:cond delay="249"/>
                                          </p:stCondLst>
                                        </p:cTn>
                                        <p:tgtEl>
                                          <p:spTgt spid="806"/>
                                        </p:tgtEl>
                                        <p:attrNameLst>
                                          <p:attrName>style.visibility</p:attrName>
                                        </p:attrNameLst>
                                      </p:cBhvr>
                                      <p:to>
                                        <p:strVal val="hidden"/>
                                      </p:to>
                                    </p:set>
                                  </p:childTnLst>
                                </p:cTn>
                              </p:par>
                              <p:par>
                                <p:cTn id="123" nodeType="withEffect" fill="hold" presetClass="entr" presetID="10">
                                  <p:stCondLst>
                                    <p:cond delay="0"/>
                                  </p:stCondLst>
                                  <p:childTnLst>
                                    <p:set>
                                      <p:cBhvr>
                                        <p:cTn id="124" dur="1" fill="hold">
                                          <p:stCondLst>
                                            <p:cond delay="0"/>
                                          </p:stCondLst>
                                        </p:cTn>
                                        <p:tgtEl>
                                          <p:spTgt spid="807"/>
                                        </p:tgtEl>
                                        <p:attrNameLst>
                                          <p:attrName>style.visibility</p:attrName>
                                        </p:attrNameLst>
                                      </p:cBhvr>
                                      <p:to>
                                        <p:strVal val="visible"/>
                                      </p:to>
                                    </p:set>
                                    <p:animEffect filter="fade" transition="in">
                                      <p:cBhvr additive="repl">
                                        <p:cTn id="125" dur="250"/>
                                        <p:tgtEl>
                                          <p:spTgt spid="807"/>
                                        </p:tgtEl>
                                      </p:cBhvr>
                                    </p:animEffect>
                                  </p:childTnLst>
                                </p:cTn>
                              </p:par>
                              <p:par>
                                <p:cTn id="126" nodeType="withEffect" fill="hold" presetClass="entr" presetID="23" presetSubtype="16">
                                  <p:stCondLst>
                                    <p:cond delay="0"/>
                                  </p:stCondLst>
                                  <p:childTnLst>
                                    <p:set>
                                      <p:cBhvr>
                                        <p:cTn id="127" dur="1" fill="hold">
                                          <p:stCondLst>
                                            <p:cond delay="0"/>
                                          </p:stCondLst>
                                        </p:cTn>
                                        <p:tgtEl>
                                          <p:spTgt spid="809"/>
                                        </p:tgtEl>
                                        <p:attrNameLst>
                                          <p:attrName>style.visibility</p:attrName>
                                        </p:attrNameLst>
                                      </p:cBhvr>
                                      <p:to>
                                        <p:strVal val="visible"/>
                                      </p:to>
                                    </p:set>
                                    <p:anim calcmode="lin" valueType="num">
                                      <p:cBhvr additive="repl">
                                        <p:cTn id="128" dur="250" fill="hold"/>
                                        <p:tgtEl>
                                          <p:spTgt spid="809"/>
                                        </p:tgtEl>
                                        <p:attrNameLst>
                                          <p:attrName>ppt_w</p:attrName>
                                        </p:attrNameLst>
                                      </p:cBhvr>
                                      <p:tavLst>
                                        <p:tav tm="0">
                                          <p:val>
                                            <p:fltVal val="0"/>
                                          </p:val>
                                        </p:tav>
                                        <p:tav tm="100000">
                                          <p:val>
                                            <p:strVal val="#ppt_w"/>
                                          </p:val>
                                        </p:tav>
                                      </p:tavLst>
                                    </p:anim>
                                    <p:anim calcmode="lin" valueType="num">
                                      <p:cBhvr additive="repl">
                                        <p:cTn id="129" dur="250" fill="hold"/>
                                        <p:tgtEl>
                                          <p:spTgt spid="809"/>
                                        </p:tgtEl>
                                        <p:attrNameLst>
                                          <p:attrName>ppt_h</p:attrName>
                                        </p:attrNameLst>
                                      </p:cBhvr>
                                      <p:tavLst>
                                        <p:tav tm="0">
                                          <p:val>
                                            <p:fltVal val="0"/>
                                          </p:val>
                                        </p:tav>
                                        <p:tav tm="100000">
                                          <p:val>
                                            <p:strVal val="#ppt_h"/>
                                          </p:val>
                                        </p:tav>
                                      </p:tavLst>
                                    </p:anim>
                                  </p:childTnLst>
                                </p:cTn>
                              </p:par>
                            </p:childTnLst>
                          </p:cTn>
                        </p:par>
                        <p:par>
                          <p:cTn id="130" fill="hold">
                            <p:stCondLst>
                              <p:cond delay="2750"/>
                            </p:stCondLst>
                            <p:childTnLst>
                              <p:par>
                                <p:cTn id="131" nodeType="afterEffect" fill="hold" presetClass="entr" presetID="22" presetSubtype="8">
                                  <p:stCondLst>
                                    <p:cond delay="0"/>
                                  </p:stCondLst>
                                  <p:childTnLst>
                                    <p:set>
                                      <p:cBhvr>
                                        <p:cTn id="132" dur="1" fill="hold">
                                          <p:stCondLst>
                                            <p:cond delay="0"/>
                                          </p:stCondLst>
                                        </p:cTn>
                                        <p:tgtEl>
                                          <p:spTgt spid="811"/>
                                        </p:tgtEl>
                                        <p:attrNameLst>
                                          <p:attrName>style.visibility</p:attrName>
                                        </p:attrNameLst>
                                      </p:cBhvr>
                                      <p:to>
                                        <p:strVal val="visible"/>
                                      </p:to>
                                    </p:set>
                                    <p:animEffect filter="wipe(left)" transition="in">
                                      <p:cBhvr additive="repl">
                                        <p:cTn id="133" dur="250"/>
                                        <p:tgtEl>
                                          <p:spTgt spid="811"/>
                                        </p:tgtEl>
                                      </p:cBhvr>
                                    </p:animEffect>
                                  </p:childTnLst>
                                </p:cTn>
                              </p:par>
                            </p:childTnLst>
                          </p:cTn>
                        </p:par>
                        <p:par>
                          <p:cTn id="134" fill="hold">
                            <p:stCondLst>
                              <p:cond delay="3000"/>
                            </p:stCondLst>
                            <p:childTnLst>
                              <p:par>
                                <p:cTn id="135" nodeType="afterEffect" fill="hold" presetClass="exit" presetID="53" presetSubtype="32">
                                  <p:stCondLst>
                                    <p:cond delay="0"/>
                                  </p:stCondLst>
                                  <p:childTnLst>
                                    <p:anim calcmode="lin" valueType="num">
                                      <p:cBhvr additive="repl">
                                        <p:cTn id="136" dur="250"/>
                                        <p:tgtEl>
                                          <p:spTgt spid="809"/>
                                        </p:tgtEl>
                                        <p:attrNameLst>
                                          <p:attrName>ppt_w</p:attrName>
                                        </p:attrNameLst>
                                      </p:cBhvr>
                                      <p:tavLst>
                                        <p:tav tm="0">
                                          <p:val>
                                            <p:strVal val="#ppt_w"/>
                                          </p:val>
                                        </p:tav>
                                        <p:tav tm="100000">
                                          <p:val>
                                            <p:fltVal val="0"/>
                                          </p:val>
                                        </p:tav>
                                      </p:tavLst>
                                    </p:anim>
                                    <p:anim calcmode="lin" valueType="num">
                                      <p:cBhvr additive="repl">
                                        <p:cTn id="137" dur="250"/>
                                        <p:tgtEl>
                                          <p:spTgt spid="809"/>
                                        </p:tgtEl>
                                        <p:attrNameLst>
                                          <p:attrName>ppt_h</p:attrName>
                                        </p:attrNameLst>
                                      </p:cBhvr>
                                      <p:tavLst>
                                        <p:tav tm="0">
                                          <p:val>
                                            <p:strVal val="#ppt_h"/>
                                          </p:val>
                                        </p:tav>
                                        <p:tav tm="100000">
                                          <p:val>
                                            <p:fltVal val="0"/>
                                          </p:val>
                                        </p:tav>
                                      </p:tavLst>
                                    </p:anim>
                                    <p:animEffect filter="fade" transition="out">
                                      <p:cBhvr additive="repl">
                                        <p:cTn id="138" dur="250"/>
                                        <p:tgtEl>
                                          <p:spTgt spid="809"/>
                                        </p:tgtEl>
                                      </p:cBhvr>
                                    </p:animEffect>
                                    <p:set>
                                      <p:cBhvr>
                                        <p:cTn id="139" dur="1" fill="hold">
                                          <p:stCondLst>
                                            <p:cond delay="249"/>
                                          </p:stCondLst>
                                        </p:cTn>
                                        <p:tgtEl>
                                          <p:spTgt spid="809"/>
                                        </p:tgtEl>
                                        <p:attrNameLst>
                                          <p:attrName>style.visibility</p:attrName>
                                        </p:attrNameLst>
                                      </p:cBhvr>
                                      <p:to>
                                        <p:strVal val="hidden"/>
                                      </p:to>
                                    </p:set>
                                  </p:childTnLst>
                                </p:cTn>
                              </p:par>
                              <p:par>
                                <p:cTn id="140" nodeType="withEffect" fill="hold" presetClass="entr" presetID="10">
                                  <p:stCondLst>
                                    <p:cond delay="0"/>
                                  </p:stCondLst>
                                  <p:childTnLst>
                                    <p:set>
                                      <p:cBhvr>
                                        <p:cTn id="141" dur="1" fill="hold">
                                          <p:stCondLst>
                                            <p:cond delay="0"/>
                                          </p:stCondLst>
                                        </p:cTn>
                                        <p:tgtEl>
                                          <p:spTgt spid="810"/>
                                        </p:tgtEl>
                                        <p:attrNameLst>
                                          <p:attrName>style.visibility</p:attrName>
                                        </p:attrNameLst>
                                      </p:cBhvr>
                                      <p:to>
                                        <p:strVal val="visible"/>
                                      </p:to>
                                    </p:set>
                                    <p:animEffect filter="fade" transition="in">
                                      <p:cBhvr additive="repl">
                                        <p:cTn id="142" dur="250"/>
                                        <p:tgtEl>
                                          <p:spTgt spid="810"/>
                                        </p:tgtEl>
                                      </p:cBhvr>
                                    </p:animEffect>
                                  </p:childTnLst>
                                </p:cTn>
                              </p:par>
                              <p:par>
                                <p:cTn id="143" nodeType="withEffect" fill="hold" presetClass="entr" presetID="23" presetSubtype="16">
                                  <p:stCondLst>
                                    <p:cond delay="0"/>
                                  </p:stCondLst>
                                  <p:childTnLst>
                                    <p:set>
                                      <p:cBhvr>
                                        <p:cTn id="144" dur="1" fill="hold">
                                          <p:stCondLst>
                                            <p:cond delay="0"/>
                                          </p:stCondLst>
                                        </p:cTn>
                                        <p:tgtEl>
                                          <p:spTgt spid="803"/>
                                        </p:tgtEl>
                                        <p:attrNameLst>
                                          <p:attrName>style.visibility</p:attrName>
                                        </p:attrNameLst>
                                      </p:cBhvr>
                                      <p:to>
                                        <p:strVal val="visible"/>
                                      </p:to>
                                    </p:set>
                                    <p:anim calcmode="lin" valueType="num">
                                      <p:cBhvr additive="repl">
                                        <p:cTn id="145" dur="250" fill="hold"/>
                                        <p:tgtEl>
                                          <p:spTgt spid="803"/>
                                        </p:tgtEl>
                                        <p:attrNameLst>
                                          <p:attrName>ppt_w</p:attrName>
                                        </p:attrNameLst>
                                      </p:cBhvr>
                                      <p:tavLst>
                                        <p:tav tm="0">
                                          <p:val>
                                            <p:fltVal val="0"/>
                                          </p:val>
                                        </p:tav>
                                        <p:tav tm="100000">
                                          <p:val>
                                            <p:strVal val="#ppt_w"/>
                                          </p:val>
                                        </p:tav>
                                      </p:tavLst>
                                    </p:anim>
                                    <p:anim calcmode="lin" valueType="num">
                                      <p:cBhvr additive="repl">
                                        <p:cTn id="146" dur="250" fill="hold"/>
                                        <p:tgtEl>
                                          <p:spTgt spid="803"/>
                                        </p:tgtEl>
                                        <p:attrNameLst>
                                          <p:attrName>ppt_h</p:attrName>
                                        </p:attrNameLst>
                                      </p:cBhvr>
                                      <p:tavLst>
                                        <p:tav tm="0">
                                          <p:val>
                                            <p:fltVal val="0"/>
                                          </p:val>
                                        </p:tav>
                                        <p:tav tm="100000">
                                          <p:val>
                                            <p:strVal val="#ppt_h"/>
                                          </p:val>
                                        </p:tav>
                                      </p:tavLst>
                                    </p:anim>
                                  </p:childTnLst>
                                </p:cTn>
                              </p:par>
                            </p:childTnLst>
                          </p:cTn>
                        </p:par>
                        <p:par>
                          <p:cTn id="147" fill="hold">
                            <p:stCondLst>
                              <p:cond delay="3250"/>
                            </p:stCondLst>
                            <p:childTnLst>
                              <p:par>
                                <p:cTn id="148" nodeType="afterEffect" fill="hold" presetClass="entr" presetID="22" presetSubtype="8">
                                  <p:stCondLst>
                                    <p:cond delay="0"/>
                                  </p:stCondLst>
                                  <p:childTnLst>
                                    <p:set>
                                      <p:cBhvr>
                                        <p:cTn id="149" dur="1" fill="hold">
                                          <p:stCondLst>
                                            <p:cond delay="0"/>
                                          </p:stCondLst>
                                        </p:cTn>
                                        <p:tgtEl>
                                          <p:spTgt spid="805"/>
                                        </p:tgtEl>
                                        <p:attrNameLst>
                                          <p:attrName>style.visibility</p:attrName>
                                        </p:attrNameLst>
                                      </p:cBhvr>
                                      <p:to>
                                        <p:strVal val="visible"/>
                                      </p:to>
                                    </p:set>
                                    <p:animEffect filter="wipe(left)" transition="in">
                                      <p:cBhvr additive="repl">
                                        <p:cTn id="150" dur="250"/>
                                        <p:tgtEl>
                                          <p:spTgt spid="805"/>
                                        </p:tgtEl>
                                      </p:cBhvr>
                                    </p:animEffect>
                                  </p:childTnLst>
                                </p:cTn>
                              </p:par>
                            </p:childTnLst>
                          </p:cTn>
                        </p:par>
                        <p:par>
                          <p:cTn id="151" fill="hold">
                            <p:stCondLst>
                              <p:cond delay="3500"/>
                            </p:stCondLst>
                            <p:childTnLst>
                              <p:par>
                                <p:cTn id="152" nodeType="afterEffect" fill="hold" presetClass="entr" presetID="10">
                                  <p:stCondLst>
                                    <p:cond delay="0"/>
                                  </p:stCondLst>
                                  <p:childTnLst>
                                    <p:set>
                                      <p:cBhvr>
                                        <p:cTn id="153" dur="1" fill="hold">
                                          <p:stCondLst>
                                            <p:cond delay="0"/>
                                          </p:stCondLst>
                                        </p:cTn>
                                        <p:tgtEl>
                                          <p:spTgt spid="804"/>
                                        </p:tgtEl>
                                        <p:attrNameLst>
                                          <p:attrName>style.visibility</p:attrName>
                                        </p:attrNameLst>
                                      </p:cBhvr>
                                      <p:to>
                                        <p:strVal val="visible"/>
                                      </p:to>
                                    </p:set>
                                    <p:animEffect filter="fade" transition="in">
                                      <p:cBhvr additive="repl">
                                        <p:cTn id="154" dur="250"/>
                                        <p:tgtEl>
                                          <p:spTgt spid="804"/>
                                        </p:tgtEl>
                                      </p:cBhvr>
                                    </p:animEffect>
                                  </p:childTnLst>
                                </p:cTn>
                              </p:par>
                              <p:par>
                                <p:cTn id="155" nodeType="withEffect" fill="hold" presetClass="exit" presetID="53" presetSubtype="32">
                                  <p:stCondLst>
                                    <p:cond delay="0"/>
                                  </p:stCondLst>
                                  <p:childTnLst>
                                    <p:anim calcmode="lin" valueType="num">
                                      <p:cBhvr additive="repl">
                                        <p:cTn id="156" dur="250"/>
                                        <p:tgtEl>
                                          <p:spTgt spid="803"/>
                                        </p:tgtEl>
                                        <p:attrNameLst>
                                          <p:attrName>ppt_w</p:attrName>
                                        </p:attrNameLst>
                                      </p:cBhvr>
                                      <p:tavLst>
                                        <p:tav tm="0">
                                          <p:val>
                                            <p:strVal val="#ppt_w"/>
                                          </p:val>
                                        </p:tav>
                                        <p:tav tm="100000">
                                          <p:val>
                                            <p:fltVal val="0"/>
                                          </p:val>
                                        </p:tav>
                                      </p:tavLst>
                                    </p:anim>
                                    <p:anim calcmode="lin" valueType="num">
                                      <p:cBhvr additive="repl">
                                        <p:cTn id="157" dur="250"/>
                                        <p:tgtEl>
                                          <p:spTgt spid="803"/>
                                        </p:tgtEl>
                                        <p:attrNameLst>
                                          <p:attrName>ppt_h</p:attrName>
                                        </p:attrNameLst>
                                      </p:cBhvr>
                                      <p:tavLst>
                                        <p:tav tm="0">
                                          <p:val>
                                            <p:strVal val="#ppt_h"/>
                                          </p:val>
                                        </p:tav>
                                        <p:tav tm="100000">
                                          <p:val>
                                            <p:fltVal val="0"/>
                                          </p:val>
                                        </p:tav>
                                      </p:tavLst>
                                    </p:anim>
                                    <p:animEffect filter="fade" transition="out">
                                      <p:cBhvr additive="repl">
                                        <p:cTn id="158" dur="250"/>
                                        <p:tgtEl>
                                          <p:spTgt spid="803"/>
                                        </p:tgtEl>
                                      </p:cBhvr>
                                    </p:animEffect>
                                    <p:set>
                                      <p:cBhvr>
                                        <p:cTn id="159" dur="1" fill="hold">
                                          <p:stCondLst>
                                            <p:cond delay="249"/>
                                          </p:stCondLst>
                                        </p:cTn>
                                        <p:tgtEl>
                                          <p:spTgt spid="803"/>
                                        </p:tgtEl>
                                        <p:attrNameLst>
                                          <p:attrName>style.visibility</p:attrName>
                                        </p:attrNameLst>
                                      </p:cBhvr>
                                      <p:to>
                                        <p:strVal val="hidden"/>
                                      </p:to>
                                    </p:set>
                                  </p:childTnLst>
                                </p:cTn>
                              </p:par>
                            </p:childTnLst>
                          </p:cTn>
                        </p:par>
                      </p:childTnLst>
                    </p:cTn>
                  </p:par>
                </p:childTnLst>
              </p:cTn>
              <p:prevCondLst>
                <p:cond evt="onPrev">
                  <p:tgtEl>
                    <p:sldTgt/>
                  </p:tgtEl>
                </p:cond>
              </p:prevCondLst>
              <p:nextCondLst>
                <p:cond evt="onNext">
                  <p:tgtEl>
                    <p:sldTgt/>
                  </p:tgtEl>
                </p:cond>
              </p:nextCondLst>
            </p:seq>
          </p:childTnLst>
        </p:cTn>
      </p:par>
    </p:tnLst>
  </p:timing>
</p:sld>
</file>

<file path=ppt/slides/slide7.xml><?xml version="1.0" encoding="utf-8"?>
<p:sld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p:cSld>
    <p:spTree>
      <p:nvGrpSpPr>
        <p:cNvPr id="1" name=""/>
        <p:cNvGrpSpPr/>
        <p:nvPr/>
      </p:nvGrpSpPr>
      <p:grpSpPr>
        <a:xfrm>
          <a:off x="0" y="0"/>
          <a:ext cx="0" cy="0"/>
          <a:chOff x="0" y="0"/>
          <a:chExt cx="0" cy="0"/>
        </a:xfrm>
      </p:grpSpPr>
      <p:graphicFrame>
        <p:nvGraphicFramePr>
          <p:cNvPr id="815" name="Objekt 5"/>
          <p:cNvGraphicFramePr/>
          <p:nvPr/>
        </p:nvGraphicFramePr>
        <p:xfrm>
          <a:off x="1440" y="1440"/>
          <a:ext cx="1080" cy="1080"/>
        </p:xfrm>
        <a:graphic>
          <a:graphicData uri="http://schemas.openxmlformats.org/presentationml/2006/ole">
            <p:oleObj progId="TCLayout.ActiveDocument.1" r:id="rId1" spid="">
              <p:embed/>
              <p:pic>
                <p:nvPicPr>
                  <p:cNvPr id="816" name="Objekt 5" descr=""/>
                  <p:cNvPicPr/>
                  <p:nvPr/>
                </p:nvPicPr>
                <p:blipFill>
                  <a:blip r:embed="rId2"/>
                  <a:stretch/>
                </p:blipFill>
                <p:spPr>
                  <a:xfrm>
                    <a:off x="1440" y="1440"/>
                    <a:ext cx="1080" cy="1080"/>
                  </a:xfrm>
                  <a:prstGeom prst="rect">
                    <a:avLst/>
                  </a:prstGeom>
                  <a:ln w="0">
                    <a:noFill/>
                  </a:ln>
                </p:spPr>
              </p:pic>
            </p:oleObj>
          </a:graphicData>
        </a:graphic>
      </p:graphicFrame>
      <p:sp>
        <p:nvSpPr>
          <p:cNvPr id="817" name="PlaceHolder 1"/>
          <p:cNvSpPr>
            <a:spLocks noGrp="1"/>
          </p:cNvSpPr>
          <p:nvPr>
            <p:ph type="title"/>
          </p:nvPr>
        </p:nvSpPr>
        <p:spPr>
          <a:xfrm>
            <a:off x="407880" y="349560"/>
            <a:ext cx="11375640" cy="450720"/>
          </a:xfrm>
          <a:prstGeom prst="rect">
            <a:avLst/>
          </a:prstGeom>
          <a:noFill/>
          <a:ln w="0">
            <a:noFill/>
          </a:ln>
        </p:spPr>
        <p:txBody>
          <a:bodyPr lIns="0" rIns="0" tIns="0" bIns="0" anchor="t">
            <a:noAutofit/>
          </a:bodyPr>
          <a:p>
            <a:pPr indent="0" defTabSz="914400">
              <a:lnSpc>
                <a:spcPct val="90000"/>
              </a:lnSpc>
              <a:buNone/>
            </a:pPr>
            <a:r>
              <a:rPr b="1" lang="en-US" sz="3000" spc="-1" strike="noStrike">
                <a:solidFill>
                  <a:schemeClr val="accent1"/>
                </a:solidFill>
                <a:latin typeface="Arial"/>
                <a:ea typeface="Arial"/>
              </a:rPr>
              <a:t>PETRA III</a:t>
            </a:r>
            <a:endParaRPr b="0" lang="en-US" sz="3000" spc="-1" strike="noStrike">
              <a:solidFill>
                <a:schemeClr val="dk1"/>
              </a:solidFill>
              <a:latin typeface="Arial"/>
            </a:endParaRPr>
          </a:p>
        </p:txBody>
      </p:sp>
      <p:sp>
        <p:nvSpPr>
          <p:cNvPr id="818" name="TextBox 22"/>
          <p:cNvSpPr/>
          <p:nvPr/>
        </p:nvSpPr>
        <p:spPr>
          <a:xfrm>
            <a:off x="9916920" y="404640"/>
            <a:ext cx="1528200" cy="303120"/>
          </a:xfrm>
          <a:prstGeom prst="rect">
            <a:avLst/>
          </a:prstGeom>
          <a:noFill/>
          <a:ln w="0">
            <a:noFill/>
          </a:ln>
        </p:spPr>
        <p:style>
          <a:lnRef idx="0"/>
          <a:fillRef idx="0"/>
          <a:effectRef idx="0"/>
          <a:fontRef idx="minor"/>
        </p:style>
        <p:txBody>
          <a:bodyPr wrap="none" lIns="90000" rIns="90000" tIns="45000" bIns="45000" anchor="t">
            <a:spAutoFit/>
          </a:bodyPr>
          <a:p>
            <a:pPr defTabSz="457200">
              <a:lnSpc>
                <a:spcPct val="100000"/>
              </a:lnSpc>
            </a:pPr>
            <a:r>
              <a:rPr b="1" lang="en-DE" sz="1400" spc="-1" strike="noStrike">
                <a:solidFill>
                  <a:schemeClr val="dk1"/>
                </a:solidFill>
                <a:latin typeface="Arial"/>
                <a:ea typeface="Arial"/>
              </a:rPr>
              <a:t>Nutzer-Herkunft</a:t>
            </a:r>
            <a:endParaRPr b="0" lang="en-US" sz="1400" spc="-1" strike="noStrike">
              <a:solidFill>
                <a:srgbClr val="ffffff"/>
              </a:solidFill>
              <a:latin typeface="Calibri"/>
            </a:endParaRPr>
          </a:p>
        </p:txBody>
      </p:sp>
      <p:sp>
        <p:nvSpPr>
          <p:cNvPr id="819" name="Content Placeholder 3"/>
          <p:cNvSpPr/>
          <p:nvPr/>
        </p:nvSpPr>
        <p:spPr>
          <a:xfrm>
            <a:off x="442800" y="1212120"/>
            <a:ext cx="7212960" cy="1208520"/>
          </a:xfrm>
          <a:prstGeom prst="rect">
            <a:avLst/>
          </a:prstGeom>
          <a:noFill/>
          <a:ln w="0">
            <a:noFill/>
          </a:ln>
        </p:spPr>
        <p:style>
          <a:lnRef idx="0"/>
          <a:fillRef idx="0"/>
          <a:effectRef idx="0"/>
          <a:fontRef idx="minor"/>
        </p:style>
        <p:txBody>
          <a:bodyPr lIns="0" rIns="0" tIns="0" bIns="0" anchor="t">
            <a:noAutofit/>
          </a:bodyPr>
          <a:p>
            <a:pPr marL="361800" indent="-361800" defTabSz="914400">
              <a:lnSpc>
                <a:spcPct val="125000"/>
              </a:lnSpc>
              <a:buClr>
                <a:srgbClr val="009fdf"/>
              </a:buClr>
              <a:buSzPct val="110000"/>
              <a:buFont typeface="Arial"/>
              <a:buChar char="&gt;"/>
              <a:tabLst>
                <a:tab algn="l" pos="361800"/>
              </a:tabLst>
            </a:pPr>
            <a:r>
              <a:rPr b="0" lang="en-US" sz="1800" spc="-1" strike="noStrike">
                <a:solidFill>
                  <a:schemeClr val="lt1"/>
                </a:solidFill>
                <a:latin typeface="Arial"/>
                <a:ea typeface="Arial"/>
              </a:rPr>
              <a:t>PETRA III operating since 2013, 27 beam lines</a:t>
            </a:r>
            <a:endParaRPr b="0" lang="en-US" sz="1800" spc="-1" strike="noStrike">
              <a:solidFill>
                <a:srgbClr val="ffffff"/>
              </a:solidFill>
              <a:latin typeface="Calibri"/>
            </a:endParaRPr>
          </a:p>
          <a:p>
            <a:pPr marL="361800" indent="-361800" defTabSz="914400">
              <a:lnSpc>
                <a:spcPct val="125000"/>
              </a:lnSpc>
              <a:buClr>
                <a:srgbClr val="009fdf"/>
              </a:buClr>
              <a:buSzPct val="110000"/>
              <a:buFont typeface="Arial"/>
              <a:buChar char="&gt;"/>
              <a:tabLst>
                <a:tab algn="l" pos="361800"/>
              </a:tabLst>
            </a:pPr>
            <a:r>
              <a:rPr b="0" lang="en-US" sz="1800" spc="-1" strike="noStrike">
                <a:solidFill>
                  <a:schemeClr val="lt1"/>
                </a:solidFill>
                <a:latin typeface="Arial"/>
                <a:ea typeface="Arial"/>
              </a:rPr>
              <a:t>About 8</a:t>
            </a:r>
            <a:r>
              <a:rPr b="0" lang="en-US" sz="1800" spc="-1" strike="noStrike">
                <a:solidFill>
                  <a:schemeClr val="lt1"/>
                </a:solidFill>
                <a:latin typeface="Arial"/>
                <a:ea typeface="Arial"/>
              </a:rPr>
              <a:t>000 user visits per year (45% intl.); 800 publications/year</a:t>
            </a:r>
            <a:endParaRPr b="0" lang="en-US" sz="1800" spc="-1" strike="noStrike">
              <a:solidFill>
                <a:srgbClr val="ffffff"/>
              </a:solidFill>
              <a:latin typeface="Calibri"/>
            </a:endParaRPr>
          </a:p>
          <a:p>
            <a:pPr marL="361800" indent="-361800" defTabSz="914400">
              <a:lnSpc>
                <a:spcPct val="125000"/>
              </a:lnSpc>
              <a:buClr>
                <a:srgbClr val="009fdf"/>
              </a:buClr>
              <a:buSzPct val="110000"/>
              <a:buFont typeface="Arial"/>
              <a:buChar char="&gt;"/>
              <a:tabLst>
                <a:tab algn="l" pos="361800"/>
              </a:tabLst>
            </a:pPr>
            <a:r>
              <a:rPr b="0" lang="en-US" sz="1800" spc="-1" strike="noStrike">
                <a:solidFill>
                  <a:schemeClr val="lt1"/>
                </a:solidFill>
                <a:latin typeface="Arial"/>
                <a:ea typeface="Arial"/>
              </a:rPr>
              <a:t>Beamlines support science and industrial research</a:t>
            </a:r>
            <a:endParaRPr b="0" lang="en-US" sz="1800" spc="-1" strike="noStrike">
              <a:solidFill>
                <a:srgbClr val="ffffff"/>
              </a:solidFill>
              <a:latin typeface="Calibri"/>
            </a:endParaRPr>
          </a:p>
        </p:txBody>
      </p:sp>
      <p:sp>
        <p:nvSpPr>
          <p:cNvPr id="820" name="PlaceHolder 2"/>
          <p:cNvSpPr>
            <a:spLocks noGrp="1"/>
          </p:cNvSpPr>
          <p:nvPr>
            <p:ph type="ftr" idx="41"/>
          </p:nvPr>
        </p:nvSpPr>
        <p:spPr>
          <a:xfrm>
            <a:off x="708120" y="6547680"/>
            <a:ext cx="10032120" cy="186480"/>
          </a:xfrm>
          <a:prstGeom prst="rect">
            <a:avLst/>
          </a:prstGeom>
          <a:noFill/>
          <a:ln w="0">
            <a:noFill/>
          </a:ln>
        </p:spPr>
        <p:txBody>
          <a:bodyPr lIns="0" rIns="0" tIns="0" bIns="0" anchor="t">
            <a:noAutofit/>
          </a:bodyPr>
          <a:lstStyle>
            <a:lvl1pPr indent="0" defTabSz="457200">
              <a:lnSpc>
                <a:spcPct val="100000"/>
              </a:lnSpc>
              <a:buNone/>
              <a:defRPr b="0" lang="en-US" sz="1100" spc="-1" strike="noStrike">
                <a:solidFill>
                  <a:schemeClr val="lt1"/>
                </a:solidFill>
                <a:latin typeface="Arial"/>
                <a:ea typeface="Arial"/>
              </a:defRPr>
            </a:lvl1pPr>
          </a:lstStyle>
          <a:p>
            <a:pPr indent="0" defTabSz="457200">
              <a:lnSpc>
                <a:spcPct val="100000"/>
              </a:lnSpc>
              <a:buNone/>
            </a:pPr>
            <a:r>
              <a:rPr b="0" lang="en-US" sz="1100" spc="-1" strike="noStrike">
                <a:solidFill>
                  <a:schemeClr val="lt1"/>
                </a:solidFill>
                <a:latin typeface="Arial"/>
                <a:ea typeface="Arial"/>
              </a:rPr>
              <a:t>Beate Heinemann, microTCA workshop in Hamburg, 12/2024</a:t>
            </a:r>
            <a:endParaRPr b="0" lang="en-US" sz="1100" spc="-1" strike="noStrike">
              <a:solidFill>
                <a:srgbClr val="ffffff"/>
              </a:solidFill>
              <a:latin typeface="Calibri"/>
            </a:endParaRPr>
          </a:p>
        </p:txBody>
      </p:sp>
      <p:sp>
        <p:nvSpPr>
          <p:cNvPr id="821" name="PlaceHolder 3"/>
          <p:cNvSpPr>
            <a:spLocks noGrp="1"/>
          </p:cNvSpPr>
          <p:nvPr>
            <p:ph/>
          </p:nvPr>
        </p:nvSpPr>
        <p:spPr>
          <a:xfrm>
            <a:off x="442800" y="911880"/>
            <a:ext cx="11305800" cy="378720"/>
          </a:xfrm>
          <a:prstGeom prst="rect">
            <a:avLst/>
          </a:prstGeom>
          <a:noFill/>
          <a:ln w="0">
            <a:noFill/>
          </a:ln>
        </p:spPr>
        <p:txBody>
          <a:bodyPr lIns="0" rIns="0" tIns="0" bIns="0" anchor="t">
            <a:noAutofit/>
          </a:bodyPr>
          <a:p>
            <a:pPr indent="0" defTabSz="914400">
              <a:lnSpc>
                <a:spcPct val="100000"/>
              </a:lnSpc>
              <a:buNone/>
              <a:tabLst>
                <a:tab algn="l" pos="0"/>
              </a:tabLst>
            </a:pPr>
            <a:r>
              <a:rPr b="1" lang="en-US" sz="1600" spc="-1" strike="noStrike">
                <a:solidFill>
                  <a:schemeClr val="accent2"/>
                </a:solidFill>
                <a:latin typeface="Arial"/>
                <a:ea typeface="Arial"/>
              </a:rPr>
              <a:t>World leading facilities for photon science</a:t>
            </a:r>
            <a:endParaRPr b="0" lang="en-US" sz="1600" spc="-1" strike="noStrike">
              <a:solidFill>
                <a:schemeClr val="lt1"/>
              </a:solidFill>
              <a:latin typeface="Arial"/>
            </a:endParaRPr>
          </a:p>
        </p:txBody>
      </p:sp>
      <p:grpSp>
        <p:nvGrpSpPr>
          <p:cNvPr id="822" name="Group 29"/>
          <p:cNvGrpSpPr/>
          <p:nvPr/>
        </p:nvGrpSpPr>
        <p:grpSpPr>
          <a:xfrm>
            <a:off x="7392240" y="2429280"/>
            <a:ext cx="4167360" cy="4062600"/>
            <a:chOff x="7392240" y="2429280"/>
            <a:chExt cx="4167360" cy="4062600"/>
          </a:xfrm>
        </p:grpSpPr>
        <p:sp>
          <p:nvSpPr>
            <p:cNvPr id="823" name="TextBox 23"/>
            <p:cNvSpPr/>
            <p:nvPr/>
          </p:nvSpPr>
          <p:spPr>
            <a:xfrm>
              <a:off x="10721520" y="3656520"/>
              <a:ext cx="716040" cy="303120"/>
            </a:xfrm>
            <a:prstGeom prst="rect">
              <a:avLst/>
            </a:prstGeom>
            <a:noFill/>
            <a:ln w="0">
              <a:noFill/>
            </a:ln>
          </p:spPr>
          <p:style>
            <a:lnRef idx="0"/>
            <a:fillRef idx="0"/>
            <a:effectRef idx="0"/>
            <a:fontRef idx="minor"/>
          </p:style>
          <p:txBody>
            <a:bodyPr wrap="none" lIns="90000" rIns="90000" tIns="45000" bIns="45000" anchor="t">
              <a:spAutoFit/>
            </a:bodyPr>
            <a:p>
              <a:pPr defTabSz="457200">
                <a:lnSpc>
                  <a:spcPct val="100000"/>
                </a:lnSpc>
              </a:pPr>
              <a:r>
                <a:rPr b="1" lang="en-DE" sz="1400" spc="-1" strike="noStrike">
                  <a:solidFill>
                    <a:schemeClr val="dk1"/>
                  </a:solidFill>
                  <a:latin typeface="Arial"/>
                  <a:ea typeface="Arial"/>
                </a:rPr>
                <a:t>Felder</a:t>
              </a:r>
              <a:endParaRPr b="0" lang="en-US" sz="1400" spc="-1" strike="noStrike">
                <a:solidFill>
                  <a:srgbClr val="ffffff"/>
                </a:solidFill>
                <a:latin typeface="Calibri"/>
              </a:endParaRPr>
            </a:p>
          </p:txBody>
        </p:sp>
        <p:pic>
          <p:nvPicPr>
            <p:cNvPr id="824" name="Picture 10" descr=""/>
            <p:cNvPicPr/>
            <p:nvPr/>
          </p:nvPicPr>
          <p:blipFill>
            <a:blip r:embed="rId3"/>
            <a:stretch/>
          </p:blipFill>
          <p:spPr>
            <a:xfrm>
              <a:off x="7392240" y="2429280"/>
              <a:ext cx="4167360" cy="4062600"/>
            </a:xfrm>
            <a:prstGeom prst="rect">
              <a:avLst/>
            </a:prstGeom>
            <a:ln w="0">
              <a:noFill/>
            </a:ln>
          </p:spPr>
        </p:pic>
        <p:sp>
          <p:nvSpPr>
            <p:cNvPr id="825" name="Rectangle 11"/>
            <p:cNvSpPr/>
            <p:nvPr/>
          </p:nvSpPr>
          <p:spPr>
            <a:xfrm>
              <a:off x="11080440" y="5608080"/>
              <a:ext cx="463320" cy="87552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defTabSz="457200">
                <a:lnSpc>
                  <a:spcPct val="100000"/>
                </a:lnSpc>
              </a:pPr>
              <a:endParaRPr b="0" lang="de-DE" sz="1900" spc="-1" strike="noStrike">
                <a:solidFill>
                  <a:schemeClr val="lt1"/>
                </a:solidFill>
                <a:latin typeface="Arial"/>
                <a:ea typeface="Arial"/>
              </a:endParaRPr>
            </a:p>
          </p:txBody>
        </p:sp>
        <p:sp>
          <p:nvSpPr>
            <p:cNvPr id="826" name="Rectangle 13"/>
            <p:cNvSpPr/>
            <p:nvPr/>
          </p:nvSpPr>
          <p:spPr>
            <a:xfrm>
              <a:off x="7404840" y="5465880"/>
              <a:ext cx="463320" cy="99180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defTabSz="457200">
                <a:lnSpc>
                  <a:spcPct val="100000"/>
                </a:lnSpc>
              </a:pPr>
              <a:endParaRPr b="0" lang="de-DE" sz="1900" spc="-1" strike="noStrike">
                <a:solidFill>
                  <a:schemeClr val="lt1"/>
                </a:solidFill>
                <a:latin typeface="Arial"/>
                <a:ea typeface="Arial"/>
              </a:endParaRPr>
            </a:p>
          </p:txBody>
        </p:sp>
        <p:sp>
          <p:nvSpPr>
            <p:cNvPr id="827" name="Rectangle 25"/>
            <p:cNvSpPr/>
            <p:nvPr/>
          </p:nvSpPr>
          <p:spPr>
            <a:xfrm>
              <a:off x="7842960" y="6035040"/>
              <a:ext cx="463320" cy="44100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p:style>
          <p:txBody>
            <a:bodyPr lIns="90000" rIns="90000" tIns="45000" bIns="45000" anchor="ctr">
              <a:noAutofit/>
            </a:bodyPr>
            <a:p>
              <a:pPr algn="ctr" defTabSz="457200">
                <a:lnSpc>
                  <a:spcPct val="100000"/>
                </a:lnSpc>
              </a:pPr>
              <a:endParaRPr b="0" lang="de-DE" sz="1900" spc="-1" strike="noStrike">
                <a:solidFill>
                  <a:schemeClr val="lt1"/>
                </a:solidFill>
                <a:latin typeface="Arial"/>
                <a:ea typeface="Arial"/>
              </a:endParaRPr>
            </a:p>
          </p:txBody>
        </p:sp>
        <p:sp>
          <p:nvSpPr>
            <p:cNvPr id="828" name="TextBox 9"/>
            <p:cNvSpPr/>
            <p:nvPr/>
          </p:nvSpPr>
          <p:spPr>
            <a:xfrm>
              <a:off x="8410320" y="3016800"/>
              <a:ext cx="1195920" cy="455400"/>
            </a:xfrm>
            <a:prstGeom prst="rect">
              <a:avLst/>
            </a:prstGeom>
            <a:solidFill>
              <a:schemeClr val="accent6">
                <a:lumMod val="75000"/>
              </a:schemeClr>
            </a:solidFill>
            <a:ln w="0">
              <a:noFill/>
            </a:ln>
          </p:spPr>
          <p:style>
            <a:lnRef idx="0"/>
            <a:fillRef idx="0"/>
            <a:effectRef idx="0"/>
            <a:fontRef idx="minor"/>
          </p:style>
          <p:txBody>
            <a:bodyPr wrap="none" lIns="90000" rIns="90000" tIns="45000" bIns="45000" anchor="t">
              <a:spAutoFit/>
            </a:bodyPr>
            <a:p>
              <a:pPr defTabSz="457200">
                <a:lnSpc>
                  <a:spcPct val="100000"/>
                </a:lnSpc>
              </a:pPr>
              <a:r>
                <a:rPr b="0" lang="en-GB" sz="1200" spc="-1" strike="noStrike">
                  <a:solidFill>
                    <a:schemeClr val="lt1"/>
                  </a:solidFill>
                  <a:latin typeface="Arial"/>
                  <a:ea typeface="Arial"/>
                </a:rPr>
                <a:t>Environmental </a:t>
              </a:r>
              <a:endParaRPr b="0" lang="en-US" sz="1200" spc="-1" strike="noStrike">
                <a:solidFill>
                  <a:srgbClr val="ffffff"/>
                </a:solidFill>
                <a:latin typeface="Calibri"/>
              </a:endParaRPr>
            </a:p>
            <a:p>
              <a:pPr defTabSz="457200">
                <a:lnSpc>
                  <a:spcPct val="100000"/>
                </a:lnSpc>
              </a:pPr>
              <a:r>
                <a:rPr b="0" lang="en-GB" sz="1200" spc="-1" strike="noStrike">
                  <a:solidFill>
                    <a:schemeClr val="lt1"/>
                  </a:solidFill>
                  <a:latin typeface="Arial"/>
                  <a:ea typeface="Arial"/>
                </a:rPr>
                <a:t>Research</a:t>
              </a:r>
              <a:endParaRPr b="0" lang="en-US" sz="1200" spc="-1" strike="noStrike">
                <a:solidFill>
                  <a:srgbClr val="ffffff"/>
                </a:solidFill>
                <a:latin typeface="Calibri"/>
              </a:endParaRPr>
            </a:p>
          </p:txBody>
        </p:sp>
        <p:sp>
          <p:nvSpPr>
            <p:cNvPr id="829" name="TextBox 12"/>
            <p:cNvSpPr/>
            <p:nvPr/>
          </p:nvSpPr>
          <p:spPr>
            <a:xfrm>
              <a:off x="9741240" y="3088080"/>
              <a:ext cx="1036080" cy="455400"/>
            </a:xfrm>
            <a:prstGeom prst="rect">
              <a:avLst/>
            </a:prstGeom>
            <a:solidFill>
              <a:schemeClr val="accent2"/>
            </a:solidFill>
            <a:ln w="0">
              <a:noFill/>
            </a:ln>
          </p:spPr>
          <p:style>
            <a:lnRef idx="0"/>
            <a:fillRef idx="0"/>
            <a:effectRef idx="0"/>
            <a:fontRef idx="minor"/>
          </p:style>
          <p:txBody>
            <a:bodyPr wrap="none" lIns="90000" rIns="90000" tIns="45000" bIns="45000" anchor="t">
              <a:spAutoFit/>
            </a:bodyPr>
            <a:p>
              <a:pPr defTabSz="457200">
                <a:lnSpc>
                  <a:spcPct val="100000"/>
                </a:lnSpc>
              </a:pPr>
              <a:r>
                <a:rPr b="0" lang="en-GB" sz="1200" spc="-1" strike="noStrike">
                  <a:solidFill>
                    <a:schemeClr val="lt1"/>
                  </a:solidFill>
                  <a:latin typeface="Arial"/>
                  <a:ea typeface="Arial"/>
                </a:rPr>
                <a:t>Novel </a:t>
              </a:r>
              <a:endParaRPr b="0" lang="en-US" sz="1200" spc="-1" strike="noStrike">
                <a:solidFill>
                  <a:srgbClr val="000000"/>
                </a:solidFill>
                <a:latin typeface="Calibri"/>
              </a:endParaRPr>
            </a:p>
            <a:p>
              <a:pPr defTabSz="457200">
                <a:lnSpc>
                  <a:spcPct val="100000"/>
                </a:lnSpc>
              </a:pPr>
              <a:r>
                <a:rPr b="0" lang="en-GB" sz="1200" spc="-1" strike="noStrike">
                  <a:solidFill>
                    <a:schemeClr val="lt1"/>
                  </a:solidFill>
                  <a:latin typeface="Arial"/>
                  <a:ea typeface="Arial"/>
                </a:rPr>
                <a:t>technologies</a:t>
              </a:r>
              <a:endParaRPr b="0" lang="en-US" sz="1200" spc="-1" strike="noStrike">
                <a:solidFill>
                  <a:srgbClr val="000000"/>
                </a:solidFill>
                <a:latin typeface="Calibri"/>
              </a:endParaRPr>
            </a:p>
          </p:txBody>
        </p:sp>
        <p:sp>
          <p:nvSpPr>
            <p:cNvPr id="830" name="TextBox 14"/>
            <p:cNvSpPr/>
            <p:nvPr/>
          </p:nvSpPr>
          <p:spPr>
            <a:xfrm>
              <a:off x="10434600" y="4113720"/>
              <a:ext cx="1019160" cy="638280"/>
            </a:xfrm>
            <a:prstGeom prst="rect">
              <a:avLst/>
            </a:prstGeom>
            <a:solidFill>
              <a:schemeClr val="accent1"/>
            </a:solidFill>
            <a:ln w="0">
              <a:noFill/>
            </a:ln>
          </p:spPr>
          <p:style>
            <a:lnRef idx="0"/>
            <a:fillRef idx="0"/>
            <a:effectRef idx="0"/>
            <a:fontRef idx="minor"/>
          </p:style>
          <p:txBody>
            <a:bodyPr wrap="none" lIns="90000" rIns="90000" tIns="45000" bIns="45000" anchor="t">
              <a:spAutoFit/>
            </a:bodyPr>
            <a:p>
              <a:pPr defTabSz="457200">
                <a:lnSpc>
                  <a:spcPct val="100000"/>
                </a:lnSpc>
              </a:pPr>
              <a:r>
                <a:rPr b="0" lang="en-GB" sz="1200" spc="-1" strike="noStrike">
                  <a:solidFill>
                    <a:schemeClr val="lt1"/>
                  </a:solidFill>
                  <a:latin typeface="Arial"/>
                  <a:ea typeface="Arial"/>
                </a:rPr>
                <a:t>Sustainable </a:t>
              </a:r>
              <a:endParaRPr b="0" lang="en-US" sz="1200" spc="-1" strike="noStrike">
                <a:solidFill>
                  <a:srgbClr val="ffffff"/>
                </a:solidFill>
                <a:latin typeface="Calibri"/>
              </a:endParaRPr>
            </a:p>
            <a:p>
              <a:pPr defTabSz="457200">
                <a:lnSpc>
                  <a:spcPct val="100000"/>
                </a:lnSpc>
              </a:pPr>
              <a:r>
                <a:rPr b="0" lang="en-GB" sz="1200" spc="-1" strike="noStrike">
                  <a:solidFill>
                    <a:schemeClr val="lt1"/>
                  </a:solidFill>
                  <a:latin typeface="Arial"/>
                  <a:ea typeface="Arial"/>
                </a:rPr>
                <a:t>Energy </a:t>
              </a:r>
              <a:endParaRPr b="0" lang="en-US" sz="1200" spc="-1" strike="noStrike">
                <a:solidFill>
                  <a:srgbClr val="ffffff"/>
                </a:solidFill>
                <a:latin typeface="Calibri"/>
              </a:endParaRPr>
            </a:p>
            <a:p>
              <a:pPr defTabSz="457200">
                <a:lnSpc>
                  <a:spcPct val="100000"/>
                </a:lnSpc>
              </a:pPr>
              <a:r>
                <a:rPr b="0" lang="en-GB" sz="1200" spc="-1" strike="noStrike">
                  <a:solidFill>
                    <a:schemeClr val="lt1"/>
                  </a:solidFill>
                  <a:latin typeface="Arial"/>
                  <a:ea typeface="Arial"/>
                </a:rPr>
                <a:t>materianls</a:t>
              </a:r>
              <a:endParaRPr b="0" lang="en-US" sz="1200" spc="-1" strike="noStrike">
                <a:solidFill>
                  <a:srgbClr val="ffffff"/>
                </a:solidFill>
                <a:latin typeface="Calibri"/>
              </a:endParaRPr>
            </a:p>
          </p:txBody>
        </p:sp>
        <p:sp>
          <p:nvSpPr>
            <p:cNvPr id="831" name="TextBox 26"/>
            <p:cNvSpPr/>
            <p:nvPr/>
          </p:nvSpPr>
          <p:spPr>
            <a:xfrm>
              <a:off x="7646400" y="4113720"/>
              <a:ext cx="879120" cy="638280"/>
            </a:xfrm>
            <a:prstGeom prst="rect">
              <a:avLst/>
            </a:prstGeom>
            <a:solidFill>
              <a:schemeClr val="accent4"/>
            </a:solidFill>
            <a:ln w="0">
              <a:noFill/>
            </a:ln>
          </p:spPr>
          <p:style>
            <a:lnRef idx="0"/>
            <a:fillRef idx="0"/>
            <a:effectRef idx="0"/>
            <a:fontRef idx="minor"/>
          </p:style>
          <p:txBody>
            <a:bodyPr lIns="90000" rIns="90000" tIns="45000" bIns="45000" anchor="t">
              <a:spAutoFit/>
            </a:bodyPr>
            <a:p>
              <a:pPr defTabSz="457200">
                <a:lnSpc>
                  <a:spcPct val="100000"/>
                </a:lnSpc>
              </a:pPr>
              <a:r>
                <a:rPr b="0" lang="en-GB" sz="1200" spc="-1" strike="noStrike">
                  <a:solidFill>
                    <a:schemeClr val="lt1"/>
                  </a:solidFill>
                  <a:latin typeface="Arial"/>
                  <a:ea typeface="Arial"/>
                </a:rPr>
                <a:t>Key </a:t>
              </a:r>
              <a:endParaRPr b="0" lang="en-US" sz="1200" spc="-1" strike="noStrike">
                <a:solidFill>
                  <a:srgbClr val="ffffff"/>
                </a:solidFill>
                <a:latin typeface="Calibri"/>
              </a:endParaRPr>
            </a:p>
            <a:p>
              <a:pPr defTabSz="457200">
                <a:lnSpc>
                  <a:spcPct val="100000"/>
                </a:lnSpc>
              </a:pPr>
              <a:r>
                <a:rPr b="0" lang="en-GB" sz="1200" spc="-1" strike="noStrike">
                  <a:solidFill>
                    <a:schemeClr val="lt1"/>
                  </a:solidFill>
                  <a:latin typeface="Arial"/>
                  <a:ea typeface="Arial"/>
                </a:rPr>
                <a:t>Techno-</a:t>
              </a:r>
              <a:endParaRPr b="0" lang="en-US" sz="1200" spc="-1" strike="noStrike">
                <a:solidFill>
                  <a:srgbClr val="ffffff"/>
                </a:solidFill>
                <a:latin typeface="Calibri"/>
              </a:endParaRPr>
            </a:p>
            <a:p>
              <a:pPr defTabSz="457200">
                <a:lnSpc>
                  <a:spcPct val="100000"/>
                </a:lnSpc>
              </a:pPr>
              <a:r>
                <a:rPr b="0" lang="en-GB" sz="1200" spc="-1" strike="noStrike">
                  <a:solidFill>
                    <a:schemeClr val="lt1"/>
                  </a:solidFill>
                  <a:latin typeface="Arial"/>
                  <a:ea typeface="Arial"/>
                </a:rPr>
                <a:t>logies</a:t>
              </a:r>
              <a:endParaRPr b="0" lang="en-US" sz="1200" spc="-1" strike="noStrike">
                <a:solidFill>
                  <a:srgbClr val="ffffff"/>
                </a:solidFill>
                <a:latin typeface="Calibri"/>
              </a:endParaRPr>
            </a:p>
          </p:txBody>
        </p:sp>
        <p:sp>
          <p:nvSpPr>
            <p:cNvPr id="832" name="TextBox 27"/>
            <p:cNvSpPr/>
            <p:nvPr/>
          </p:nvSpPr>
          <p:spPr>
            <a:xfrm>
              <a:off x="8817840" y="5538600"/>
              <a:ext cx="1375920" cy="638280"/>
            </a:xfrm>
            <a:prstGeom prst="rect">
              <a:avLst/>
            </a:prstGeom>
            <a:solidFill>
              <a:srgbClr val="92d050"/>
            </a:solidFill>
            <a:ln w="0">
              <a:noFill/>
            </a:ln>
          </p:spPr>
          <p:style>
            <a:lnRef idx="0"/>
            <a:fillRef idx="0"/>
            <a:effectRef idx="0"/>
            <a:fontRef idx="minor"/>
          </p:style>
          <p:txBody>
            <a:bodyPr lIns="90000" rIns="90000" tIns="45000" bIns="45000" anchor="t">
              <a:spAutoFit/>
            </a:bodyPr>
            <a:p>
              <a:pPr defTabSz="457200">
                <a:lnSpc>
                  <a:spcPct val="100000"/>
                </a:lnSpc>
              </a:pPr>
              <a:r>
                <a:rPr b="0" lang="en-GB" sz="1200" spc="-1" strike="noStrike">
                  <a:solidFill>
                    <a:schemeClr val="dk1"/>
                  </a:solidFill>
                  <a:latin typeface="Arial"/>
                  <a:ea typeface="Arial"/>
                </a:rPr>
                <a:t>Health related </a:t>
              </a:r>
              <a:endParaRPr b="0" lang="en-US" sz="1200" spc="-1" strike="noStrike">
                <a:solidFill>
                  <a:srgbClr val="000000"/>
                </a:solidFill>
                <a:latin typeface="Calibri"/>
              </a:endParaRPr>
            </a:p>
            <a:p>
              <a:pPr defTabSz="457200">
                <a:lnSpc>
                  <a:spcPct val="100000"/>
                </a:lnSpc>
              </a:pPr>
              <a:r>
                <a:rPr b="0" lang="en-GB" sz="1200" spc="-1" strike="noStrike">
                  <a:solidFill>
                    <a:schemeClr val="dk1"/>
                  </a:solidFill>
                  <a:latin typeface="Arial"/>
                  <a:ea typeface="Arial"/>
                </a:rPr>
                <a:t>Research</a:t>
              </a:r>
              <a:endParaRPr b="0" lang="en-US" sz="1200" spc="-1" strike="noStrike">
                <a:solidFill>
                  <a:srgbClr val="000000"/>
                </a:solidFill>
                <a:latin typeface="Calibri"/>
              </a:endParaRPr>
            </a:p>
            <a:p>
              <a:pPr defTabSz="457200">
                <a:lnSpc>
                  <a:spcPct val="100000"/>
                </a:lnSpc>
              </a:pPr>
              <a:endParaRPr b="0" lang="en-US" sz="1200" spc="-1" strike="noStrike">
                <a:solidFill>
                  <a:srgbClr val="000000"/>
                </a:solidFill>
                <a:latin typeface="Calibri"/>
              </a:endParaRPr>
            </a:p>
          </p:txBody>
        </p:sp>
        <p:sp>
          <p:nvSpPr>
            <p:cNvPr id="833" name="TextBox 28"/>
            <p:cNvSpPr/>
            <p:nvPr/>
          </p:nvSpPr>
          <p:spPr>
            <a:xfrm>
              <a:off x="8765640" y="3922560"/>
              <a:ext cx="1513080" cy="759960"/>
            </a:xfrm>
            <a:prstGeom prst="rect">
              <a:avLst/>
            </a:prstGeom>
            <a:solidFill>
              <a:schemeClr val="bg1"/>
            </a:solidFill>
            <a:ln w="0">
              <a:noFill/>
            </a:ln>
          </p:spPr>
          <p:style>
            <a:lnRef idx="0"/>
            <a:fillRef idx="0"/>
            <a:effectRef idx="0"/>
            <a:fontRef idx="minor"/>
          </p:style>
          <p:txBody>
            <a:bodyPr wrap="none" lIns="90000" rIns="90000" tIns="45000" bIns="45000" anchor="t">
              <a:spAutoFit/>
            </a:bodyPr>
            <a:p>
              <a:pPr algn="ctr" defTabSz="457200">
                <a:lnSpc>
                  <a:spcPct val="100000"/>
                </a:lnSpc>
              </a:pPr>
              <a:r>
                <a:rPr b="1" lang="en-GB" sz="2200" spc="-1" strike="noStrike">
                  <a:solidFill>
                    <a:schemeClr val="dk1"/>
                  </a:solidFill>
                  <a:latin typeface="Arial"/>
                  <a:ea typeface="Arial"/>
                </a:rPr>
                <a:t>Research </a:t>
              </a:r>
              <a:endParaRPr b="0" lang="en-US" sz="2200" spc="-1" strike="noStrike">
                <a:solidFill>
                  <a:srgbClr val="000000"/>
                </a:solidFill>
                <a:latin typeface="Calibri"/>
              </a:endParaRPr>
            </a:p>
            <a:p>
              <a:pPr algn="ctr" defTabSz="457200">
                <a:lnSpc>
                  <a:spcPct val="100000"/>
                </a:lnSpc>
              </a:pPr>
              <a:r>
                <a:rPr b="1" lang="en-GB" sz="2200" spc="-1" strike="noStrike">
                  <a:solidFill>
                    <a:schemeClr val="dk1"/>
                  </a:solidFill>
                  <a:latin typeface="Arial"/>
                  <a:ea typeface="Arial"/>
                </a:rPr>
                <a:t>at</a:t>
              </a:r>
              <a:endParaRPr b="0" lang="en-US" sz="2200" spc="-1" strike="noStrike">
                <a:solidFill>
                  <a:srgbClr val="000000"/>
                </a:solidFill>
                <a:latin typeface="Calibri"/>
              </a:endParaRPr>
            </a:p>
          </p:txBody>
        </p:sp>
      </p:grpSp>
      <p:pic>
        <p:nvPicPr>
          <p:cNvPr id="834" name="Picture 3" descr=""/>
          <p:cNvPicPr/>
          <p:nvPr/>
        </p:nvPicPr>
        <p:blipFill>
          <a:blip r:embed="rId4"/>
          <a:stretch/>
        </p:blipFill>
        <p:spPr>
          <a:xfrm>
            <a:off x="1114560" y="2436840"/>
            <a:ext cx="5592240" cy="4057560"/>
          </a:xfrm>
          <a:prstGeom prst="rect">
            <a:avLst/>
          </a:prstGeom>
          <a:ln w="0">
            <a:noFill/>
          </a:ln>
        </p:spPr>
      </p:pic>
    </p:spTree>
  </p:cSld>
  <p:transition>
    <p:fade/>
  </p:transition>
</p:sld>
</file>

<file path=ppt/slides/slide8.xml><?xml version="1.0" encoding="utf-8"?>
<p:sld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p:cSld>
    <p:spTree>
      <p:nvGrpSpPr>
        <p:cNvPr id="1" name=""/>
        <p:cNvGrpSpPr/>
        <p:nvPr/>
      </p:nvGrpSpPr>
      <p:grpSpPr>
        <a:xfrm>
          <a:off x="0" y="0"/>
          <a:ext cx="0" cy="0"/>
          <a:chOff x="0" y="0"/>
          <a:chExt cx="0" cy="0"/>
        </a:xfrm>
      </p:grpSpPr>
      <p:sp>
        <p:nvSpPr>
          <p:cNvPr id="835" name="PlaceHolder 1"/>
          <p:cNvSpPr>
            <a:spLocks noGrp="1"/>
          </p:cNvSpPr>
          <p:nvPr>
            <p:ph type="title"/>
          </p:nvPr>
        </p:nvSpPr>
        <p:spPr>
          <a:xfrm>
            <a:off x="310320" y="319320"/>
            <a:ext cx="11305800" cy="450720"/>
          </a:xfrm>
          <a:prstGeom prst="rect">
            <a:avLst/>
          </a:prstGeom>
          <a:noFill/>
          <a:ln w="0">
            <a:noFill/>
          </a:ln>
        </p:spPr>
        <p:txBody>
          <a:bodyPr lIns="0" rIns="0" tIns="0" bIns="0" anchor="t">
            <a:noAutofit/>
          </a:bodyPr>
          <a:p>
            <a:pPr indent="0" defTabSz="914400">
              <a:lnSpc>
                <a:spcPct val="90000"/>
              </a:lnSpc>
              <a:buNone/>
            </a:pPr>
            <a:r>
              <a:rPr b="1" lang="de-DE" sz="3600" spc="-1" strike="noStrike">
                <a:solidFill>
                  <a:schemeClr val="accent1"/>
                </a:solidFill>
                <a:latin typeface="Arial"/>
                <a:ea typeface="Arial"/>
              </a:rPr>
              <a:t>Example: Cooperation with BioNTech &amp; partnerns</a:t>
            </a:r>
            <a:endParaRPr b="0" lang="en-US" sz="3600" spc="-1" strike="noStrike">
              <a:solidFill>
                <a:schemeClr val="dk1"/>
              </a:solidFill>
              <a:latin typeface="Arial"/>
            </a:endParaRPr>
          </a:p>
        </p:txBody>
      </p:sp>
      <p:pic>
        <p:nvPicPr>
          <p:cNvPr id="836" name="Bildplatzhalter 6" descr=""/>
          <p:cNvPicPr/>
          <p:nvPr/>
        </p:nvPicPr>
        <p:blipFill>
          <a:blip r:embed="rId1"/>
          <a:srcRect l="0" t="10670" r="0" b="10670"/>
          <a:stretch/>
        </p:blipFill>
        <p:spPr>
          <a:xfrm>
            <a:off x="0" y="1422360"/>
            <a:ext cx="11305800" cy="5001840"/>
          </a:xfrm>
          <a:prstGeom prst="rect">
            <a:avLst/>
          </a:prstGeom>
          <a:ln w="0">
            <a:noFill/>
          </a:ln>
        </p:spPr>
      </p:pic>
      <p:pic>
        <p:nvPicPr>
          <p:cNvPr id="837" name="Grafik 6" descr=""/>
          <p:cNvPicPr/>
          <p:nvPr/>
        </p:nvPicPr>
        <p:blipFill>
          <a:blip r:embed="rId2"/>
          <a:stretch/>
        </p:blipFill>
        <p:spPr>
          <a:xfrm>
            <a:off x="8201520" y="1425960"/>
            <a:ext cx="3876120" cy="2180160"/>
          </a:xfrm>
          <a:prstGeom prst="rect">
            <a:avLst/>
          </a:prstGeom>
          <a:ln w="0">
            <a:noFill/>
          </a:ln>
        </p:spPr>
      </p:pic>
      <p:pic>
        <p:nvPicPr>
          <p:cNvPr id="838" name="Grafik 2" descr=""/>
          <p:cNvPicPr/>
          <p:nvPr/>
        </p:nvPicPr>
        <p:blipFill>
          <a:blip r:embed="rId3"/>
          <a:stretch/>
        </p:blipFill>
        <p:spPr>
          <a:xfrm>
            <a:off x="442800" y="4802400"/>
            <a:ext cx="5625000" cy="1621800"/>
          </a:xfrm>
          <a:prstGeom prst="rect">
            <a:avLst/>
          </a:prstGeom>
          <a:ln w="0">
            <a:noFill/>
          </a:ln>
        </p:spPr>
      </p:pic>
      <p:sp>
        <p:nvSpPr>
          <p:cNvPr id="3" name="PlaceHolder 2"/>
          <p:cNvSpPr>
            <a:spLocks noGrp="1"/>
          </p:cNvSpPr>
          <p:nvPr>
            <p:ph type="ftr" idx="26"/>
          </p:nvPr>
        </p:nvSpPr>
        <p:spPr/>
        <p:txBody>
          <a:bodyPr/>
          <a:p>
            <a:r>
              <a:t>Beate Heinemann, microTCA workshop in Hamburg, 12/2024</a:t>
            </a:r>
          </a:p>
        </p:txBody>
      </p:sp>
    </p:spTree>
  </p:cSld>
  <mc:AlternateContent>
    <mc:Choice Requires="p14">
      <p:transition spd="slow" p14:dur="2000"/>
    </mc:Choice>
    <mc:Fallback>
      <p:transition spd="slow"/>
    </mc:Fallback>
  </mc:AlternateContent>
</p:sld>
</file>

<file path=ppt/slides/slide9.xml><?xml version="1.0" encoding="utf-8"?>
<p:sld xmlns:a="http://schemas.openxmlformats.org/drawingml/2006/main" xmlns:p="http://schemas.openxmlformats.org/presentationml/2006/main" xmlns:r="http://schemas.openxmlformats.org/officeDocument/2006/relationships" xmlns:p14="http://schemas.microsoft.com/office/powerpoint/2010/main" xmlns:p15="http://schemas.microsoft.com/office/powerpoint/2012/main" xmlns:mc="http://schemas.openxmlformats.org/markup-compatibility/2006">
  <p:cSld>
    <p:spTree>
      <p:nvGrpSpPr>
        <p:cNvPr id="1" name=""/>
        <p:cNvGrpSpPr/>
        <p:nvPr/>
      </p:nvGrpSpPr>
      <p:grpSpPr>
        <a:xfrm>
          <a:off x="0" y="0"/>
          <a:ext cx="0" cy="0"/>
          <a:chOff x="0" y="0"/>
          <a:chExt cx="0" cy="0"/>
        </a:xfrm>
      </p:grpSpPr>
      <p:pic>
        <p:nvPicPr>
          <p:cNvPr id="839" name="Picture 2" descr=""/>
          <p:cNvPicPr/>
          <p:nvPr/>
        </p:nvPicPr>
        <p:blipFill>
          <a:blip r:embed="rId1"/>
          <a:stretch/>
        </p:blipFill>
        <p:spPr>
          <a:xfrm>
            <a:off x="0" y="0"/>
            <a:ext cx="11969640" cy="6237000"/>
          </a:xfrm>
          <a:prstGeom prst="rect">
            <a:avLst/>
          </a:prstGeom>
          <a:ln w="0">
            <a:noFill/>
          </a:ln>
        </p:spPr>
      </p:pic>
      <p:sp>
        <p:nvSpPr>
          <p:cNvPr id="840" name="PlaceHolder 1"/>
          <p:cNvSpPr>
            <a:spLocks noGrp="1"/>
          </p:cNvSpPr>
          <p:nvPr>
            <p:ph type="title"/>
          </p:nvPr>
        </p:nvSpPr>
        <p:spPr>
          <a:xfrm>
            <a:off x="407880" y="349560"/>
            <a:ext cx="11375640" cy="450720"/>
          </a:xfrm>
          <a:prstGeom prst="rect">
            <a:avLst/>
          </a:prstGeom>
          <a:noFill/>
          <a:ln w="0">
            <a:noFill/>
          </a:ln>
        </p:spPr>
        <p:txBody>
          <a:bodyPr lIns="0" rIns="0" tIns="0" bIns="0" anchor="t">
            <a:noAutofit/>
          </a:bodyPr>
          <a:p>
            <a:pPr indent="0" defTabSz="914400">
              <a:lnSpc>
                <a:spcPct val="90000"/>
              </a:lnSpc>
              <a:buNone/>
            </a:pPr>
            <a:r>
              <a:rPr b="1" lang="en-GB" sz="3000" spc="-1" strike="noStrike">
                <a:solidFill>
                  <a:schemeClr val="accent1"/>
                </a:solidFill>
                <a:latin typeface="Arial"/>
                <a:ea typeface="Arial"/>
              </a:rPr>
              <a:t>PETRA IV: the world’s best X-ray microscope</a:t>
            </a:r>
            <a:endParaRPr b="0" lang="en-US" sz="3000" spc="-1" strike="noStrike">
              <a:solidFill>
                <a:schemeClr val="dk1"/>
              </a:solidFill>
              <a:latin typeface="Arial"/>
            </a:endParaRPr>
          </a:p>
        </p:txBody>
      </p:sp>
      <p:sp>
        <p:nvSpPr>
          <p:cNvPr id="841" name="PlaceHolder 2"/>
          <p:cNvSpPr>
            <a:spLocks noGrp="1"/>
          </p:cNvSpPr>
          <p:nvPr>
            <p:ph/>
          </p:nvPr>
        </p:nvSpPr>
        <p:spPr>
          <a:xfrm>
            <a:off x="442800" y="911880"/>
            <a:ext cx="11305800" cy="378720"/>
          </a:xfrm>
          <a:prstGeom prst="rect">
            <a:avLst/>
          </a:prstGeom>
          <a:noFill/>
          <a:ln w="0">
            <a:noFill/>
          </a:ln>
        </p:spPr>
        <p:txBody>
          <a:bodyPr lIns="0" rIns="0" tIns="0" bIns="0" anchor="t">
            <a:noAutofit/>
          </a:bodyPr>
          <a:p>
            <a:pPr indent="0" defTabSz="914400">
              <a:lnSpc>
                <a:spcPct val="100000"/>
              </a:lnSpc>
              <a:buNone/>
              <a:tabLst>
                <a:tab algn="l" pos="0"/>
              </a:tabLst>
            </a:pPr>
            <a:r>
              <a:rPr b="1" lang="en-GB" sz="1600" spc="-1" strike="noStrike">
                <a:solidFill>
                  <a:schemeClr val="accent2"/>
                </a:solidFill>
                <a:latin typeface="Arial"/>
                <a:ea typeface="Arial"/>
              </a:rPr>
              <a:t>Planning for construction 2027-2032 (pending funding approval)</a:t>
            </a:r>
            <a:endParaRPr b="0" lang="en-US" sz="1600" spc="-1" strike="noStrike">
              <a:solidFill>
                <a:schemeClr val="dk1"/>
              </a:solidFill>
              <a:latin typeface="Arial"/>
            </a:endParaRPr>
          </a:p>
        </p:txBody>
      </p:sp>
      <p:pic>
        <p:nvPicPr>
          <p:cNvPr id="842" name="Picture 5" descr=""/>
          <p:cNvPicPr/>
          <p:nvPr/>
        </p:nvPicPr>
        <p:blipFill>
          <a:blip r:embed="rId2"/>
          <a:stretch/>
        </p:blipFill>
        <p:spPr>
          <a:xfrm>
            <a:off x="760320" y="1526040"/>
            <a:ext cx="4616280" cy="4157640"/>
          </a:xfrm>
          <a:prstGeom prst="rect">
            <a:avLst/>
          </a:prstGeom>
          <a:ln w="0">
            <a:noFill/>
          </a:ln>
        </p:spPr>
      </p:pic>
      <p:pic>
        <p:nvPicPr>
          <p:cNvPr id="843" name="Picture 4" descr="Visual representation of the bundled X-ray beam of PETRA IV, which is juxtaposed with three samples in a size ratio ranging from millimetres to micrometres to nanometres. The arrangement of the samples makes it clear that the same sample can be X-rayed at different levels at the same time."/>
          <p:cNvPicPr/>
          <p:nvPr/>
        </p:nvPicPr>
        <p:blipFill>
          <a:blip r:embed="rId3"/>
          <a:srcRect l="0" t="0" r="0" b="8339"/>
          <a:stretch/>
        </p:blipFill>
        <p:spPr>
          <a:xfrm>
            <a:off x="6137640" y="2604240"/>
            <a:ext cx="5739840" cy="3079440"/>
          </a:xfrm>
          <a:prstGeom prst="rect">
            <a:avLst/>
          </a:prstGeom>
          <a:ln w="0">
            <a:noFill/>
          </a:ln>
        </p:spPr>
      </p:pic>
      <p:sp>
        <p:nvSpPr>
          <p:cNvPr id="844" name="TextBox 8"/>
          <p:cNvSpPr/>
          <p:nvPr/>
        </p:nvSpPr>
        <p:spPr>
          <a:xfrm>
            <a:off x="6095880" y="1634760"/>
            <a:ext cx="5781240" cy="1247400"/>
          </a:xfrm>
          <a:prstGeom prst="rect">
            <a:avLst/>
          </a:prstGeom>
          <a:solidFill>
            <a:schemeClr val="accent3"/>
          </a:solidFill>
          <a:ln w="0">
            <a:noFill/>
          </a:ln>
        </p:spPr>
        <p:style>
          <a:lnRef idx="0"/>
          <a:fillRef idx="0"/>
          <a:effectRef idx="0"/>
          <a:fontRef idx="minor"/>
        </p:style>
        <p:txBody>
          <a:bodyPr lIns="90000" rIns="90000" tIns="45000" bIns="45000" anchor="t">
            <a:spAutoFit/>
          </a:bodyPr>
          <a:p>
            <a:pPr defTabSz="457200">
              <a:lnSpc>
                <a:spcPct val="100000"/>
              </a:lnSpc>
            </a:pPr>
            <a:r>
              <a:rPr b="0" lang="en-GB" sz="1900" spc="-1" strike="noStrike">
                <a:solidFill>
                  <a:schemeClr val="lt1"/>
                </a:solidFill>
                <a:latin typeface="Arial"/>
                <a:ea typeface="Arial"/>
              </a:rPr>
              <a:t>Will </a:t>
            </a:r>
            <a:r>
              <a:rPr b="0" lang="en-GB" sz="1900" spc="-1" strike="noStrike">
                <a:solidFill>
                  <a:schemeClr val="lt1"/>
                </a:solidFill>
                <a:latin typeface="DesySans-Regular"/>
                <a:ea typeface="Arial"/>
              </a:rPr>
              <a:t>enable improved methods for studying complex processes in nature and technology in real time and under realistic operating conditions.</a:t>
            </a:r>
            <a:endParaRPr b="0" lang="en-US" sz="1900" spc="-1" strike="noStrike">
              <a:solidFill>
                <a:srgbClr val="ffffff"/>
              </a:solidFill>
              <a:latin typeface="Calibri"/>
            </a:endParaRPr>
          </a:p>
        </p:txBody>
      </p:sp>
      <p:sp>
        <p:nvSpPr>
          <p:cNvPr id="845" name="TextBox 9"/>
          <p:cNvSpPr/>
          <p:nvPr/>
        </p:nvSpPr>
        <p:spPr>
          <a:xfrm>
            <a:off x="3935880" y="5833440"/>
            <a:ext cx="4320000" cy="821160"/>
          </a:xfrm>
          <a:prstGeom prst="rect">
            <a:avLst/>
          </a:prstGeom>
          <a:noFill/>
          <a:ln w="0">
            <a:noFill/>
          </a:ln>
        </p:spPr>
        <p:style>
          <a:lnRef idx="0"/>
          <a:fillRef idx="0"/>
          <a:effectRef idx="0"/>
          <a:fontRef idx="minor"/>
        </p:style>
        <p:txBody>
          <a:bodyPr lIns="90000" rIns="90000" tIns="45000" bIns="45000" anchor="t">
            <a:spAutoFit/>
          </a:bodyPr>
          <a:p>
            <a:pPr defTabSz="457200">
              <a:lnSpc>
                <a:spcPct val="100000"/>
              </a:lnSpc>
            </a:pPr>
            <a:r>
              <a:rPr b="1" lang="en-GB" sz="2400" spc="-1" strike="noStrike">
                <a:solidFill>
                  <a:schemeClr val="lt1"/>
                </a:solidFill>
                <a:latin typeface="Arial"/>
                <a:ea typeface="Arial"/>
              </a:rPr>
              <a:t>PETRA IV will </a:t>
            </a:r>
            <a:r>
              <a:rPr b="1" lang="en-GB" sz="2400" spc="-1" strike="noStrike">
                <a:solidFill>
                  <a:schemeClr val="lt1"/>
                </a:solidFill>
                <a:latin typeface="DesySans-Regular"/>
                <a:ea typeface="Arial"/>
              </a:rPr>
              <a:t>use microTCA</a:t>
            </a:r>
            <a:endParaRPr b="0" lang="en-US" sz="2400" spc="-1" strike="noStrike">
              <a:solidFill>
                <a:srgbClr val="ffffff"/>
              </a:solidFill>
              <a:latin typeface="Calibri"/>
            </a:endParaRPr>
          </a:p>
        </p:txBody>
      </p:sp>
      <p:sp>
        <p:nvSpPr>
          <p:cNvPr id="4" name="PlaceHolder 3"/>
          <p:cNvSpPr>
            <a:spLocks noGrp="1"/>
          </p:cNvSpPr>
          <p:nvPr>
            <p:ph type="ftr" idx="26"/>
          </p:nvPr>
        </p:nvSpPr>
        <p:spPr/>
        <p:txBody>
          <a:bodyPr/>
          <a:p>
            <a:r>
              <a:t>Beate Heinemann, microTCA workshop in Hamburg, 12/2024</a:t>
            </a:r>
          </a:p>
        </p:txBody>
      </p:sp>
    </p:spTree>
  </p:cSld>
  <mc:AlternateContent>
    <mc:Choice Requires="p14">
      <p:transition spd="slow" p14:dur="2000"/>
    </mc:Choice>
    <mc:Fallback>
      <p:transition spd="slow"/>
    </mc:Fallback>
  </mc:AlternateContent>
  <p:timing>
    <p:tnLst>
      <p:par>
        <p:cTn id="160" dur="indefinite" restart="never" nodeType="tmRoot">
          <p:childTnLst>
            <p:seq>
              <p:cTn id="161" dur="indefinite" nodeType="mainSeq">
                <p:childTnLst>
                  <p:par>
                    <p:cTn id="162" fill="hold">
                      <p:stCondLst>
                        <p:cond delay="indefinite"/>
                      </p:stCondLst>
                      <p:childTnLst>
                        <p:par>
                          <p:cTn id="163" fill="hold">
                            <p:stCondLst>
                              <p:cond delay="0"/>
                            </p:stCondLst>
                            <p:childTnLst>
                              <p:par>
                                <p:cTn id="164" nodeType="clickEffect" fill="hold" presetClass="entr" presetID="1">
                                  <p:stCondLst>
                                    <p:cond delay="0"/>
                                  </p:stCondLst>
                                  <p:childTnLst>
                                    <p:set>
                                      <p:cBhvr>
                                        <p:cTn id="165" dur="1" fill="hold">
                                          <p:stCondLst>
                                            <p:cond delay="0"/>
                                          </p:stCondLst>
                                        </p:cTn>
                                        <p:tgtEl>
                                          <p:spTgt spid="845"/>
                                        </p:tgtEl>
                                        <p:attrNameLst>
                                          <p:attrName>style.visibility</p:attrName>
                                        </p:attrNameLst>
                                      </p:cBhvr>
                                      <p:to>
                                        <p:strVal val="visible"/>
                                      </p:to>
                                    </p:set>
                                  </p:childTnLst>
                                </p:cTn>
                              </p:par>
                            </p:childTnLst>
                          </p:cTn>
                        </p:par>
                      </p:childTnLst>
                    </p:cTn>
                  </p:par>
                </p:childTnLst>
              </p:cTn>
              <p:prevCondLst>
                <p:cond evt="onPrev">
                  <p:tgtEl>
                    <p:sldTgt/>
                  </p:tgtEl>
                </p:cond>
              </p:prevCondLst>
              <p:nextCondLst>
                <p:cond evt="onNext">
                  <p:tgtEl>
                    <p:sldTgt/>
                  </p:tgtEl>
                </p:cond>
              </p:nextCondLst>
            </p:seq>
          </p:childTnLst>
        </p:cTn>
      </p:par>
    </p:tnLst>
  </p:timing>
</p:sld>
</file>

<file path=ppt/theme/theme1.xml><?xml version="1.0" encoding="utf-8"?>
<a:theme xmlns:a="http://schemas.openxmlformats.org/drawingml/2006/main" xmlns:r="http://schemas.openxmlformats.org/officeDocument/2006/relationships" name="DESY">
  <a:themeElements>
    <a:clrScheme name="DESY">
      <a:dk1>
        <a:srgbClr val="000000"/>
      </a:dk1>
      <a:lt1>
        <a:srgbClr val="ffffff"/>
      </a:lt1>
      <a:dk2>
        <a:srgbClr val="898d8d"/>
      </a:dk2>
      <a:lt2>
        <a:srgbClr val="b2b4b2"/>
      </a:lt2>
      <a:accent1>
        <a:srgbClr val="009fdf"/>
      </a:accent1>
      <a:accent2>
        <a:srgbClr val="f18f1f"/>
      </a:accent2>
      <a:accent3>
        <a:srgbClr val="004b7d"/>
      </a:accent3>
      <a:accent4>
        <a:srgbClr val="898d8d"/>
      </a:accent4>
      <a:accent5>
        <a:srgbClr val="b2b4b2"/>
      </a:accent5>
      <a:accent6>
        <a:srgbClr val="375e77"/>
      </a:accent6>
      <a:hlink>
        <a:srgbClr val="000000"/>
      </a:hlink>
      <a:folHlink>
        <a:srgbClr val="000000"/>
      </a:folHlink>
    </a:clrScheme>
    <a:fontScheme name="Arial">
      <a:majorFont>
        <a:latin typeface="Arial" pitchFamily="0" charset="1"/>
        <a:ea typeface="Arial" pitchFamily="0" charset="1"/>
        <a:cs typeface="Arial" pitchFamily="0" charset="1"/>
      </a:majorFont>
      <a:minorFont>
        <a:latin typeface="Arial" pitchFamily="0" charset="1"/>
        <a:ea typeface="Arial" pitchFamily="0" charset="1"/>
        <a:cs typeface="Arial" pitchFamily="0" charset="1"/>
      </a:minorFont>
    </a:fontScheme>
    <a:fmtScheme>
      <a:fillStyleLst>
        <a:solidFill>
          <a:schemeClr val="phClr"/>
        </a:solidFill>
        <a:gradFill>
          <a:gsLst>
            <a:gs pos="0">
              <a:schemeClr val="phClr">
                <a:lumMod val="110000"/>
                <a:tint val="67000"/>
              </a:schemeClr>
            </a:gs>
            <a:gs pos="50000">
              <a:schemeClr val="phClr">
                <a:lumMod val="105000"/>
                <a:tint val="73000"/>
              </a:schemeClr>
            </a:gs>
            <a:gs pos="100000">
              <a:schemeClr val="phClr">
                <a:lumMod val="105000"/>
                <a:tint val="81000"/>
              </a:schemeClr>
            </a:gs>
          </a:gsLst>
          <a:lin ang="5400000" scaled="0"/>
          <a:tileRect l="0" t="0" r="0" b="0"/>
        </a:gradFill>
        <a:gradFill>
          <a:gsLst>
            <a:gs pos="0">
              <a:schemeClr val="phClr">
                <a:lumMod val="102000"/>
                <a:tint val="94000"/>
              </a:schemeClr>
            </a:gs>
            <a:gs pos="50000">
              <a:schemeClr val="phClr">
                <a:lumMod val="100000"/>
                <a:shade val="100000"/>
              </a:schemeClr>
            </a:gs>
            <a:gs pos="100000">
              <a:schemeClr val="phClr">
                <a:lumMod val="99000"/>
                <a:shade val="78000"/>
              </a:schemeClr>
            </a:gs>
          </a:gsLst>
          <a:lin ang="5400000" scaled="0"/>
          <a:tileRect l="0" t="0" r="0" b="0"/>
        </a:gradFill>
      </a:fillStyleLst>
      <a:lnStyleLst>
        <a:ln w="6350" cap="flat" cmpd="sng" algn="ctr">
          <a:prstDash val="solid"/>
          <a:miter lim="800000"/>
        </a:ln>
        <a:ln w="12700" cap="flat" cmpd="sng" algn="ctr">
          <a:prstDash val="solid"/>
          <a:miter lim="800000"/>
        </a:ln>
        <a:ln w="19050" cap="flat" cmpd="sng" algn="ctr">
          <a:prstDash val="solid"/>
          <a:miter lim="800000"/>
        </a:ln>
      </a:lnStyleLst>
      <a:effectStyleLst>
        <a:effectStyle>
          <a:effectLst/>
        </a:effectStyle>
        <a:effectStyle>
          <a:effectLst/>
        </a:effectStyle>
        <a:effectStyle>
          <a:effectLst/>
        </a:effectStyle>
      </a:effectStyleLst>
      <a:bgFillStyleLst>
        <a:solidFill>
          <a:schemeClr val="phClr"/>
        </a:solidFill>
        <a:solidFill>
          <a:schemeClr val="phClr">
            <a:tint val="95000"/>
          </a:schemeClr>
        </a:solidFill>
        <a:gradFill>
          <a:gsLst>
            <a:gs pos="0">
              <a:schemeClr val="phClr">
                <a:tint val="93000"/>
                <a:shade val="98000"/>
                <a:lumMod val="102000"/>
              </a:schemeClr>
            </a:gs>
            <a:gs pos="50000">
              <a:schemeClr val="phClr">
                <a:tint val="98000"/>
                <a:shade val="90000"/>
                <a:lumMod val="103000"/>
              </a:schemeClr>
            </a:gs>
            <a:gs pos="100000">
              <a:schemeClr val="phClr">
                <a:shade val="63000"/>
              </a:schemeClr>
            </a:gs>
          </a:gsLst>
          <a:lin ang="5400000" scaled="0"/>
          <a:tileRect l="0" t="0" r="0" b="0"/>
        </a:gradFill>
      </a:bgFillStyleLst>
    </a:fmtScheme>
  </a:themeElements>
</a:theme>
</file>

<file path=ppt/theme/theme10.xml><?xml version="1.0" encoding="utf-8"?>
<a:theme xmlns:a="http://schemas.openxmlformats.org/drawingml/2006/main" xmlns:r="http://schemas.openxmlformats.org/officeDocument/2006/relationships" name="DESY">
  <a:themeElements>
    <a:clrScheme name="DESY">
      <a:dk1>
        <a:srgbClr val="000000"/>
      </a:dk1>
      <a:lt1>
        <a:srgbClr val="ffffff"/>
      </a:lt1>
      <a:dk2>
        <a:srgbClr val="898d8d"/>
      </a:dk2>
      <a:lt2>
        <a:srgbClr val="b2b4b2"/>
      </a:lt2>
      <a:accent1>
        <a:srgbClr val="009fdf"/>
      </a:accent1>
      <a:accent2>
        <a:srgbClr val="f18f1f"/>
      </a:accent2>
      <a:accent3>
        <a:srgbClr val="004b7d"/>
      </a:accent3>
      <a:accent4>
        <a:srgbClr val="898d8d"/>
      </a:accent4>
      <a:accent5>
        <a:srgbClr val="b2b4b2"/>
      </a:accent5>
      <a:accent6>
        <a:srgbClr val="375e77"/>
      </a:accent6>
      <a:hlink>
        <a:srgbClr val="000000"/>
      </a:hlink>
      <a:folHlink>
        <a:srgbClr val="000000"/>
      </a:folHlink>
    </a:clrScheme>
    <a:fontScheme name="Arial">
      <a:majorFont>
        <a:latin typeface="Arial" pitchFamily="0" charset="1"/>
        <a:ea typeface="Arial" pitchFamily="0" charset="1"/>
        <a:cs typeface="Arial" pitchFamily="0" charset="1"/>
      </a:majorFont>
      <a:minorFont>
        <a:latin typeface="Arial" pitchFamily="0" charset="1"/>
        <a:ea typeface="Arial" pitchFamily="0" charset="1"/>
        <a:cs typeface="Arial" pitchFamily="0" charset="1"/>
      </a:minorFont>
    </a:fontScheme>
    <a:fmtScheme>
      <a:fillStyleLst>
        <a:solidFill>
          <a:schemeClr val="phClr"/>
        </a:solidFill>
        <a:gradFill>
          <a:gsLst>
            <a:gs pos="0">
              <a:schemeClr val="phClr">
                <a:lumMod val="110000"/>
                <a:tint val="67000"/>
              </a:schemeClr>
            </a:gs>
            <a:gs pos="50000">
              <a:schemeClr val="phClr">
                <a:lumMod val="105000"/>
                <a:tint val="73000"/>
              </a:schemeClr>
            </a:gs>
            <a:gs pos="100000">
              <a:schemeClr val="phClr">
                <a:lumMod val="105000"/>
                <a:tint val="81000"/>
              </a:schemeClr>
            </a:gs>
          </a:gsLst>
          <a:lin ang="5400000" scaled="0"/>
          <a:tileRect l="0" t="0" r="0" b="0"/>
        </a:gradFill>
        <a:gradFill>
          <a:gsLst>
            <a:gs pos="0">
              <a:schemeClr val="phClr">
                <a:lumMod val="102000"/>
                <a:tint val="94000"/>
              </a:schemeClr>
            </a:gs>
            <a:gs pos="50000">
              <a:schemeClr val="phClr">
                <a:lumMod val="100000"/>
                <a:shade val="100000"/>
              </a:schemeClr>
            </a:gs>
            <a:gs pos="100000">
              <a:schemeClr val="phClr">
                <a:lumMod val="99000"/>
                <a:shade val="78000"/>
              </a:schemeClr>
            </a:gs>
          </a:gsLst>
          <a:lin ang="5400000" scaled="0"/>
          <a:tileRect l="0" t="0" r="0" b="0"/>
        </a:gradFill>
      </a:fillStyleLst>
      <a:lnStyleLst>
        <a:ln w="6350" cap="flat" cmpd="sng" algn="ctr">
          <a:prstDash val="solid"/>
          <a:miter lim="800000"/>
        </a:ln>
        <a:ln w="12700" cap="flat" cmpd="sng" algn="ctr">
          <a:prstDash val="solid"/>
          <a:miter lim="800000"/>
        </a:ln>
        <a:ln w="19050" cap="flat" cmpd="sng" algn="ctr">
          <a:prstDash val="solid"/>
          <a:miter lim="800000"/>
        </a:ln>
      </a:lnStyleLst>
      <a:effectStyleLst>
        <a:effectStyle>
          <a:effectLst/>
        </a:effectStyle>
        <a:effectStyle>
          <a:effectLst/>
        </a:effectStyle>
        <a:effectStyle>
          <a:effectLst/>
        </a:effectStyle>
      </a:effectStyleLst>
      <a:bgFillStyleLst>
        <a:solidFill>
          <a:schemeClr val="phClr"/>
        </a:solidFill>
        <a:solidFill>
          <a:schemeClr val="phClr">
            <a:tint val="95000"/>
          </a:schemeClr>
        </a:solidFill>
        <a:gradFill>
          <a:gsLst>
            <a:gs pos="0">
              <a:schemeClr val="phClr">
                <a:tint val="93000"/>
                <a:shade val="98000"/>
                <a:lumMod val="102000"/>
              </a:schemeClr>
            </a:gs>
            <a:gs pos="50000">
              <a:schemeClr val="phClr">
                <a:tint val="98000"/>
                <a:shade val="90000"/>
                <a:lumMod val="103000"/>
              </a:schemeClr>
            </a:gs>
            <a:gs pos="100000">
              <a:schemeClr val="phClr">
                <a:shade val="63000"/>
              </a:schemeClr>
            </a:gs>
          </a:gsLst>
          <a:lin ang="5400000" scaled="0"/>
          <a:tileRect l="0" t="0" r="0" b="0"/>
        </a:gradFill>
      </a:bgFillStyleLst>
    </a:fmtScheme>
  </a:themeElements>
</a:theme>
</file>

<file path=ppt/theme/theme11.xml><?xml version="1.0" encoding="utf-8"?>
<a:theme xmlns:a="http://schemas.openxmlformats.org/drawingml/2006/main" xmlns:r="http://schemas.openxmlformats.org/officeDocument/2006/relationships" name="DESY">
  <a:themeElements>
    <a:clrScheme name="DESY">
      <a:dk1>
        <a:srgbClr val="000000"/>
      </a:dk1>
      <a:lt1>
        <a:srgbClr val="ffffff"/>
      </a:lt1>
      <a:dk2>
        <a:srgbClr val="898d8d"/>
      </a:dk2>
      <a:lt2>
        <a:srgbClr val="b2b4b2"/>
      </a:lt2>
      <a:accent1>
        <a:srgbClr val="009fdf"/>
      </a:accent1>
      <a:accent2>
        <a:srgbClr val="f18f1f"/>
      </a:accent2>
      <a:accent3>
        <a:srgbClr val="004b7d"/>
      </a:accent3>
      <a:accent4>
        <a:srgbClr val="898d8d"/>
      </a:accent4>
      <a:accent5>
        <a:srgbClr val="b2b4b2"/>
      </a:accent5>
      <a:accent6>
        <a:srgbClr val="375e77"/>
      </a:accent6>
      <a:hlink>
        <a:srgbClr val="000000"/>
      </a:hlink>
      <a:folHlink>
        <a:srgbClr val="000000"/>
      </a:folHlink>
    </a:clrScheme>
    <a:fontScheme name="Arial">
      <a:majorFont>
        <a:latin typeface="Arial" pitchFamily="0" charset="1"/>
        <a:ea typeface="Arial" pitchFamily="0" charset="1"/>
        <a:cs typeface="Arial" pitchFamily="0" charset="1"/>
      </a:majorFont>
      <a:minorFont>
        <a:latin typeface="Arial" pitchFamily="0" charset="1"/>
        <a:ea typeface="Arial" pitchFamily="0" charset="1"/>
        <a:cs typeface="Arial" pitchFamily="0" charset="1"/>
      </a:minorFont>
    </a:fontScheme>
    <a:fmtScheme>
      <a:fillStyleLst>
        <a:solidFill>
          <a:schemeClr val="phClr"/>
        </a:solidFill>
        <a:gradFill>
          <a:gsLst>
            <a:gs pos="0">
              <a:schemeClr val="phClr">
                <a:lumMod val="110000"/>
                <a:tint val="67000"/>
              </a:schemeClr>
            </a:gs>
            <a:gs pos="50000">
              <a:schemeClr val="phClr">
                <a:lumMod val="105000"/>
                <a:tint val="73000"/>
              </a:schemeClr>
            </a:gs>
            <a:gs pos="100000">
              <a:schemeClr val="phClr">
                <a:lumMod val="105000"/>
                <a:tint val="81000"/>
              </a:schemeClr>
            </a:gs>
          </a:gsLst>
          <a:lin ang="5400000" scaled="0"/>
          <a:tileRect l="0" t="0" r="0" b="0"/>
        </a:gradFill>
        <a:gradFill>
          <a:gsLst>
            <a:gs pos="0">
              <a:schemeClr val="phClr">
                <a:lumMod val="102000"/>
                <a:tint val="94000"/>
              </a:schemeClr>
            </a:gs>
            <a:gs pos="50000">
              <a:schemeClr val="phClr">
                <a:lumMod val="100000"/>
                <a:shade val="100000"/>
              </a:schemeClr>
            </a:gs>
            <a:gs pos="100000">
              <a:schemeClr val="phClr">
                <a:lumMod val="99000"/>
                <a:shade val="78000"/>
              </a:schemeClr>
            </a:gs>
          </a:gsLst>
          <a:lin ang="5400000" scaled="0"/>
          <a:tileRect l="0" t="0" r="0" b="0"/>
        </a:gradFill>
      </a:fillStyleLst>
      <a:lnStyleLst>
        <a:ln w="6350" cap="flat" cmpd="sng" algn="ctr">
          <a:prstDash val="solid"/>
          <a:miter lim="800000"/>
        </a:ln>
        <a:ln w="12700" cap="flat" cmpd="sng" algn="ctr">
          <a:prstDash val="solid"/>
          <a:miter lim="800000"/>
        </a:ln>
        <a:ln w="19050" cap="flat" cmpd="sng" algn="ctr">
          <a:prstDash val="solid"/>
          <a:miter lim="800000"/>
        </a:ln>
      </a:lnStyleLst>
      <a:effectStyleLst>
        <a:effectStyle>
          <a:effectLst/>
        </a:effectStyle>
        <a:effectStyle>
          <a:effectLst/>
        </a:effectStyle>
        <a:effectStyle>
          <a:effectLst/>
        </a:effectStyle>
      </a:effectStyleLst>
      <a:bgFillStyleLst>
        <a:solidFill>
          <a:schemeClr val="phClr"/>
        </a:solidFill>
        <a:solidFill>
          <a:schemeClr val="phClr">
            <a:tint val="95000"/>
          </a:schemeClr>
        </a:solidFill>
        <a:gradFill>
          <a:gsLst>
            <a:gs pos="0">
              <a:schemeClr val="phClr">
                <a:tint val="93000"/>
                <a:shade val="98000"/>
                <a:lumMod val="102000"/>
              </a:schemeClr>
            </a:gs>
            <a:gs pos="50000">
              <a:schemeClr val="phClr">
                <a:tint val="98000"/>
                <a:shade val="90000"/>
                <a:lumMod val="103000"/>
              </a:schemeClr>
            </a:gs>
            <a:gs pos="100000">
              <a:schemeClr val="phClr">
                <a:shade val="63000"/>
              </a:schemeClr>
            </a:gs>
          </a:gsLst>
          <a:lin ang="5400000" scaled="0"/>
          <a:tileRect l="0" t="0" r="0" b="0"/>
        </a:gradFill>
      </a:bgFillStyleLst>
    </a:fmtScheme>
  </a:themeElements>
</a:theme>
</file>

<file path=ppt/theme/theme12.xml><?xml version="1.0" encoding="utf-8"?>
<a:theme xmlns:a="http://schemas.openxmlformats.org/drawingml/2006/main" xmlns:r="http://schemas.openxmlformats.org/officeDocument/2006/relationships" name="DESY">
  <a:themeElements>
    <a:clrScheme name="DESY">
      <a:dk1>
        <a:srgbClr val="000000"/>
      </a:dk1>
      <a:lt1>
        <a:srgbClr val="ffffff"/>
      </a:lt1>
      <a:dk2>
        <a:srgbClr val="898d8d"/>
      </a:dk2>
      <a:lt2>
        <a:srgbClr val="b2b4b2"/>
      </a:lt2>
      <a:accent1>
        <a:srgbClr val="009fdf"/>
      </a:accent1>
      <a:accent2>
        <a:srgbClr val="f18f1f"/>
      </a:accent2>
      <a:accent3>
        <a:srgbClr val="004b7d"/>
      </a:accent3>
      <a:accent4>
        <a:srgbClr val="898d8d"/>
      </a:accent4>
      <a:accent5>
        <a:srgbClr val="b2b4b2"/>
      </a:accent5>
      <a:accent6>
        <a:srgbClr val="375e77"/>
      </a:accent6>
      <a:hlink>
        <a:srgbClr val="000000"/>
      </a:hlink>
      <a:folHlink>
        <a:srgbClr val="000000"/>
      </a:folHlink>
    </a:clrScheme>
    <a:fontScheme name="Arial">
      <a:majorFont>
        <a:latin typeface="Arial" pitchFamily="0" charset="1"/>
        <a:ea typeface="Arial" pitchFamily="0" charset="1"/>
        <a:cs typeface="Arial" pitchFamily="0" charset="1"/>
      </a:majorFont>
      <a:minorFont>
        <a:latin typeface="Arial" pitchFamily="0" charset="1"/>
        <a:ea typeface="Arial" pitchFamily="0" charset="1"/>
        <a:cs typeface="Arial" pitchFamily="0" charset="1"/>
      </a:minorFont>
    </a:fontScheme>
    <a:fmtScheme>
      <a:fillStyleLst>
        <a:solidFill>
          <a:schemeClr val="phClr"/>
        </a:solidFill>
        <a:gradFill>
          <a:gsLst>
            <a:gs pos="0">
              <a:schemeClr val="phClr">
                <a:lumMod val="110000"/>
                <a:tint val="67000"/>
              </a:schemeClr>
            </a:gs>
            <a:gs pos="50000">
              <a:schemeClr val="phClr">
                <a:lumMod val="105000"/>
                <a:tint val="73000"/>
              </a:schemeClr>
            </a:gs>
            <a:gs pos="100000">
              <a:schemeClr val="phClr">
                <a:lumMod val="105000"/>
                <a:tint val="81000"/>
              </a:schemeClr>
            </a:gs>
          </a:gsLst>
          <a:lin ang="5400000" scaled="0"/>
          <a:tileRect l="0" t="0" r="0" b="0"/>
        </a:gradFill>
        <a:gradFill>
          <a:gsLst>
            <a:gs pos="0">
              <a:schemeClr val="phClr">
                <a:lumMod val="102000"/>
                <a:tint val="94000"/>
              </a:schemeClr>
            </a:gs>
            <a:gs pos="50000">
              <a:schemeClr val="phClr">
                <a:lumMod val="100000"/>
                <a:shade val="100000"/>
              </a:schemeClr>
            </a:gs>
            <a:gs pos="100000">
              <a:schemeClr val="phClr">
                <a:lumMod val="99000"/>
                <a:shade val="78000"/>
              </a:schemeClr>
            </a:gs>
          </a:gsLst>
          <a:lin ang="5400000" scaled="0"/>
          <a:tileRect l="0" t="0" r="0" b="0"/>
        </a:gradFill>
      </a:fillStyleLst>
      <a:lnStyleLst>
        <a:ln w="6350" cap="flat" cmpd="sng" algn="ctr">
          <a:prstDash val="solid"/>
          <a:miter lim="800000"/>
        </a:ln>
        <a:ln w="12700" cap="flat" cmpd="sng" algn="ctr">
          <a:prstDash val="solid"/>
          <a:miter lim="800000"/>
        </a:ln>
        <a:ln w="19050" cap="flat" cmpd="sng" algn="ctr">
          <a:prstDash val="solid"/>
          <a:miter lim="800000"/>
        </a:ln>
      </a:lnStyleLst>
      <a:effectStyleLst>
        <a:effectStyle>
          <a:effectLst/>
        </a:effectStyle>
        <a:effectStyle>
          <a:effectLst/>
        </a:effectStyle>
        <a:effectStyle>
          <a:effectLst/>
        </a:effectStyle>
      </a:effectStyleLst>
      <a:bgFillStyleLst>
        <a:solidFill>
          <a:schemeClr val="phClr"/>
        </a:solidFill>
        <a:solidFill>
          <a:schemeClr val="phClr">
            <a:tint val="95000"/>
          </a:schemeClr>
        </a:solidFill>
        <a:gradFill>
          <a:gsLst>
            <a:gs pos="0">
              <a:schemeClr val="phClr">
                <a:tint val="93000"/>
                <a:shade val="98000"/>
                <a:lumMod val="102000"/>
              </a:schemeClr>
            </a:gs>
            <a:gs pos="50000">
              <a:schemeClr val="phClr">
                <a:tint val="98000"/>
                <a:shade val="90000"/>
                <a:lumMod val="103000"/>
              </a:schemeClr>
            </a:gs>
            <a:gs pos="100000">
              <a:schemeClr val="phClr">
                <a:shade val="63000"/>
              </a:schemeClr>
            </a:gs>
          </a:gsLst>
          <a:lin ang="5400000" scaled="0"/>
          <a:tileRect l="0" t="0" r="0" b="0"/>
        </a:gradFill>
      </a:bgFillStyleLst>
    </a:fmtScheme>
  </a:themeElements>
</a:theme>
</file>

<file path=ppt/theme/theme13.xml><?xml version="1.0" encoding="utf-8"?>
<a:theme xmlns:a="http://schemas.openxmlformats.org/drawingml/2006/main" xmlns:r="http://schemas.openxmlformats.org/officeDocument/2006/relationships" name="DESY">
  <a:themeElements>
    <a:clrScheme name="DESY">
      <a:dk1>
        <a:srgbClr val="000000"/>
      </a:dk1>
      <a:lt1>
        <a:srgbClr val="ffffff"/>
      </a:lt1>
      <a:dk2>
        <a:srgbClr val="898d8d"/>
      </a:dk2>
      <a:lt2>
        <a:srgbClr val="b2b4b2"/>
      </a:lt2>
      <a:accent1>
        <a:srgbClr val="009fdf"/>
      </a:accent1>
      <a:accent2>
        <a:srgbClr val="f18f1f"/>
      </a:accent2>
      <a:accent3>
        <a:srgbClr val="004b7d"/>
      </a:accent3>
      <a:accent4>
        <a:srgbClr val="898d8d"/>
      </a:accent4>
      <a:accent5>
        <a:srgbClr val="b2b4b2"/>
      </a:accent5>
      <a:accent6>
        <a:srgbClr val="375e77"/>
      </a:accent6>
      <a:hlink>
        <a:srgbClr val="000000"/>
      </a:hlink>
      <a:folHlink>
        <a:srgbClr val="000000"/>
      </a:folHlink>
    </a:clrScheme>
    <a:fontScheme name="Arial">
      <a:majorFont>
        <a:latin typeface="Arial" pitchFamily="0" charset="1"/>
        <a:ea typeface="Arial" pitchFamily="0" charset="1"/>
        <a:cs typeface="Arial" pitchFamily="0" charset="1"/>
      </a:majorFont>
      <a:minorFont>
        <a:latin typeface="Arial" pitchFamily="0" charset="1"/>
        <a:ea typeface="Arial" pitchFamily="0" charset="1"/>
        <a:cs typeface="Arial" pitchFamily="0" charset="1"/>
      </a:minorFont>
    </a:fontScheme>
    <a:fmtScheme>
      <a:fillStyleLst>
        <a:solidFill>
          <a:schemeClr val="phClr"/>
        </a:solidFill>
        <a:gradFill>
          <a:gsLst>
            <a:gs pos="0">
              <a:schemeClr val="phClr">
                <a:lumMod val="110000"/>
                <a:tint val="67000"/>
              </a:schemeClr>
            </a:gs>
            <a:gs pos="50000">
              <a:schemeClr val="phClr">
                <a:lumMod val="105000"/>
                <a:tint val="73000"/>
              </a:schemeClr>
            </a:gs>
            <a:gs pos="100000">
              <a:schemeClr val="phClr">
                <a:lumMod val="105000"/>
                <a:tint val="81000"/>
              </a:schemeClr>
            </a:gs>
          </a:gsLst>
          <a:lin ang="5400000" scaled="0"/>
          <a:tileRect l="0" t="0" r="0" b="0"/>
        </a:gradFill>
        <a:gradFill>
          <a:gsLst>
            <a:gs pos="0">
              <a:schemeClr val="phClr">
                <a:lumMod val="102000"/>
                <a:tint val="94000"/>
              </a:schemeClr>
            </a:gs>
            <a:gs pos="50000">
              <a:schemeClr val="phClr">
                <a:lumMod val="100000"/>
                <a:shade val="100000"/>
              </a:schemeClr>
            </a:gs>
            <a:gs pos="100000">
              <a:schemeClr val="phClr">
                <a:lumMod val="99000"/>
                <a:shade val="78000"/>
              </a:schemeClr>
            </a:gs>
          </a:gsLst>
          <a:lin ang="5400000" scaled="0"/>
          <a:tileRect l="0" t="0" r="0" b="0"/>
        </a:gradFill>
      </a:fillStyleLst>
      <a:lnStyleLst>
        <a:ln w="6350" cap="flat" cmpd="sng" algn="ctr">
          <a:prstDash val="solid"/>
          <a:miter lim="800000"/>
        </a:ln>
        <a:ln w="12700" cap="flat" cmpd="sng" algn="ctr">
          <a:prstDash val="solid"/>
          <a:miter lim="800000"/>
        </a:ln>
        <a:ln w="19050" cap="flat" cmpd="sng" algn="ctr">
          <a:prstDash val="solid"/>
          <a:miter lim="800000"/>
        </a:ln>
      </a:lnStyleLst>
      <a:effectStyleLst>
        <a:effectStyle>
          <a:effectLst/>
        </a:effectStyle>
        <a:effectStyle>
          <a:effectLst/>
        </a:effectStyle>
        <a:effectStyle>
          <a:effectLst/>
        </a:effectStyle>
      </a:effectStyleLst>
      <a:bgFillStyleLst>
        <a:solidFill>
          <a:schemeClr val="phClr"/>
        </a:solidFill>
        <a:solidFill>
          <a:schemeClr val="phClr">
            <a:tint val="95000"/>
          </a:schemeClr>
        </a:solidFill>
        <a:gradFill>
          <a:gsLst>
            <a:gs pos="0">
              <a:schemeClr val="phClr">
                <a:tint val="93000"/>
                <a:shade val="98000"/>
                <a:lumMod val="102000"/>
              </a:schemeClr>
            </a:gs>
            <a:gs pos="50000">
              <a:schemeClr val="phClr">
                <a:tint val="98000"/>
                <a:shade val="90000"/>
                <a:lumMod val="103000"/>
              </a:schemeClr>
            </a:gs>
            <a:gs pos="100000">
              <a:schemeClr val="phClr">
                <a:shade val="63000"/>
              </a:schemeClr>
            </a:gs>
          </a:gsLst>
          <a:lin ang="5400000" scaled="0"/>
          <a:tileRect l="0" t="0" r="0" b="0"/>
        </a:gradFill>
      </a:bgFillStyleLst>
    </a:fmtScheme>
  </a:themeElements>
</a:theme>
</file>

<file path=ppt/theme/theme14.xml><?xml version="1.0" encoding="utf-8"?>
<a:theme xmlns:a="http://schemas.openxmlformats.org/drawingml/2006/main" xmlns:r="http://schemas.openxmlformats.org/officeDocument/2006/relationships" name="DESY">
  <a:themeElements>
    <a:clrScheme name="DESY">
      <a:dk1>
        <a:srgbClr val="000000"/>
      </a:dk1>
      <a:lt1>
        <a:srgbClr val="ffffff"/>
      </a:lt1>
      <a:dk2>
        <a:srgbClr val="898d8d"/>
      </a:dk2>
      <a:lt2>
        <a:srgbClr val="b2b4b2"/>
      </a:lt2>
      <a:accent1>
        <a:srgbClr val="009fdf"/>
      </a:accent1>
      <a:accent2>
        <a:srgbClr val="f18f1f"/>
      </a:accent2>
      <a:accent3>
        <a:srgbClr val="004b7d"/>
      </a:accent3>
      <a:accent4>
        <a:srgbClr val="898d8d"/>
      </a:accent4>
      <a:accent5>
        <a:srgbClr val="b2b4b2"/>
      </a:accent5>
      <a:accent6>
        <a:srgbClr val="375e77"/>
      </a:accent6>
      <a:hlink>
        <a:srgbClr val="000000"/>
      </a:hlink>
      <a:folHlink>
        <a:srgbClr val="000000"/>
      </a:folHlink>
    </a:clrScheme>
    <a:fontScheme name="Arial">
      <a:majorFont>
        <a:latin typeface="Arial" pitchFamily="0" charset="1"/>
        <a:ea typeface="Arial" pitchFamily="0" charset="1"/>
        <a:cs typeface="Arial" pitchFamily="0" charset="1"/>
      </a:majorFont>
      <a:minorFont>
        <a:latin typeface="Arial" pitchFamily="0" charset="1"/>
        <a:ea typeface="Arial" pitchFamily="0" charset="1"/>
        <a:cs typeface="Arial" pitchFamily="0" charset="1"/>
      </a:minorFont>
    </a:fontScheme>
    <a:fmtScheme>
      <a:fillStyleLst>
        <a:solidFill>
          <a:schemeClr val="phClr"/>
        </a:solidFill>
        <a:gradFill>
          <a:gsLst>
            <a:gs pos="0">
              <a:schemeClr val="phClr">
                <a:lumMod val="110000"/>
                <a:tint val="67000"/>
              </a:schemeClr>
            </a:gs>
            <a:gs pos="50000">
              <a:schemeClr val="phClr">
                <a:lumMod val="105000"/>
                <a:tint val="73000"/>
              </a:schemeClr>
            </a:gs>
            <a:gs pos="100000">
              <a:schemeClr val="phClr">
                <a:lumMod val="105000"/>
                <a:tint val="81000"/>
              </a:schemeClr>
            </a:gs>
          </a:gsLst>
          <a:lin ang="5400000" scaled="0"/>
          <a:tileRect l="0" t="0" r="0" b="0"/>
        </a:gradFill>
        <a:gradFill>
          <a:gsLst>
            <a:gs pos="0">
              <a:schemeClr val="phClr">
                <a:lumMod val="102000"/>
                <a:tint val="94000"/>
              </a:schemeClr>
            </a:gs>
            <a:gs pos="50000">
              <a:schemeClr val="phClr">
                <a:lumMod val="100000"/>
                <a:shade val="100000"/>
              </a:schemeClr>
            </a:gs>
            <a:gs pos="100000">
              <a:schemeClr val="phClr">
                <a:lumMod val="99000"/>
                <a:shade val="78000"/>
              </a:schemeClr>
            </a:gs>
          </a:gsLst>
          <a:lin ang="5400000" scaled="0"/>
          <a:tileRect l="0" t="0" r="0" b="0"/>
        </a:gradFill>
      </a:fillStyleLst>
      <a:lnStyleLst>
        <a:ln w="6350" cap="flat" cmpd="sng" algn="ctr">
          <a:prstDash val="solid"/>
          <a:miter lim="800000"/>
        </a:ln>
        <a:ln w="12700" cap="flat" cmpd="sng" algn="ctr">
          <a:prstDash val="solid"/>
          <a:miter lim="800000"/>
        </a:ln>
        <a:ln w="19050" cap="flat" cmpd="sng" algn="ctr">
          <a:prstDash val="solid"/>
          <a:miter lim="800000"/>
        </a:ln>
      </a:lnStyleLst>
      <a:effectStyleLst>
        <a:effectStyle>
          <a:effectLst/>
        </a:effectStyle>
        <a:effectStyle>
          <a:effectLst/>
        </a:effectStyle>
        <a:effectStyle>
          <a:effectLst/>
        </a:effectStyle>
      </a:effectStyleLst>
      <a:bgFillStyleLst>
        <a:solidFill>
          <a:schemeClr val="phClr"/>
        </a:solidFill>
        <a:solidFill>
          <a:schemeClr val="phClr">
            <a:tint val="95000"/>
          </a:schemeClr>
        </a:solidFill>
        <a:gradFill>
          <a:gsLst>
            <a:gs pos="0">
              <a:schemeClr val="phClr">
                <a:tint val="93000"/>
                <a:shade val="98000"/>
                <a:lumMod val="102000"/>
              </a:schemeClr>
            </a:gs>
            <a:gs pos="50000">
              <a:schemeClr val="phClr">
                <a:tint val="98000"/>
                <a:shade val="90000"/>
                <a:lumMod val="103000"/>
              </a:schemeClr>
            </a:gs>
            <a:gs pos="100000">
              <a:schemeClr val="phClr">
                <a:shade val="63000"/>
              </a:schemeClr>
            </a:gs>
          </a:gsLst>
          <a:lin ang="5400000" scaled="0"/>
          <a:tileRect l="0" t="0" r="0" b="0"/>
        </a:gradFill>
      </a:bgFillStyleLst>
    </a:fmtScheme>
  </a:themeElements>
</a:theme>
</file>

<file path=ppt/theme/theme15.xml><?xml version="1.0" encoding="utf-8"?>
<a:theme xmlns:a="http://schemas.openxmlformats.org/drawingml/2006/main" xmlns:r="http://schemas.openxmlformats.org/officeDocument/2006/relationships" name="DESY">
  <a:themeElements>
    <a:clrScheme name="DESY">
      <a:dk1>
        <a:srgbClr val="000000"/>
      </a:dk1>
      <a:lt1>
        <a:srgbClr val="ffffff"/>
      </a:lt1>
      <a:dk2>
        <a:srgbClr val="898d8d"/>
      </a:dk2>
      <a:lt2>
        <a:srgbClr val="b2b4b2"/>
      </a:lt2>
      <a:accent1>
        <a:srgbClr val="009fdf"/>
      </a:accent1>
      <a:accent2>
        <a:srgbClr val="f18f1f"/>
      </a:accent2>
      <a:accent3>
        <a:srgbClr val="004b7d"/>
      </a:accent3>
      <a:accent4>
        <a:srgbClr val="898d8d"/>
      </a:accent4>
      <a:accent5>
        <a:srgbClr val="b2b4b2"/>
      </a:accent5>
      <a:accent6>
        <a:srgbClr val="375e77"/>
      </a:accent6>
      <a:hlink>
        <a:srgbClr val="000000"/>
      </a:hlink>
      <a:folHlink>
        <a:srgbClr val="000000"/>
      </a:folHlink>
    </a:clrScheme>
    <a:fontScheme name="Arial">
      <a:majorFont>
        <a:latin typeface="Arial" pitchFamily="0" charset="1"/>
        <a:ea typeface="Arial" pitchFamily="0" charset="1"/>
        <a:cs typeface="Arial" pitchFamily="0" charset="1"/>
      </a:majorFont>
      <a:minorFont>
        <a:latin typeface="Arial" pitchFamily="0" charset="1"/>
        <a:ea typeface="Arial" pitchFamily="0" charset="1"/>
        <a:cs typeface="Arial" pitchFamily="0" charset="1"/>
      </a:minorFont>
    </a:fontScheme>
    <a:fmtScheme>
      <a:fillStyleLst>
        <a:solidFill>
          <a:schemeClr val="phClr"/>
        </a:solidFill>
        <a:gradFill>
          <a:gsLst>
            <a:gs pos="0">
              <a:schemeClr val="phClr">
                <a:lumMod val="110000"/>
                <a:tint val="67000"/>
              </a:schemeClr>
            </a:gs>
            <a:gs pos="50000">
              <a:schemeClr val="phClr">
                <a:lumMod val="105000"/>
                <a:tint val="73000"/>
              </a:schemeClr>
            </a:gs>
            <a:gs pos="100000">
              <a:schemeClr val="phClr">
                <a:lumMod val="105000"/>
                <a:tint val="81000"/>
              </a:schemeClr>
            </a:gs>
          </a:gsLst>
          <a:lin ang="5400000" scaled="0"/>
          <a:tileRect l="0" t="0" r="0" b="0"/>
        </a:gradFill>
        <a:gradFill>
          <a:gsLst>
            <a:gs pos="0">
              <a:schemeClr val="phClr">
                <a:lumMod val="102000"/>
                <a:tint val="94000"/>
              </a:schemeClr>
            </a:gs>
            <a:gs pos="50000">
              <a:schemeClr val="phClr">
                <a:lumMod val="100000"/>
                <a:shade val="100000"/>
              </a:schemeClr>
            </a:gs>
            <a:gs pos="100000">
              <a:schemeClr val="phClr">
                <a:lumMod val="99000"/>
                <a:shade val="78000"/>
              </a:schemeClr>
            </a:gs>
          </a:gsLst>
          <a:lin ang="5400000" scaled="0"/>
          <a:tileRect l="0" t="0" r="0" b="0"/>
        </a:gradFill>
      </a:fillStyleLst>
      <a:lnStyleLst>
        <a:ln w="6350" cap="flat" cmpd="sng" algn="ctr">
          <a:prstDash val="solid"/>
          <a:miter lim="800000"/>
        </a:ln>
        <a:ln w="12700" cap="flat" cmpd="sng" algn="ctr">
          <a:prstDash val="solid"/>
          <a:miter lim="800000"/>
        </a:ln>
        <a:ln w="19050" cap="flat" cmpd="sng" algn="ctr">
          <a:prstDash val="solid"/>
          <a:miter lim="800000"/>
        </a:ln>
      </a:lnStyleLst>
      <a:effectStyleLst>
        <a:effectStyle>
          <a:effectLst/>
        </a:effectStyle>
        <a:effectStyle>
          <a:effectLst/>
        </a:effectStyle>
        <a:effectStyle>
          <a:effectLst/>
        </a:effectStyle>
      </a:effectStyleLst>
      <a:bgFillStyleLst>
        <a:solidFill>
          <a:schemeClr val="phClr"/>
        </a:solidFill>
        <a:solidFill>
          <a:schemeClr val="phClr">
            <a:tint val="95000"/>
          </a:schemeClr>
        </a:solidFill>
        <a:gradFill>
          <a:gsLst>
            <a:gs pos="0">
              <a:schemeClr val="phClr">
                <a:tint val="93000"/>
                <a:shade val="98000"/>
                <a:lumMod val="102000"/>
              </a:schemeClr>
            </a:gs>
            <a:gs pos="50000">
              <a:schemeClr val="phClr">
                <a:tint val="98000"/>
                <a:shade val="90000"/>
                <a:lumMod val="103000"/>
              </a:schemeClr>
            </a:gs>
            <a:gs pos="100000">
              <a:schemeClr val="phClr">
                <a:shade val="63000"/>
              </a:schemeClr>
            </a:gs>
          </a:gsLst>
          <a:lin ang="5400000" scaled="0"/>
          <a:tileRect l="0" t="0" r="0" b="0"/>
        </a:gradFill>
      </a:bgFillStyleLst>
    </a:fmtScheme>
  </a:themeElements>
</a:theme>
</file>

<file path=ppt/theme/theme16.xml><?xml version="1.0" encoding="utf-8"?>
<a:theme xmlns:a="http://schemas.openxmlformats.org/drawingml/2006/main" xmlns:r="http://schemas.openxmlformats.org/officeDocument/2006/relationships" name="DESY">
  <a:themeElements>
    <a:clrScheme name="DESY">
      <a:dk1>
        <a:srgbClr val="000000"/>
      </a:dk1>
      <a:lt1>
        <a:srgbClr val="ffffff"/>
      </a:lt1>
      <a:dk2>
        <a:srgbClr val="898d8d"/>
      </a:dk2>
      <a:lt2>
        <a:srgbClr val="b2b4b2"/>
      </a:lt2>
      <a:accent1>
        <a:srgbClr val="009fdf"/>
      </a:accent1>
      <a:accent2>
        <a:srgbClr val="f18f1f"/>
      </a:accent2>
      <a:accent3>
        <a:srgbClr val="004b7d"/>
      </a:accent3>
      <a:accent4>
        <a:srgbClr val="898d8d"/>
      </a:accent4>
      <a:accent5>
        <a:srgbClr val="b2b4b2"/>
      </a:accent5>
      <a:accent6>
        <a:srgbClr val="375e77"/>
      </a:accent6>
      <a:hlink>
        <a:srgbClr val="000000"/>
      </a:hlink>
      <a:folHlink>
        <a:srgbClr val="000000"/>
      </a:folHlink>
    </a:clrScheme>
    <a:fontScheme name="Arial">
      <a:majorFont>
        <a:latin typeface="Arial" pitchFamily="0" charset="1"/>
        <a:ea typeface="Arial" pitchFamily="0" charset="1"/>
        <a:cs typeface="Arial" pitchFamily="0" charset="1"/>
      </a:majorFont>
      <a:minorFont>
        <a:latin typeface="Arial" pitchFamily="0" charset="1"/>
        <a:ea typeface="Arial" pitchFamily="0" charset="1"/>
        <a:cs typeface="Arial" pitchFamily="0" charset="1"/>
      </a:minorFont>
    </a:fontScheme>
    <a:fmtScheme>
      <a:fillStyleLst>
        <a:solidFill>
          <a:schemeClr val="phClr"/>
        </a:solidFill>
        <a:gradFill>
          <a:gsLst>
            <a:gs pos="0">
              <a:schemeClr val="phClr">
                <a:lumMod val="110000"/>
                <a:tint val="67000"/>
              </a:schemeClr>
            </a:gs>
            <a:gs pos="50000">
              <a:schemeClr val="phClr">
                <a:lumMod val="105000"/>
                <a:tint val="73000"/>
              </a:schemeClr>
            </a:gs>
            <a:gs pos="100000">
              <a:schemeClr val="phClr">
                <a:lumMod val="105000"/>
                <a:tint val="81000"/>
              </a:schemeClr>
            </a:gs>
          </a:gsLst>
          <a:lin ang="5400000" scaled="0"/>
          <a:tileRect l="0" t="0" r="0" b="0"/>
        </a:gradFill>
        <a:gradFill>
          <a:gsLst>
            <a:gs pos="0">
              <a:schemeClr val="phClr">
                <a:lumMod val="102000"/>
                <a:tint val="94000"/>
              </a:schemeClr>
            </a:gs>
            <a:gs pos="50000">
              <a:schemeClr val="phClr">
                <a:lumMod val="100000"/>
                <a:shade val="100000"/>
              </a:schemeClr>
            </a:gs>
            <a:gs pos="100000">
              <a:schemeClr val="phClr">
                <a:lumMod val="99000"/>
                <a:shade val="78000"/>
              </a:schemeClr>
            </a:gs>
          </a:gsLst>
          <a:lin ang="5400000" scaled="0"/>
          <a:tileRect l="0" t="0" r="0" b="0"/>
        </a:gradFill>
      </a:fillStyleLst>
      <a:lnStyleLst>
        <a:ln w="6350" cap="flat" cmpd="sng" algn="ctr">
          <a:prstDash val="solid"/>
          <a:miter lim="800000"/>
        </a:ln>
        <a:ln w="12700" cap="flat" cmpd="sng" algn="ctr">
          <a:prstDash val="solid"/>
          <a:miter lim="800000"/>
        </a:ln>
        <a:ln w="19050" cap="flat" cmpd="sng" algn="ctr">
          <a:prstDash val="solid"/>
          <a:miter lim="800000"/>
        </a:ln>
      </a:lnStyleLst>
      <a:effectStyleLst>
        <a:effectStyle>
          <a:effectLst/>
        </a:effectStyle>
        <a:effectStyle>
          <a:effectLst/>
        </a:effectStyle>
        <a:effectStyle>
          <a:effectLst/>
        </a:effectStyle>
      </a:effectStyleLst>
      <a:bgFillStyleLst>
        <a:solidFill>
          <a:schemeClr val="phClr"/>
        </a:solidFill>
        <a:solidFill>
          <a:schemeClr val="phClr">
            <a:tint val="95000"/>
          </a:schemeClr>
        </a:solidFill>
        <a:gradFill>
          <a:gsLst>
            <a:gs pos="0">
              <a:schemeClr val="phClr">
                <a:tint val="93000"/>
                <a:shade val="98000"/>
                <a:lumMod val="102000"/>
              </a:schemeClr>
            </a:gs>
            <a:gs pos="50000">
              <a:schemeClr val="phClr">
                <a:tint val="98000"/>
                <a:shade val="90000"/>
                <a:lumMod val="103000"/>
              </a:schemeClr>
            </a:gs>
            <a:gs pos="100000">
              <a:schemeClr val="phClr">
                <a:shade val="63000"/>
              </a:schemeClr>
            </a:gs>
          </a:gsLst>
          <a:lin ang="5400000" scaled="0"/>
          <a:tileRect l="0" t="0" r="0" b="0"/>
        </a:gradFill>
      </a:bgFillStyleLst>
    </a:fmtScheme>
  </a:themeElements>
</a:theme>
</file>

<file path=ppt/theme/theme17.xml><?xml version="1.0" encoding="utf-8"?>
<a:theme xmlns:a="http://schemas.openxmlformats.org/drawingml/2006/main" xmlns:r="http://schemas.openxmlformats.org/officeDocument/2006/relationships" name="DESY">
  <a:themeElements>
    <a:clrScheme name="DESY">
      <a:dk1>
        <a:srgbClr val="000000"/>
      </a:dk1>
      <a:lt1>
        <a:srgbClr val="ffffff"/>
      </a:lt1>
      <a:dk2>
        <a:srgbClr val="898d8d"/>
      </a:dk2>
      <a:lt2>
        <a:srgbClr val="b2b4b2"/>
      </a:lt2>
      <a:accent1>
        <a:srgbClr val="009fdf"/>
      </a:accent1>
      <a:accent2>
        <a:srgbClr val="f18f1f"/>
      </a:accent2>
      <a:accent3>
        <a:srgbClr val="004b7d"/>
      </a:accent3>
      <a:accent4>
        <a:srgbClr val="898d8d"/>
      </a:accent4>
      <a:accent5>
        <a:srgbClr val="b2b4b2"/>
      </a:accent5>
      <a:accent6>
        <a:srgbClr val="375e77"/>
      </a:accent6>
      <a:hlink>
        <a:srgbClr val="000000"/>
      </a:hlink>
      <a:folHlink>
        <a:srgbClr val="000000"/>
      </a:folHlink>
    </a:clrScheme>
    <a:fontScheme name="Arial">
      <a:majorFont>
        <a:latin typeface="Arial" pitchFamily="0" charset="1"/>
        <a:ea typeface="Arial" pitchFamily="0" charset="1"/>
        <a:cs typeface="Arial" pitchFamily="0" charset="1"/>
      </a:majorFont>
      <a:minorFont>
        <a:latin typeface="Arial" pitchFamily="0" charset="1"/>
        <a:ea typeface="Arial" pitchFamily="0" charset="1"/>
        <a:cs typeface="Arial" pitchFamily="0" charset="1"/>
      </a:minorFont>
    </a:fontScheme>
    <a:fmtScheme>
      <a:fillStyleLst>
        <a:solidFill>
          <a:schemeClr val="phClr"/>
        </a:solidFill>
        <a:gradFill>
          <a:gsLst>
            <a:gs pos="0">
              <a:schemeClr val="phClr">
                <a:lumMod val="110000"/>
                <a:tint val="67000"/>
              </a:schemeClr>
            </a:gs>
            <a:gs pos="50000">
              <a:schemeClr val="phClr">
                <a:lumMod val="105000"/>
                <a:tint val="73000"/>
              </a:schemeClr>
            </a:gs>
            <a:gs pos="100000">
              <a:schemeClr val="phClr">
                <a:lumMod val="105000"/>
                <a:tint val="81000"/>
              </a:schemeClr>
            </a:gs>
          </a:gsLst>
          <a:lin ang="5400000" scaled="0"/>
          <a:tileRect l="0" t="0" r="0" b="0"/>
        </a:gradFill>
        <a:gradFill>
          <a:gsLst>
            <a:gs pos="0">
              <a:schemeClr val="phClr">
                <a:lumMod val="102000"/>
                <a:tint val="94000"/>
              </a:schemeClr>
            </a:gs>
            <a:gs pos="50000">
              <a:schemeClr val="phClr">
                <a:lumMod val="100000"/>
                <a:shade val="100000"/>
              </a:schemeClr>
            </a:gs>
            <a:gs pos="100000">
              <a:schemeClr val="phClr">
                <a:lumMod val="99000"/>
                <a:shade val="78000"/>
              </a:schemeClr>
            </a:gs>
          </a:gsLst>
          <a:lin ang="5400000" scaled="0"/>
          <a:tileRect l="0" t="0" r="0" b="0"/>
        </a:gradFill>
      </a:fillStyleLst>
      <a:lnStyleLst>
        <a:ln w="6350" cap="flat" cmpd="sng" algn="ctr">
          <a:prstDash val="solid"/>
          <a:miter lim="800000"/>
        </a:ln>
        <a:ln w="12700" cap="flat" cmpd="sng" algn="ctr">
          <a:prstDash val="solid"/>
          <a:miter lim="800000"/>
        </a:ln>
        <a:ln w="19050" cap="flat" cmpd="sng" algn="ctr">
          <a:prstDash val="solid"/>
          <a:miter lim="800000"/>
        </a:ln>
      </a:lnStyleLst>
      <a:effectStyleLst>
        <a:effectStyle>
          <a:effectLst/>
        </a:effectStyle>
        <a:effectStyle>
          <a:effectLst/>
        </a:effectStyle>
        <a:effectStyle>
          <a:effectLst/>
        </a:effectStyle>
      </a:effectStyleLst>
      <a:bgFillStyleLst>
        <a:solidFill>
          <a:schemeClr val="phClr"/>
        </a:solidFill>
        <a:solidFill>
          <a:schemeClr val="phClr">
            <a:tint val="95000"/>
          </a:schemeClr>
        </a:solidFill>
        <a:gradFill>
          <a:gsLst>
            <a:gs pos="0">
              <a:schemeClr val="phClr">
                <a:tint val="93000"/>
                <a:shade val="98000"/>
                <a:lumMod val="102000"/>
              </a:schemeClr>
            </a:gs>
            <a:gs pos="50000">
              <a:schemeClr val="phClr">
                <a:tint val="98000"/>
                <a:shade val="90000"/>
                <a:lumMod val="103000"/>
              </a:schemeClr>
            </a:gs>
            <a:gs pos="100000">
              <a:schemeClr val="phClr">
                <a:shade val="63000"/>
              </a:schemeClr>
            </a:gs>
          </a:gsLst>
          <a:lin ang="5400000" scaled="0"/>
          <a:tileRect l="0" t="0" r="0" b="0"/>
        </a:gradFill>
      </a:bgFillStyleLst>
    </a:fmtScheme>
  </a:themeElements>
</a:theme>
</file>

<file path=ppt/theme/theme18.xml><?xml version="1.0" encoding="utf-8"?>
<a:theme xmlns:a="http://schemas.openxmlformats.org/drawingml/2006/main" xmlns:r="http://schemas.openxmlformats.org/officeDocument/2006/relationships" name="DESY">
  <a:themeElements>
    <a:clrScheme name="DESY">
      <a:dk1>
        <a:srgbClr val="000000"/>
      </a:dk1>
      <a:lt1>
        <a:srgbClr val="ffffff"/>
      </a:lt1>
      <a:dk2>
        <a:srgbClr val="898d8d"/>
      </a:dk2>
      <a:lt2>
        <a:srgbClr val="b2b4b2"/>
      </a:lt2>
      <a:accent1>
        <a:srgbClr val="009fdf"/>
      </a:accent1>
      <a:accent2>
        <a:srgbClr val="f18f1f"/>
      </a:accent2>
      <a:accent3>
        <a:srgbClr val="004b7d"/>
      </a:accent3>
      <a:accent4>
        <a:srgbClr val="898d8d"/>
      </a:accent4>
      <a:accent5>
        <a:srgbClr val="b2b4b2"/>
      </a:accent5>
      <a:accent6>
        <a:srgbClr val="375e77"/>
      </a:accent6>
      <a:hlink>
        <a:srgbClr val="000000"/>
      </a:hlink>
      <a:folHlink>
        <a:srgbClr val="000000"/>
      </a:folHlink>
    </a:clrScheme>
    <a:fontScheme name="Arial">
      <a:majorFont>
        <a:latin typeface="Arial" pitchFamily="0" charset="1"/>
        <a:ea typeface="Arial" pitchFamily="0" charset="1"/>
        <a:cs typeface="Arial" pitchFamily="0" charset="1"/>
      </a:majorFont>
      <a:minorFont>
        <a:latin typeface="Arial" pitchFamily="0" charset="1"/>
        <a:ea typeface="Arial" pitchFamily="0" charset="1"/>
        <a:cs typeface="Arial" pitchFamily="0" charset="1"/>
      </a:minorFont>
    </a:fontScheme>
    <a:fmtScheme>
      <a:fillStyleLst>
        <a:solidFill>
          <a:schemeClr val="phClr"/>
        </a:solidFill>
        <a:gradFill>
          <a:gsLst>
            <a:gs pos="0">
              <a:schemeClr val="phClr">
                <a:lumMod val="110000"/>
                <a:tint val="67000"/>
              </a:schemeClr>
            </a:gs>
            <a:gs pos="50000">
              <a:schemeClr val="phClr">
                <a:lumMod val="105000"/>
                <a:tint val="73000"/>
              </a:schemeClr>
            </a:gs>
            <a:gs pos="100000">
              <a:schemeClr val="phClr">
                <a:lumMod val="105000"/>
                <a:tint val="81000"/>
              </a:schemeClr>
            </a:gs>
          </a:gsLst>
          <a:lin ang="5400000" scaled="0"/>
          <a:tileRect l="0" t="0" r="0" b="0"/>
        </a:gradFill>
        <a:gradFill>
          <a:gsLst>
            <a:gs pos="0">
              <a:schemeClr val="phClr">
                <a:lumMod val="102000"/>
                <a:tint val="94000"/>
              </a:schemeClr>
            </a:gs>
            <a:gs pos="50000">
              <a:schemeClr val="phClr">
                <a:lumMod val="100000"/>
                <a:shade val="100000"/>
              </a:schemeClr>
            </a:gs>
            <a:gs pos="100000">
              <a:schemeClr val="phClr">
                <a:lumMod val="99000"/>
                <a:shade val="78000"/>
              </a:schemeClr>
            </a:gs>
          </a:gsLst>
          <a:lin ang="5400000" scaled="0"/>
          <a:tileRect l="0" t="0" r="0" b="0"/>
        </a:gradFill>
      </a:fillStyleLst>
      <a:lnStyleLst>
        <a:ln w="6350" cap="flat" cmpd="sng" algn="ctr">
          <a:prstDash val="solid"/>
          <a:miter lim="800000"/>
        </a:ln>
        <a:ln w="12700" cap="flat" cmpd="sng" algn="ctr">
          <a:prstDash val="solid"/>
          <a:miter lim="800000"/>
        </a:ln>
        <a:ln w="19050" cap="flat" cmpd="sng" algn="ctr">
          <a:prstDash val="solid"/>
          <a:miter lim="800000"/>
        </a:ln>
      </a:lnStyleLst>
      <a:effectStyleLst>
        <a:effectStyle>
          <a:effectLst/>
        </a:effectStyle>
        <a:effectStyle>
          <a:effectLst/>
        </a:effectStyle>
        <a:effectStyle>
          <a:effectLst/>
        </a:effectStyle>
      </a:effectStyleLst>
      <a:bgFillStyleLst>
        <a:solidFill>
          <a:schemeClr val="phClr"/>
        </a:solidFill>
        <a:solidFill>
          <a:schemeClr val="phClr">
            <a:tint val="95000"/>
          </a:schemeClr>
        </a:solidFill>
        <a:gradFill>
          <a:gsLst>
            <a:gs pos="0">
              <a:schemeClr val="phClr">
                <a:tint val="93000"/>
                <a:shade val="98000"/>
                <a:lumMod val="102000"/>
              </a:schemeClr>
            </a:gs>
            <a:gs pos="50000">
              <a:schemeClr val="phClr">
                <a:tint val="98000"/>
                <a:shade val="90000"/>
                <a:lumMod val="103000"/>
              </a:schemeClr>
            </a:gs>
            <a:gs pos="100000">
              <a:schemeClr val="phClr">
                <a:shade val="63000"/>
              </a:schemeClr>
            </a:gs>
          </a:gsLst>
          <a:lin ang="5400000" scaled="0"/>
          <a:tileRect l="0" t="0" r="0" b="0"/>
        </a:gradFill>
      </a:bgFillStyleLst>
    </a:fmtScheme>
  </a:themeElements>
</a:theme>
</file>

<file path=ppt/theme/theme19.xml><?xml version="1.0" encoding="utf-8"?>
<a:theme xmlns:a="http://schemas.openxmlformats.org/drawingml/2006/main" xmlns:r="http://schemas.openxmlformats.org/officeDocument/2006/relationships" name="DESY">
  <a:themeElements>
    <a:clrScheme name="DESY">
      <a:dk1>
        <a:srgbClr val="000000"/>
      </a:dk1>
      <a:lt1>
        <a:srgbClr val="ffffff"/>
      </a:lt1>
      <a:dk2>
        <a:srgbClr val="898d8d"/>
      </a:dk2>
      <a:lt2>
        <a:srgbClr val="b2b4b2"/>
      </a:lt2>
      <a:accent1>
        <a:srgbClr val="009fdf"/>
      </a:accent1>
      <a:accent2>
        <a:srgbClr val="f18f1f"/>
      </a:accent2>
      <a:accent3>
        <a:srgbClr val="004b7d"/>
      </a:accent3>
      <a:accent4>
        <a:srgbClr val="898d8d"/>
      </a:accent4>
      <a:accent5>
        <a:srgbClr val="b2b4b2"/>
      </a:accent5>
      <a:accent6>
        <a:srgbClr val="375e77"/>
      </a:accent6>
      <a:hlink>
        <a:srgbClr val="000000"/>
      </a:hlink>
      <a:folHlink>
        <a:srgbClr val="000000"/>
      </a:folHlink>
    </a:clrScheme>
    <a:fontScheme name="Arial">
      <a:majorFont>
        <a:latin typeface="Arial" pitchFamily="0" charset="1"/>
        <a:ea typeface="Arial" pitchFamily="0" charset="1"/>
        <a:cs typeface="Arial" pitchFamily="0" charset="1"/>
      </a:majorFont>
      <a:minorFont>
        <a:latin typeface="Arial" pitchFamily="0" charset="1"/>
        <a:ea typeface="Arial" pitchFamily="0" charset="1"/>
        <a:cs typeface="Arial" pitchFamily="0" charset="1"/>
      </a:minorFont>
    </a:fontScheme>
    <a:fmtScheme>
      <a:fillStyleLst>
        <a:solidFill>
          <a:schemeClr val="phClr"/>
        </a:solidFill>
        <a:gradFill>
          <a:gsLst>
            <a:gs pos="0">
              <a:schemeClr val="phClr">
                <a:lumMod val="110000"/>
                <a:tint val="67000"/>
              </a:schemeClr>
            </a:gs>
            <a:gs pos="50000">
              <a:schemeClr val="phClr">
                <a:lumMod val="105000"/>
                <a:tint val="73000"/>
              </a:schemeClr>
            </a:gs>
            <a:gs pos="100000">
              <a:schemeClr val="phClr">
                <a:lumMod val="105000"/>
                <a:tint val="81000"/>
              </a:schemeClr>
            </a:gs>
          </a:gsLst>
          <a:lin ang="5400000" scaled="0"/>
          <a:tileRect l="0" t="0" r="0" b="0"/>
        </a:gradFill>
        <a:gradFill>
          <a:gsLst>
            <a:gs pos="0">
              <a:schemeClr val="phClr">
                <a:lumMod val="102000"/>
                <a:tint val="94000"/>
              </a:schemeClr>
            </a:gs>
            <a:gs pos="50000">
              <a:schemeClr val="phClr">
                <a:lumMod val="100000"/>
                <a:shade val="100000"/>
              </a:schemeClr>
            </a:gs>
            <a:gs pos="100000">
              <a:schemeClr val="phClr">
                <a:lumMod val="99000"/>
                <a:shade val="78000"/>
              </a:schemeClr>
            </a:gs>
          </a:gsLst>
          <a:lin ang="5400000" scaled="0"/>
          <a:tileRect l="0" t="0" r="0" b="0"/>
        </a:gradFill>
      </a:fillStyleLst>
      <a:lnStyleLst>
        <a:ln w="6350" cap="flat" cmpd="sng" algn="ctr">
          <a:prstDash val="solid"/>
          <a:miter lim="800000"/>
        </a:ln>
        <a:ln w="12700" cap="flat" cmpd="sng" algn="ctr">
          <a:prstDash val="solid"/>
          <a:miter lim="800000"/>
        </a:ln>
        <a:ln w="19050" cap="flat" cmpd="sng" algn="ctr">
          <a:prstDash val="solid"/>
          <a:miter lim="800000"/>
        </a:ln>
      </a:lnStyleLst>
      <a:effectStyleLst>
        <a:effectStyle>
          <a:effectLst/>
        </a:effectStyle>
        <a:effectStyle>
          <a:effectLst/>
        </a:effectStyle>
        <a:effectStyle>
          <a:effectLst/>
        </a:effectStyle>
      </a:effectStyleLst>
      <a:bgFillStyleLst>
        <a:solidFill>
          <a:schemeClr val="phClr"/>
        </a:solidFill>
        <a:solidFill>
          <a:schemeClr val="phClr">
            <a:tint val="95000"/>
          </a:schemeClr>
        </a:solidFill>
        <a:gradFill>
          <a:gsLst>
            <a:gs pos="0">
              <a:schemeClr val="phClr">
                <a:tint val="93000"/>
                <a:shade val="98000"/>
                <a:lumMod val="102000"/>
              </a:schemeClr>
            </a:gs>
            <a:gs pos="50000">
              <a:schemeClr val="phClr">
                <a:tint val="98000"/>
                <a:shade val="90000"/>
                <a:lumMod val="103000"/>
              </a:schemeClr>
            </a:gs>
            <a:gs pos="100000">
              <a:schemeClr val="phClr">
                <a:shade val="63000"/>
              </a:schemeClr>
            </a:gs>
          </a:gsLst>
          <a:lin ang="5400000" scaled="0"/>
          <a:tileRect l="0" t="0" r="0" b="0"/>
        </a:gradFill>
      </a:bgFillStyleLst>
    </a:fmtScheme>
  </a:themeElements>
</a:theme>
</file>

<file path=ppt/theme/theme2.xml><?xml version="1.0" encoding="utf-8"?>
<a:theme xmlns:a="http://schemas.openxmlformats.org/drawingml/2006/main" xmlns:r="http://schemas.openxmlformats.org/officeDocument/2006/relationships" name="DESY">
  <a:themeElements>
    <a:clrScheme name="DESY">
      <a:dk1>
        <a:srgbClr val="000000"/>
      </a:dk1>
      <a:lt1>
        <a:srgbClr val="ffffff"/>
      </a:lt1>
      <a:dk2>
        <a:srgbClr val="898d8d"/>
      </a:dk2>
      <a:lt2>
        <a:srgbClr val="b2b4b2"/>
      </a:lt2>
      <a:accent1>
        <a:srgbClr val="009fdf"/>
      </a:accent1>
      <a:accent2>
        <a:srgbClr val="f18f1f"/>
      </a:accent2>
      <a:accent3>
        <a:srgbClr val="004b7d"/>
      </a:accent3>
      <a:accent4>
        <a:srgbClr val="898d8d"/>
      </a:accent4>
      <a:accent5>
        <a:srgbClr val="b2b4b2"/>
      </a:accent5>
      <a:accent6>
        <a:srgbClr val="375e77"/>
      </a:accent6>
      <a:hlink>
        <a:srgbClr val="000000"/>
      </a:hlink>
      <a:folHlink>
        <a:srgbClr val="000000"/>
      </a:folHlink>
    </a:clrScheme>
    <a:fontScheme name="Arial">
      <a:majorFont>
        <a:latin typeface="Arial" pitchFamily="0" charset="1"/>
        <a:ea typeface="Arial" pitchFamily="0" charset="1"/>
        <a:cs typeface="Arial" pitchFamily="0" charset="1"/>
      </a:majorFont>
      <a:minorFont>
        <a:latin typeface="Arial" pitchFamily="0" charset="1"/>
        <a:ea typeface="Arial" pitchFamily="0" charset="1"/>
        <a:cs typeface="Arial" pitchFamily="0" charset="1"/>
      </a:minorFont>
    </a:fontScheme>
    <a:fmtScheme>
      <a:fillStyleLst>
        <a:solidFill>
          <a:schemeClr val="phClr"/>
        </a:solidFill>
        <a:gradFill>
          <a:gsLst>
            <a:gs pos="0">
              <a:schemeClr val="phClr">
                <a:lumMod val="110000"/>
                <a:tint val="67000"/>
              </a:schemeClr>
            </a:gs>
            <a:gs pos="50000">
              <a:schemeClr val="phClr">
                <a:lumMod val="105000"/>
                <a:tint val="73000"/>
              </a:schemeClr>
            </a:gs>
            <a:gs pos="100000">
              <a:schemeClr val="phClr">
                <a:lumMod val="105000"/>
                <a:tint val="81000"/>
              </a:schemeClr>
            </a:gs>
          </a:gsLst>
          <a:lin ang="5400000" scaled="0"/>
          <a:tileRect l="0" t="0" r="0" b="0"/>
        </a:gradFill>
        <a:gradFill>
          <a:gsLst>
            <a:gs pos="0">
              <a:schemeClr val="phClr">
                <a:lumMod val="102000"/>
                <a:tint val="94000"/>
              </a:schemeClr>
            </a:gs>
            <a:gs pos="50000">
              <a:schemeClr val="phClr">
                <a:lumMod val="100000"/>
                <a:shade val="100000"/>
              </a:schemeClr>
            </a:gs>
            <a:gs pos="100000">
              <a:schemeClr val="phClr">
                <a:lumMod val="99000"/>
                <a:shade val="78000"/>
              </a:schemeClr>
            </a:gs>
          </a:gsLst>
          <a:lin ang="5400000" scaled="0"/>
          <a:tileRect l="0" t="0" r="0" b="0"/>
        </a:gradFill>
      </a:fillStyleLst>
      <a:lnStyleLst>
        <a:ln w="6350" cap="flat" cmpd="sng" algn="ctr">
          <a:prstDash val="solid"/>
          <a:miter lim="800000"/>
        </a:ln>
        <a:ln w="12700" cap="flat" cmpd="sng" algn="ctr">
          <a:prstDash val="solid"/>
          <a:miter lim="800000"/>
        </a:ln>
        <a:ln w="19050" cap="flat" cmpd="sng" algn="ctr">
          <a:prstDash val="solid"/>
          <a:miter lim="800000"/>
        </a:ln>
      </a:lnStyleLst>
      <a:effectStyleLst>
        <a:effectStyle>
          <a:effectLst/>
        </a:effectStyle>
        <a:effectStyle>
          <a:effectLst/>
        </a:effectStyle>
        <a:effectStyle>
          <a:effectLst/>
        </a:effectStyle>
      </a:effectStyleLst>
      <a:bgFillStyleLst>
        <a:solidFill>
          <a:schemeClr val="phClr"/>
        </a:solidFill>
        <a:solidFill>
          <a:schemeClr val="phClr">
            <a:tint val="95000"/>
          </a:schemeClr>
        </a:solidFill>
        <a:gradFill>
          <a:gsLst>
            <a:gs pos="0">
              <a:schemeClr val="phClr">
                <a:tint val="93000"/>
                <a:shade val="98000"/>
                <a:lumMod val="102000"/>
              </a:schemeClr>
            </a:gs>
            <a:gs pos="50000">
              <a:schemeClr val="phClr">
                <a:tint val="98000"/>
                <a:shade val="90000"/>
                <a:lumMod val="103000"/>
              </a:schemeClr>
            </a:gs>
            <a:gs pos="100000">
              <a:schemeClr val="phClr">
                <a:shade val="63000"/>
              </a:schemeClr>
            </a:gs>
          </a:gsLst>
          <a:lin ang="5400000" scaled="0"/>
          <a:tileRect l="0" t="0" r="0" b="0"/>
        </a:gradFill>
      </a:bgFillStyleLst>
    </a:fmtScheme>
  </a:themeElements>
</a:theme>
</file>

<file path=ppt/theme/theme20.xml><?xml version="1.0" encoding="utf-8"?>
<a:theme xmlns:a="http://schemas.openxmlformats.org/drawingml/2006/main" xmlns:r="http://schemas.openxmlformats.org/officeDocument/2006/relationships" name="DESY">
  <a:themeElements>
    <a:clrScheme name="DESY">
      <a:dk1>
        <a:srgbClr val="000000"/>
      </a:dk1>
      <a:lt1>
        <a:srgbClr val="ffffff"/>
      </a:lt1>
      <a:dk2>
        <a:srgbClr val="898d8d"/>
      </a:dk2>
      <a:lt2>
        <a:srgbClr val="b2b4b2"/>
      </a:lt2>
      <a:accent1>
        <a:srgbClr val="009fdf"/>
      </a:accent1>
      <a:accent2>
        <a:srgbClr val="f18f1f"/>
      </a:accent2>
      <a:accent3>
        <a:srgbClr val="004b7d"/>
      </a:accent3>
      <a:accent4>
        <a:srgbClr val="898d8d"/>
      </a:accent4>
      <a:accent5>
        <a:srgbClr val="b2b4b2"/>
      </a:accent5>
      <a:accent6>
        <a:srgbClr val="375e77"/>
      </a:accent6>
      <a:hlink>
        <a:srgbClr val="000000"/>
      </a:hlink>
      <a:folHlink>
        <a:srgbClr val="000000"/>
      </a:folHlink>
    </a:clrScheme>
    <a:fontScheme name="Arial">
      <a:majorFont>
        <a:latin typeface="Arial" pitchFamily="0" charset="1"/>
        <a:ea typeface="Arial" pitchFamily="0" charset="1"/>
        <a:cs typeface="Arial" pitchFamily="0" charset="1"/>
      </a:majorFont>
      <a:minorFont>
        <a:latin typeface="Arial" pitchFamily="0" charset="1"/>
        <a:ea typeface="Arial" pitchFamily="0" charset="1"/>
        <a:cs typeface="Arial" pitchFamily="0" charset="1"/>
      </a:minorFont>
    </a:fontScheme>
    <a:fmtScheme>
      <a:fillStyleLst>
        <a:solidFill>
          <a:schemeClr val="phClr"/>
        </a:solidFill>
        <a:gradFill>
          <a:gsLst>
            <a:gs pos="0">
              <a:schemeClr val="phClr">
                <a:lumMod val="110000"/>
                <a:tint val="67000"/>
              </a:schemeClr>
            </a:gs>
            <a:gs pos="50000">
              <a:schemeClr val="phClr">
                <a:lumMod val="105000"/>
                <a:tint val="73000"/>
              </a:schemeClr>
            </a:gs>
            <a:gs pos="100000">
              <a:schemeClr val="phClr">
                <a:lumMod val="105000"/>
                <a:tint val="81000"/>
              </a:schemeClr>
            </a:gs>
          </a:gsLst>
          <a:lin ang="5400000" scaled="0"/>
          <a:tileRect l="0" t="0" r="0" b="0"/>
        </a:gradFill>
        <a:gradFill>
          <a:gsLst>
            <a:gs pos="0">
              <a:schemeClr val="phClr">
                <a:lumMod val="102000"/>
                <a:tint val="94000"/>
              </a:schemeClr>
            </a:gs>
            <a:gs pos="50000">
              <a:schemeClr val="phClr">
                <a:lumMod val="100000"/>
                <a:shade val="100000"/>
              </a:schemeClr>
            </a:gs>
            <a:gs pos="100000">
              <a:schemeClr val="phClr">
                <a:lumMod val="99000"/>
                <a:shade val="78000"/>
              </a:schemeClr>
            </a:gs>
          </a:gsLst>
          <a:lin ang="5400000" scaled="0"/>
          <a:tileRect l="0" t="0" r="0" b="0"/>
        </a:gradFill>
      </a:fillStyleLst>
      <a:lnStyleLst>
        <a:ln w="6350" cap="flat" cmpd="sng" algn="ctr">
          <a:prstDash val="solid"/>
          <a:miter lim="800000"/>
        </a:ln>
        <a:ln w="12700" cap="flat" cmpd="sng" algn="ctr">
          <a:prstDash val="solid"/>
          <a:miter lim="800000"/>
        </a:ln>
        <a:ln w="19050" cap="flat" cmpd="sng" algn="ctr">
          <a:prstDash val="solid"/>
          <a:miter lim="800000"/>
        </a:ln>
      </a:lnStyleLst>
      <a:effectStyleLst>
        <a:effectStyle>
          <a:effectLst/>
        </a:effectStyle>
        <a:effectStyle>
          <a:effectLst/>
        </a:effectStyle>
        <a:effectStyle>
          <a:effectLst/>
        </a:effectStyle>
      </a:effectStyleLst>
      <a:bgFillStyleLst>
        <a:solidFill>
          <a:schemeClr val="phClr"/>
        </a:solidFill>
        <a:solidFill>
          <a:schemeClr val="phClr">
            <a:tint val="95000"/>
          </a:schemeClr>
        </a:solidFill>
        <a:gradFill>
          <a:gsLst>
            <a:gs pos="0">
              <a:schemeClr val="phClr">
                <a:tint val="93000"/>
                <a:shade val="98000"/>
                <a:lumMod val="102000"/>
              </a:schemeClr>
            </a:gs>
            <a:gs pos="50000">
              <a:schemeClr val="phClr">
                <a:tint val="98000"/>
                <a:shade val="90000"/>
                <a:lumMod val="103000"/>
              </a:schemeClr>
            </a:gs>
            <a:gs pos="100000">
              <a:schemeClr val="phClr">
                <a:shade val="63000"/>
              </a:schemeClr>
            </a:gs>
          </a:gsLst>
          <a:lin ang="5400000" scaled="0"/>
          <a:tileRect l="0" t="0" r="0" b="0"/>
        </a:gradFill>
      </a:bgFillStyleLst>
    </a:fmtScheme>
  </a:themeElements>
</a:theme>
</file>

<file path=ppt/theme/theme21.xml><?xml version="1.0" encoding="utf-8"?>
<a:theme xmlns:a="http://schemas.openxmlformats.org/drawingml/2006/main" xmlns:r="http://schemas.openxmlformats.org/officeDocument/2006/relationships" name="1_DESY">
  <a:themeElements>
    <a:clrScheme name="DESY">
      <a:dk1>
        <a:srgbClr val="000000"/>
      </a:dk1>
      <a:lt1>
        <a:srgbClr val="ffffff"/>
      </a:lt1>
      <a:dk2>
        <a:srgbClr val="898d8d"/>
      </a:dk2>
      <a:lt2>
        <a:srgbClr val="b2b4b2"/>
      </a:lt2>
      <a:accent1>
        <a:srgbClr val="009fdf"/>
      </a:accent1>
      <a:accent2>
        <a:srgbClr val="f18f1f"/>
      </a:accent2>
      <a:accent3>
        <a:srgbClr val="004b7d"/>
      </a:accent3>
      <a:accent4>
        <a:srgbClr val="898d8d"/>
      </a:accent4>
      <a:accent5>
        <a:srgbClr val="b2b4b2"/>
      </a:accent5>
      <a:accent6>
        <a:srgbClr val="375e77"/>
      </a:accent6>
      <a:hlink>
        <a:srgbClr val="000000"/>
      </a:hlink>
      <a:folHlink>
        <a:srgbClr val="000000"/>
      </a:folHlink>
    </a:clrScheme>
    <a:fontScheme name="Arial">
      <a:majorFont>
        <a:latin typeface="Arial" pitchFamily="0" charset="1"/>
        <a:ea typeface="Arial" pitchFamily="0" charset="1"/>
        <a:cs typeface="Arial" pitchFamily="0" charset="1"/>
      </a:majorFont>
      <a:minorFont>
        <a:latin typeface="Arial" pitchFamily="0" charset="1"/>
        <a:ea typeface="Arial" pitchFamily="0" charset="1"/>
        <a:cs typeface="Arial" pitchFamily="0" charset="1"/>
      </a:minorFont>
    </a:fontScheme>
    <a:fmtScheme>
      <a:fillStyleLst>
        <a:solidFill>
          <a:schemeClr val="phClr"/>
        </a:solidFill>
        <a:gradFill>
          <a:gsLst>
            <a:gs pos="0">
              <a:schemeClr val="phClr">
                <a:lumMod val="110000"/>
                <a:tint val="67000"/>
              </a:schemeClr>
            </a:gs>
            <a:gs pos="50000">
              <a:schemeClr val="phClr">
                <a:lumMod val="105000"/>
                <a:tint val="73000"/>
              </a:schemeClr>
            </a:gs>
            <a:gs pos="100000">
              <a:schemeClr val="phClr">
                <a:lumMod val="105000"/>
                <a:tint val="81000"/>
              </a:schemeClr>
            </a:gs>
          </a:gsLst>
          <a:lin ang="5400000" scaled="0"/>
          <a:tileRect l="0" t="0" r="0" b="0"/>
        </a:gradFill>
        <a:gradFill>
          <a:gsLst>
            <a:gs pos="0">
              <a:schemeClr val="phClr">
                <a:lumMod val="102000"/>
                <a:tint val="94000"/>
              </a:schemeClr>
            </a:gs>
            <a:gs pos="50000">
              <a:schemeClr val="phClr">
                <a:lumMod val="100000"/>
                <a:shade val="100000"/>
              </a:schemeClr>
            </a:gs>
            <a:gs pos="100000">
              <a:schemeClr val="phClr">
                <a:lumMod val="99000"/>
                <a:shade val="78000"/>
              </a:schemeClr>
            </a:gs>
          </a:gsLst>
          <a:lin ang="5400000" scaled="0"/>
          <a:tileRect l="0" t="0" r="0" b="0"/>
        </a:gradFill>
      </a:fillStyleLst>
      <a:lnStyleLst>
        <a:ln w="6350" cap="flat" cmpd="sng" algn="ctr">
          <a:prstDash val="solid"/>
          <a:miter lim="800000"/>
        </a:ln>
        <a:ln w="12700" cap="flat" cmpd="sng" algn="ctr">
          <a:prstDash val="solid"/>
          <a:miter lim="800000"/>
        </a:ln>
        <a:ln w="19050" cap="flat" cmpd="sng" algn="ctr">
          <a:prstDash val="solid"/>
          <a:miter lim="800000"/>
        </a:ln>
      </a:lnStyleLst>
      <a:effectStyleLst>
        <a:effectStyle>
          <a:effectLst/>
        </a:effectStyle>
        <a:effectStyle>
          <a:effectLst/>
        </a:effectStyle>
        <a:effectStyle>
          <a:effectLst/>
        </a:effectStyle>
      </a:effectStyleLst>
      <a:bgFillStyleLst>
        <a:solidFill>
          <a:schemeClr val="phClr"/>
        </a:solidFill>
        <a:solidFill>
          <a:schemeClr val="phClr">
            <a:tint val="95000"/>
          </a:schemeClr>
        </a:solidFill>
        <a:gradFill>
          <a:gsLst>
            <a:gs pos="0">
              <a:schemeClr val="phClr">
                <a:tint val="93000"/>
                <a:shade val="98000"/>
                <a:lumMod val="102000"/>
              </a:schemeClr>
            </a:gs>
            <a:gs pos="50000">
              <a:schemeClr val="phClr">
                <a:tint val="98000"/>
                <a:shade val="90000"/>
                <a:lumMod val="103000"/>
              </a:schemeClr>
            </a:gs>
            <a:gs pos="100000">
              <a:schemeClr val="phClr">
                <a:shade val="63000"/>
              </a:schemeClr>
            </a:gs>
          </a:gsLst>
          <a:lin ang="5400000" scaled="0"/>
          <a:tileRect l="0" t="0" r="0" b="0"/>
        </a:gradFill>
      </a:bgFillStyleLst>
    </a:fmtScheme>
  </a:themeElements>
</a:theme>
</file>

<file path=ppt/theme/theme22.xml><?xml version="1.0" encoding="utf-8"?>
<a:theme xmlns:a="http://schemas.openxmlformats.org/drawingml/2006/main" xmlns:r="http://schemas.openxmlformats.org/officeDocument/2006/relationships" name="1_DESY">
  <a:themeElements>
    <a:clrScheme name="DESY">
      <a:dk1>
        <a:srgbClr val="000000"/>
      </a:dk1>
      <a:lt1>
        <a:srgbClr val="ffffff"/>
      </a:lt1>
      <a:dk2>
        <a:srgbClr val="898d8d"/>
      </a:dk2>
      <a:lt2>
        <a:srgbClr val="b2b4b2"/>
      </a:lt2>
      <a:accent1>
        <a:srgbClr val="009fdf"/>
      </a:accent1>
      <a:accent2>
        <a:srgbClr val="f18f1f"/>
      </a:accent2>
      <a:accent3>
        <a:srgbClr val="004b7d"/>
      </a:accent3>
      <a:accent4>
        <a:srgbClr val="898d8d"/>
      </a:accent4>
      <a:accent5>
        <a:srgbClr val="b2b4b2"/>
      </a:accent5>
      <a:accent6>
        <a:srgbClr val="375e77"/>
      </a:accent6>
      <a:hlink>
        <a:srgbClr val="000000"/>
      </a:hlink>
      <a:folHlink>
        <a:srgbClr val="000000"/>
      </a:folHlink>
    </a:clrScheme>
    <a:fontScheme name="Arial">
      <a:majorFont>
        <a:latin typeface="Arial" pitchFamily="0" charset="1"/>
        <a:ea typeface="Arial" pitchFamily="0" charset="1"/>
        <a:cs typeface="Arial" pitchFamily="0" charset="1"/>
      </a:majorFont>
      <a:minorFont>
        <a:latin typeface="Arial" pitchFamily="0" charset="1"/>
        <a:ea typeface="Arial" pitchFamily="0" charset="1"/>
        <a:cs typeface="Arial" pitchFamily="0" charset="1"/>
      </a:minorFont>
    </a:fontScheme>
    <a:fmtScheme>
      <a:fillStyleLst>
        <a:solidFill>
          <a:schemeClr val="phClr"/>
        </a:solidFill>
        <a:gradFill>
          <a:gsLst>
            <a:gs pos="0">
              <a:schemeClr val="phClr">
                <a:lumMod val="110000"/>
                <a:tint val="67000"/>
              </a:schemeClr>
            </a:gs>
            <a:gs pos="50000">
              <a:schemeClr val="phClr">
                <a:lumMod val="105000"/>
                <a:tint val="73000"/>
              </a:schemeClr>
            </a:gs>
            <a:gs pos="100000">
              <a:schemeClr val="phClr">
                <a:lumMod val="105000"/>
                <a:tint val="81000"/>
              </a:schemeClr>
            </a:gs>
          </a:gsLst>
          <a:lin ang="5400000" scaled="0"/>
          <a:tileRect l="0" t="0" r="0" b="0"/>
        </a:gradFill>
        <a:gradFill>
          <a:gsLst>
            <a:gs pos="0">
              <a:schemeClr val="phClr">
                <a:lumMod val="102000"/>
                <a:tint val="94000"/>
              </a:schemeClr>
            </a:gs>
            <a:gs pos="50000">
              <a:schemeClr val="phClr">
                <a:lumMod val="100000"/>
                <a:shade val="100000"/>
              </a:schemeClr>
            </a:gs>
            <a:gs pos="100000">
              <a:schemeClr val="phClr">
                <a:lumMod val="99000"/>
                <a:shade val="78000"/>
              </a:schemeClr>
            </a:gs>
          </a:gsLst>
          <a:lin ang="5400000" scaled="0"/>
          <a:tileRect l="0" t="0" r="0" b="0"/>
        </a:gradFill>
      </a:fillStyleLst>
      <a:lnStyleLst>
        <a:ln w="6350" cap="flat" cmpd="sng" algn="ctr">
          <a:prstDash val="solid"/>
          <a:miter lim="800000"/>
        </a:ln>
        <a:ln w="12700" cap="flat" cmpd="sng" algn="ctr">
          <a:prstDash val="solid"/>
          <a:miter lim="800000"/>
        </a:ln>
        <a:ln w="19050" cap="flat" cmpd="sng" algn="ctr">
          <a:prstDash val="solid"/>
          <a:miter lim="800000"/>
        </a:ln>
      </a:lnStyleLst>
      <a:effectStyleLst>
        <a:effectStyle>
          <a:effectLst/>
        </a:effectStyle>
        <a:effectStyle>
          <a:effectLst/>
        </a:effectStyle>
        <a:effectStyle>
          <a:effectLst/>
        </a:effectStyle>
      </a:effectStyleLst>
      <a:bgFillStyleLst>
        <a:solidFill>
          <a:schemeClr val="phClr"/>
        </a:solidFill>
        <a:solidFill>
          <a:schemeClr val="phClr">
            <a:tint val="95000"/>
          </a:schemeClr>
        </a:solidFill>
        <a:gradFill>
          <a:gsLst>
            <a:gs pos="0">
              <a:schemeClr val="phClr">
                <a:tint val="93000"/>
                <a:shade val="98000"/>
                <a:lumMod val="102000"/>
              </a:schemeClr>
            </a:gs>
            <a:gs pos="50000">
              <a:schemeClr val="phClr">
                <a:tint val="98000"/>
                <a:shade val="90000"/>
                <a:lumMod val="103000"/>
              </a:schemeClr>
            </a:gs>
            <a:gs pos="100000">
              <a:schemeClr val="phClr">
                <a:shade val="63000"/>
              </a:schemeClr>
            </a:gs>
          </a:gsLst>
          <a:lin ang="5400000" scaled="0"/>
          <a:tileRect l="0" t="0" r="0" b="0"/>
        </a:gradFill>
      </a:bgFillStyleLst>
    </a:fmtScheme>
  </a:themeElements>
</a:theme>
</file>

<file path=ppt/theme/theme23.xml><?xml version="1.0" encoding="utf-8"?>
<a:theme xmlns:a="http://schemas.openxmlformats.org/drawingml/2006/main" xmlns:r="http://schemas.openxmlformats.org/officeDocument/2006/relationships" name="1_DESY">
  <a:themeElements>
    <a:clrScheme name="DESY">
      <a:dk1>
        <a:srgbClr val="000000"/>
      </a:dk1>
      <a:lt1>
        <a:srgbClr val="ffffff"/>
      </a:lt1>
      <a:dk2>
        <a:srgbClr val="898d8d"/>
      </a:dk2>
      <a:lt2>
        <a:srgbClr val="b2b4b2"/>
      </a:lt2>
      <a:accent1>
        <a:srgbClr val="009fdf"/>
      </a:accent1>
      <a:accent2>
        <a:srgbClr val="f18f1f"/>
      </a:accent2>
      <a:accent3>
        <a:srgbClr val="004b7d"/>
      </a:accent3>
      <a:accent4>
        <a:srgbClr val="898d8d"/>
      </a:accent4>
      <a:accent5>
        <a:srgbClr val="b2b4b2"/>
      </a:accent5>
      <a:accent6>
        <a:srgbClr val="375e77"/>
      </a:accent6>
      <a:hlink>
        <a:srgbClr val="000000"/>
      </a:hlink>
      <a:folHlink>
        <a:srgbClr val="000000"/>
      </a:folHlink>
    </a:clrScheme>
    <a:fontScheme name="Arial">
      <a:majorFont>
        <a:latin typeface="Arial" pitchFamily="0" charset="1"/>
        <a:ea typeface="Arial" pitchFamily="0" charset="1"/>
        <a:cs typeface="Arial" pitchFamily="0" charset="1"/>
      </a:majorFont>
      <a:minorFont>
        <a:latin typeface="Arial" pitchFamily="0" charset="1"/>
        <a:ea typeface="Arial" pitchFamily="0" charset="1"/>
        <a:cs typeface="Arial" pitchFamily="0" charset="1"/>
      </a:minorFont>
    </a:fontScheme>
    <a:fmtScheme>
      <a:fillStyleLst>
        <a:solidFill>
          <a:schemeClr val="phClr"/>
        </a:solidFill>
        <a:gradFill>
          <a:gsLst>
            <a:gs pos="0">
              <a:schemeClr val="phClr">
                <a:lumMod val="110000"/>
                <a:tint val="67000"/>
              </a:schemeClr>
            </a:gs>
            <a:gs pos="50000">
              <a:schemeClr val="phClr">
                <a:lumMod val="105000"/>
                <a:tint val="73000"/>
              </a:schemeClr>
            </a:gs>
            <a:gs pos="100000">
              <a:schemeClr val="phClr">
                <a:lumMod val="105000"/>
                <a:tint val="81000"/>
              </a:schemeClr>
            </a:gs>
          </a:gsLst>
          <a:lin ang="5400000" scaled="0"/>
          <a:tileRect l="0" t="0" r="0" b="0"/>
        </a:gradFill>
        <a:gradFill>
          <a:gsLst>
            <a:gs pos="0">
              <a:schemeClr val="phClr">
                <a:lumMod val="102000"/>
                <a:tint val="94000"/>
              </a:schemeClr>
            </a:gs>
            <a:gs pos="50000">
              <a:schemeClr val="phClr">
                <a:lumMod val="100000"/>
                <a:shade val="100000"/>
              </a:schemeClr>
            </a:gs>
            <a:gs pos="100000">
              <a:schemeClr val="phClr">
                <a:lumMod val="99000"/>
                <a:shade val="78000"/>
              </a:schemeClr>
            </a:gs>
          </a:gsLst>
          <a:lin ang="5400000" scaled="0"/>
          <a:tileRect l="0" t="0" r="0" b="0"/>
        </a:gradFill>
      </a:fillStyleLst>
      <a:lnStyleLst>
        <a:ln w="6350" cap="flat" cmpd="sng" algn="ctr">
          <a:prstDash val="solid"/>
          <a:miter lim="800000"/>
        </a:ln>
        <a:ln w="12700" cap="flat" cmpd="sng" algn="ctr">
          <a:prstDash val="solid"/>
          <a:miter lim="800000"/>
        </a:ln>
        <a:ln w="19050" cap="flat" cmpd="sng" algn="ctr">
          <a:prstDash val="solid"/>
          <a:miter lim="800000"/>
        </a:ln>
      </a:lnStyleLst>
      <a:effectStyleLst>
        <a:effectStyle>
          <a:effectLst/>
        </a:effectStyle>
        <a:effectStyle>
          <a:effectLst/>
        </a:effectStyle>
        <a:effectStyle>
          <a:effectLst/>
        </a:effectStyle>
      </a:effectStyleLst>
      <a:bgFillStyleLst>
        <a:solidFill>
          <a:schemeClr val="phClr"/>
        </a:solidFill>
        <a:solidFill>
          <a:schemeClr val="phClr">
            <a:tint val="95000"/>
          </a:schemeClr>
        </a:solidFill>
        <a:gradFill>
          <a:gsLst>
            <a:gs pos="0">
              <a:schemeClr val="phClr">
                <a:tint val="93000"/>
                <a:shade val="98000"/>
                <a:lumMod val="102000"/>
              </a:schemeClr>
            </a:gs>
            <a:gs pos="50000">
              <a:schemeClr val="phClr">
                <a:tint val="98000"/>
                <a:shade val="90000"/>
                <a:lumMod val="103000"/>
              </a:schemeClr>
            </a:gs>
            <a:gs pos="100000">
              <a:schemeClr val="phClr">
                <a:shade val="63000"/>
              </a:schemeClr>
            </a:gs>
          </a:gsLst>
          <a:lin ang="5400000" scaled="0"/>
          <a:tileRect l="0" t="0" r="0" b="0"/>
        </a:gradFill>
      </a:bgFillStyleLst>
    </a:fmtScheme>
  </a:themeElements>
</a:theme>
</file>

<file path=ppt/theme/theme24.xml><?xml version="1.0" encoding="utf-8"?>
<a:theme xmlns:a="http://schemas.openxmlformats.org/drawingml/2006/main" xmlns:r="http://schemas.openxmlformats.org/officeDocument/2006/relationships" name="1_DESY">
  <a:themeElements>
    <a:clrScheme name="DESY">
      <a:dk1>
        <a:srgbClr val="000000"/>
      </a:dk1>
      <a:lt1>
        <a:srgbClr val="ffffff"/>
      </a:lt1>
      <a:dk2>
        <a:srgbClr val="898d8d"/>
      </a:dk2>
      <a:lt2>
        <a:srgbClr val="b2b4b2"/>
      </a:lt2>
      <a:accent1>
        <a:srgbClr val="009fdf"/>
      </a:accent1>
      <a:accent2>
        <a:srgbClr val="f18f1f"/>
      </a:accent2>
      <a:accent3>
        <a:srgbClr val="004b7d"/>
      </a:accent3>
      <a:accent4>
        <a:srgbClr val="898d8d"/>
      </a:accent4>
      <a:accent5>
        <a:srgbClr val="b2b4b2"/>
      </a:accent5>
      <a:accent6>
        <a:srgbClr val="375e77"/>
      </a:accent6>
      <a:hlink>
        <a:srgbClr val="000000"/>
      </a:hlink>
      <a:folHlink>
        <a:srgbClr val="000000"/>
      </a:folHlink>
    </a:clrScheme>
    <a:fontScheme name="Arial">
      <a:majorFont>
        <a:latin typeface="Arial" pitchFamily="0" charset="1"/>
        <a:ea typeface="Arial" pitchFamily="0" charset="1"/>
        <a:cs typeface="Arial" pitchFamily="0" charset="1"/>
      </a:majorFont>
      <a:minorFont>
        <a:latin typeface="Arial" pitchFamily="0" charset="1"/>
        <a:ea typeface="Arial" pitchFamily="0" charset="1"/>
        <a:cs typeface="Arial" pitchFamily="0" charset="1"/>
      </a:minorFont>
    </a:fontScheme>
    <a:fmtScheme>
      <a:fillStyleLst>
        <a:solidFill>
          <a:schemeClr val="phClr"/>
        </a:solidFill>
        <a:gradFill>
          <a:gsLst>
            <a:gs pos="0">
              <a:schemeClr val="phClr">
                <a:lumMod val="110000"/>
                <a:tint val="67000"/>
              </a:schemeClr>
            </a:gs>
            <a:gs pos="50000">
              <a:schemeClr val="phClr">
                <a:lumMod val="105000"/>
                <a:tint val="73000"/>
              </a:schemeClr>
            </a:gs>
            <a:gs pos="100000">
              <a:schemeClr val="phClr">
                <a:lumMod val="105000"/>
                <a:tint val="81000"/>
              </a:schemeClr>
            </a:gs>
          </a:gsLst>
          <a:lin ang="5400000" scaled="0"/>
          <a:tileRect l="0" t="0" r="0" b="0"/>
        </a:gradFill>
        <a:gradFill>
          <a:gsLst>
            <a:gs pos="0">
              <a:schemeClr val="phClr">
                <a:lumMod val="102000"/>
                <a:tint val="94000"/>
              </a:schemeClr>
            </a:gs>
            <a:gs pos="50000">
              <a:schemeClr val="phClr">
                <a:lumMod val="100000"/>
                <a:shade val="100000"/>
              </a:schemeClr>
            </a:gs>
            <a:gs pos="100000">
              <a:schemeClr val="phClr">
                <a:lumMod val="99000"/>
                <a:shade val="78000"/>
              </a:schemeClr>
            </a:gs>
          </a:gsLst>
          <a:lin ang="5400000" scaled="0"/>
          <a:tileRect l="0" t="0" r="0" b="0"/>
        </a:gradFill>
      </a:fillStyleLst>
      <a:lnStyleLst>
        <a:ln w="6350" cap="flat" cmpd="sng" algn="ctr">
          <a:prstDash val="solid"/>
          <a:miter lim="800000"/>
        </a:ln>
        <a:ln w="12700" cap="flat" cmpd="sng" algn="ctr">
          <a:prstDash val="solid"/>
          <a:miter lim="800000"/>
        </a:ln>
        <a:ln w="19050" cap="flat" cmpd="sng" algn="ctr">
          <a:prstDash val="solid"/>
          <a:miter lim="800000"/>
        </a:ln>
      </a:lnStyleLst>
      <a:effectStyleLst>
        <a:effectStyle>
          <a:effectLst/>
        </a:effectStyle>
        <a:effectStyle>
          <a:effectLst/>
        </a:effectStyle>
        <a:effectStyle>
          <a:effectLst/>
        </a:effectStyle>
      </a:effectStyleLst>
      <a:bgFillStyleLst>
        <a:solidFill>
          <a:schemeClr val="phClr"/>
        </a:solidFill>
        <a:solidFill>
          <a:schemeClr val="phClr">
            <a:tint val="95000"/>
          </a:schemeClr>
        </a:solidFill>
        <a:gradFill>
          <a:gsLst>
            <a:gs pos="0">
              <a:schemeClr val="phClr">
                <a:tint val="93000"/>
                <a:shade val="98000"/>
                <a:lumMod val="102000"/>
              </a:schemeClr>
            </a:gs>
            <a:gs pos="50000">
              <a:schemeClr val="phClr">
                <a:tint val="98000"/>
                <a:shade val="90000"/>
                <a:lumMod val="103000"/>
              </a:schemeClr>
            </a:gs>
            <a:gs pos="100000">
              <a:schemeClr val="phClr">
                <a:shade val="63000"/>
              </a:schemeClr>
            </a:gs>
          </a:gsLst>
          <a:lin ang="5400000" scaled="0"/>
          <a:tileRect l="0" t="0" r="0" b="0"/>
        </a:gradFill>
      </a:bgFillStyleLst>
    </a:fmtScheme>
  </a:themeElements>
</a:theme>
</file>

<file path=ppt/theme/theme25.xml><?xml version="1.0" encoding="utf-8"?>
<a:theme xmlns:a="http://schemas.openxmlformats.org/drawingml/2006/main" xmlns:r="http://schemas.openxmlformats.org/officeDocument/2006/relationships" name="1_DESY">
  <a:themeElements>
    <a:clrScheme name="DESY">
      <a:dk1>
        <a:srgbClr val="000000"/>
      </a:dk1>
      <a:lt1>
        <a:srgbClr val="ffffff"/>
      </a:lt1>
      <a:dk2>
        <a:srgbClr val="898d8d"/>
      </a:dk2>
      <a:lt2>
        <a:srgbClr val="b2b4b2"/>
      </a:lt2>
      <a:accent1>
        <a:srgbClr val="009fdf"/>
      </a:accent1>
      <a:accent2>
        <a:srgbClr val="f18f1f"/>
      </a:accent2>
      <a:accent3>
        <a:srgbClr val="004b7d"/>
      </a:accent3>
      <a:accent4>
        <a:srgbClr val="898d8d"/>
      </a:accent4>
      <a:accent5>
        <a:srgbClr val="b2b4b2"/>
      </a:accent5>
      <a:accent6>
        <a:srgbClr val="375e77"/>
      </a:accent6>
      <a:hlink>
        <a:srgbClr val="000000"/>
      </a:hlink>
      <a:folHlink>
        <a:srgbClr val="000000"/>
      </a:folHlink>
    </a:clrScheme>
    <a:fontScheme name="Arial">
      <a:majorFont>
        <a:latin typeface="Arial" pitchFamily="0" charset="1"/>
        <a:ea typeface="Arial" pitchFamily="0" charset="1"/>
        <a:cs typeface="Arial" pitchFamily="0" charset="1"/>
      </a:majorFont>
      <a:minorFont>
        <a:latin typeface="Arial" pitchFamily="0" charset="1"/>
        <a:ea typeface="Arial" pitchFamily="0" charset="1"/>
        <a:cs typeface="Arial" pitchFamily="0" charset="1"/>
      </a:minorFont>
    </a:fontScheme>
    <a:fmtScheme>
      <a:fillStyleLst>
        <a:solidFill>
          <a:schemeClr val="phClr"/>
        </a:solidFill>
        <a:gradFill>
          <a:gsLst>
            <a:gs pos="0">
              <a:schemeClr val="phClr">
                <a:lumMod val="110000"/>
                <a:tint val="67000"/>
              </a:schemeClr>
            </a:gs>
            <a:gs pos="50000">
              <a:schemeClr val="phClr">
                <a:lumMod val="105000"/>
                <a:tint val="73000"/>
              </a:schemeClr>
            </a:gs>
            <a:gs pos="100000">
              <a:schemeClr val="phClr">
                <a:lumMod val="105000"/>
                <a:tint val="81000"/>
              </a:schemeClr>
            </a:gs>
          </a:gsLst>
          <a:lin ang="5400000" scaled="0"/>
          <a:tileRect l="0" t="0" r="0" b="0"/>
        </a:gradFill>
        <a:gradFill>
          <a:gsLst>
            <a:gs pos="0">
              <a:schemeClr val="phClr">
                <a:lumMod val="102000"/>
                <a:tint val="94000"/>
              </a:schemeClr>
            </a:gs>
            <a:gs pos="50000">
              <a:schemeClr val="phClr">
                <a:lumMod val="100000"/>
                <a:shade val="100000"/>
              </a:schemeClr>
            </a:gs>
            <a:gs pos="100000">
              <a:schemeClr val="phClr">
                <a:lumMod val="99000"/>
                <a:shade val="78000"/>
              </a:schemeClr>
            </a:gs>
          </a:gsLst>
          <a:lin ang="5400000" scaled="0"/>
          <a:tileRect l="0" t="0" r="0" b="0"/>
        </a:gradFill>
      </a:fillStyleLst>
      <a:lnStyleLst>
        <a:ln w="6350" cap="flat" cmpd="sng" algn="ctr">
          <a:prstDash val="solid"/>
          <a:miter lim="800000"/>
        </a:ln>
        <a:ln w="12700" cap="flat" cmpd="sng" algn="ctr">
          <a:prstDash val="solid"/>
          <a:miter lim="800000"/>
        </a:ln>
        <a:ln w="19050" cap="flat" cmpd="sng" algn="ctr">
          <a:prstDash val="solid"/>
          <a:miter lim="800000"/>
        </a:ln>
      </a:lnStyleLst>
      <a:effectStyleLst>
        <a:effectStyle>
          <a:effectLst/>
        </a:effectStyle>
        <a:effectStyle>
          <a:effectLst/>
        </a:effectStyle>
        <a:effectStyle>
          <a:effectLst/>
        </a:effectStyle>
      </a:effectStyleLst>
      <a:bgFillStyleLst>
        <a:solidFill>
          <a:schemeClr val="phClr"/>
        </a:solidFill>
        <a:solidFill>
          <a:schemeClr val="phClr">
            <a:tint val="95000"/>
          </a:schemeClr>
        </a:solidFill>
        <a:gradFill>
          <a:gsLst>
            <a:gs pos="0">
              <a:schemeClr val="phClr">
                <a:tint val="93000"/>
                <a:shade val="98000"/>
                <a:lumMod val="102000"/>
              </a:schemeClr>
            </a:gs>
            <a:gs pos="50000">
              <a:schemeClr val="phClr">
                <a:tint val="98000"/>
                <a:shade val="90000"/>
                <a:lumMod val="103000"/>
              </a:schemeClr>
            </a:gs>
            <a:gs pos="100000">
              <a:schemeClr val="phClr">
                <a:shade val="63000"/>
              </a:schemeClr>
            </a:gs>
          </a:gsLst>
          <a:lin ang="5400000" scaled="0"/>
          <a:tileRect l="0" t="0" r="0" b="0"/>
        </a:gradFill>
      </a:bgFillStyleLst>
    </a:fmtScheme>
  </a:themeElements>
</a:theme>
</file>

<file path=ppt/theme/theme26.xml><?xml version="1.0" encoding="utf-8"?>
<a:theme xmlns:a="http://schemas.openxmlformats.org/drawingml/2006/main" xmlns:r="http://schemas.openxmlformats.org/officeDocument/2006/relationships" name="1_DESY">
  <a:themeElements>
    <a:clrScheme name="DESY">
      <a:dk1>
        <a:srgbClr val="000000"/>
      </a:dk1>
      <a:lt1>
        <a:srgbClr val="ffffff"/>
      </a:lt1>
      <a:dk2>
        <a:srgbClr val="898d8d"/>
      </a:dk2>
      <a:lt2>
        <a:srgbClr val="b2b4b2"/>
      </a:lt2>
      <a:accent1>
        <a:srgbClr val="009fdf"/>
      </a:accent1>
      <a:accent2>
        <a:srgbClr val="f18f1f"/>
      </a:accent2>
      <a:accent3>
        <a:srgbClr val="004b7d"/>
      </a:accent3>
      <a:accent4>
        <a:srgbClr val="898d8d"/>
      </a:accent4>
      <a:accent5>
        <a:srgbClr val="b2b4b2"/>
      </a:accent5>
      <a:accent6>
        <a:srgbClr val="375e77"/>
      </a:accent6>
      <a:hlink>
        <a:srgbClr val="000000"/>
      </a:hlink>
      <a:folHlink>
        <a:srgbClr val="000000"/>
      </a:folHlink>
    </a:clrScheme>
    <a:fontScheme name="Arial">
      <a:majorFont>
        <a:latin typeface="Arial" pitchFamily="0" charset="1"/>
        <a:ea typeface="Arial" pitchFamily="0" charset="1"/>
        <a:cs typeface="Arial" pitchFamily="0" charset="1"/>
      </a:majorFont>
      <a:minorFont>
        <a:latin typeface="Arial" pitchFamily="0" charset="1"/>
        <a:ea typeface="Arial" pitchFamily="0" charset="1"/>
        <a:cs typeface="Arial" pitchFamily="0" charset="1"/>
      </a:minorFont>
    </a:fontScheme>
    <a:fmtScheme>
      <a:fillStyleLst>
        <a:solidFill>
          <a:schemeClr val="phClr"/>
        </a:solidFill>
        <a:gradFill>
          <a:gsLst>
            <a:gs pos="0">
              <a:schemeClr val="phClr">
                <a:lumMod val="110000"/>
                <a:tint val="67000"/>
              </a:schemeClr>
            </a:gs>
            <a:gs pos="50000">
              <a:schemeClr val="phClr">
                <a:lumMod val="105000"/>
                <a:tint val="73000"/>
              </a:schemeClr>
            </a:gs>
            <a:gs pos="100000">
              <a:schemeClr val="phClr">
                <a:lumMod val="105000"/>
                <a:tint val="81000"/>
              </a:schemeClr>
            </a:gs>
          </a:gsLst>
          <a:lin ang="5400000" scaled="0"/>
          <a:tileRect l="0" t="0" r="0" b="0"/>
        </a:gradFill>
        <a:gradFill>
          <a:gsLst>
            <a:gs pos="0">
              <a:schemeClr val="phClr">
                <a:lumMod val="102000"/>
                <a:tint val="94000"/>
              </a:schemeClr>
            </a:gs>
            <a:gs pos="50000">
              <a:schemeClr val="phClr">
                <a:lumMod val="100000"/>
                <a:shade val="100000"/>
              </a:schemeClr>
            </a:gs>
            <a:gs pos="100000">
              <a:schemeClr val="phClr">
                <a:lumMod val="99000"/>
                <a:shade val="78000"/>
              </a:schemeClr>
            </a:gs>
          </a:gsLst>
          <a:lin ang="5400000" scaled="0"/>
          <a:tileRect l="0" t="0" r="0" b="0"/>
        </a:gradFill>
      </a:fillStyleLst>
      <a:lnStyleLst>
        <a:ln w="6350" cap="flat" cmpd="sng" algn="ctr">
          <a:prstDash val="solid"/>
          <a:miter lim="800000"/>
        </a:ln>
        <a:ln w="12700" cap="flat" cmpd="sng" algn="ctr">
          <a:prstDash val="solid"/>
          <a:miter lim="800000"/>
        </a:ln>
        <a:ln w="19050" cap="flat" cmpd="sng" algn="ctr">
          <a:prstDash val="solid"/>
          <a:miter lim="800000"/>
        </a:ln>
      </a:lnStyleLst>
      <a:effectStyleLst>
        <a:effectStyle>
          <a:effectLst/>
        </a:effectStyle>
        <a:effectStyle>
          <a:effectLst/>
        </a:effectStyle>
        <a:effectStyle>
          <a:effectLst/>
        </a:effectStyle>
      </a:effectStyleLst>
      <a:bgFillStyleLst>
        <a:solidFill>
          <a:schemeClr val="phClr"/>
        </a:solidFill>
        <a:solidFill>
          <a:schemeClr val="phClr">
            <a:tint val="95000"/>
          </a:schemeClr>
        </a:solidFill>
        <a:gradFill>
          <a:gsLst>
            <a:gs pos="0">
              <a:schemeClr val="phClr">
                <a:tint val="93000"/>
                <a:shade val="98000"/>
                <a:lumMod val="102000"/>
              </a:schemeClr>
            </a:gs>
            <a:gs pos="50000">
              <a:schemeClr val="phClr">
                <a:tint val="98000"/>
                <a:shade val="90000"/>
                <a:lumMod val="103000"/>
              </a:schemeClr>
            </a:gs>
            <a:gs pos="100000">
              <a:schemeClr val="phClr">
                <a:shade val="63000"/>
              </a:schemeClr>
            </a:gs>
          </a:gsLst>
          <a:lin ang="5400000" scaled="0"/>
          <a:tileRect l="0" t="0" r="0" b="0"/>
        </a:gradFill>
      </a:bgFillStyleLst>
    </a:fmtScheme>
  </a:themeElements>
</a:theme>
</file>

<file path=ppt/theme/theme27.xml><?xml version="1.0" encoding="utf-8"?>
<a:theme xmlns:a="http://schemas.openxmlformats.org/drawingml/2006/main" xmlns:r="http://schemas.openxmlformats.org/officeDocument/2006/relationships" name="1_DESY">
  <a:themeElements>
    <a:clrScheme name="DESY">
      <a:dk1>
        <a:srgbClr val="000000"/>
      </a:dk1>
      <a:lt1>
        <a:srgbClr val="ffffff"/>
      </a:lt1>
      <a:dk2>
        <a:srgbClr val="898d8d"/>
      </a:dk2>
      <a:lt2>
        <a:srgbClr val="b2b4b2"/>
      </a:lt2>
      <a:accent1>
        <a:srgbClr val="009fdf"/>
      </a:accent1>
      <a:accent2>
        <a:srgbClr val="f18f1f"/>
      </a:accent2>
      <a:accent3>
        <a:srgbClr val="004b7d"/>
      </a:accent3>
      <a:accent4>
        <a:srgbClr val="898d8d"/>
      </a:accent4>
      <a:accent5>
        <a:srgbClr val="b2b4b2"/>
      </a:accent5>
      <a:accent6>
        <a:srgbClr val="375e77"/>
      </a:accent6>
      <a:hlink>
        <a:srgbClr val="000000"/>
      </a:hlink>
      <a:folHlink>
        <a:srgbClr val="000000"/>
      </a:folHlink>
    </a:clrScheme>
    <a:fontScheme name="Arial">
      <a:majorFont>
        <a:latin typeface="Arial" pitchFamily="0" charset="1"/>
        <a:ea typeface="Arial" pitchFamily="0" charset="1"/>
        <a:cs typeface="Arial" pitchFamily="0" charset="1"/>
      </a:majorFont>
      <a:minorFont>
        <a:latin typeface="Arial" pitchFamily="0" charset="1"/>
        <a:ea typeface="Arial" pitchFamily="0" charset="1"/>
        <a:cs typeface="Arial" pitchFamily="0" charset="1"/>
      </a:minorFont>
    </a:fontScheme>
    <a:fmtScheme>
      <a:fillStyleLst>
        <a:solidFill>
          <a:schemeClr val="phClr"/>
        </a:solidFill>
        <a:gradFill>
          <a:gsLst>
            <a:gs pos="0">
              <a:schemeClr val="phClr">
                <a:lumMod val="110000"/>
                <a:tint val="67000"/>
              </a:schemeClr>
            </a:gs>
            <a:gs pos="50000">
              <a:schemeClr val="phClr">
                <a:lumMod val="105000"/>
                <a:tint val="73000"/>
              </a:schemeClr>
            </a:gs>
            <a:gs pos="100000">
              <a:schemeClr val="phClr">
                <a:lumMod val="105000"/>
                <a:tint val="81000"/>
              </a:schemeClr>
            </a:gs>
          </a:gsLst>
          <a:lin ang="5400000" scaled="0"/>
          <a:tileRect l="0" t="0" r="0" b="0"/>
        </a:gradFill>
        <a:gradFill>
          <a:gsLst>
            <a:gs pos="0">
              <a:schemeClr val="phClr">
                <a:lumMod val="102000"/>
                <a:tint val="94000"/>
              </a:schemeClr>
            </a:gs>
            <a:gs pos="50000">
              <a:schemeClr val="phClr">
                <a:lumMod val="100000"/>
                <a:shade val="100000"/>
              </a:schemeClr>
            </a:gs>
            <a:gs pos="100000">
              <a:schemeClr val="phClr">
                <a:lumMod val="99000"/>
                <a:shade val="78000"/>
              </a:schemeClr>
            </a:gs>
          </a:gsLst>
          <a:lin ang="5400000" scaled="0"/>
          <a:tileRect l="0" t="0" r="0" b="0"/>
        </a:gradFill>
      </a:fillStyleLst>
      <a:lnStyleLst>
        <a:ln w="6350" cap="flat" cmpd="sng" algn="ctr">
          <a:prstDash val="solid"/>
          <a:miter lim="800000"/>
        </a:ln>
        <a:ln w="12700" cap="flat" cmpd="sng" algn="ctr">
          <a:prstDash val="solid"/>
          <a:miter lim="800000"/>
        </a:ln>
        <a:ln w="19050" cap="flat" cmpd="sng" algn="ctr">
          <a:prstDash val="solid"/>
          <a:miter lim="800000"/>
        </a:ln>
      </a:lnStyleLst>
      <a:effectStyleLst>
        <a:effectStyle>
          <a:effectLst/>
        </a:effectStyle>
        <a:effectStyle>
          <a:effectLst/>
        </a:effectStyle>
        <a:effectStyle>
          <a:effectLst/>
        </a:effectStyle>
      </a:effectStyleLst>
      <a:bgFillStyleLst>
        <a:solidFill>
          <a:schemeClr val="phClr"/>
        </a:solidFill>
        <a:solidFill>
          <a:schemeClr val="phClr">
            <a:tint val="95000"/>
          </a:schemeClr>
        </a:solidFill>
        <a:gradFill>
          <a:gsLst>
            <a:gs pos="0">
              <a:schemeClr val="phClr">
                <a:tint val="93000"/>
                <a:shade val="98000"/>
                <a:lumMod val="102000"/>
              </a:schemeClr>
            </a:gs>
            <a:gs pos="50000">
              <a:schemeClr val="phClr">
                <a:tint val="98000"/>
                <a:shade val="90000"/>
                <a:lumMod val="103000"/>
              </a:schemeClr>
            </a:gs>
            <a:gs pos="100000">
              <a:schemeClr val="phClr">
                <a:shade val="63000"/>
              </a:schemeClr>
            </a:gs>
          </a:gsLst>
          <a:lin ang="5400000" scaled="0"/>
          <a:tileRect l="0" t="0" r="0" b="0"/>
        </a:gradFill>
      </a:bgFillStyleLst>
    </a:fmtScheme>
  </a:themeElements>
</a:theme>
</file>

<file path=ppt/theme/theme28.xml><?xml version="1.0" encoding="utf-8"?>
<a:theme xmlns:a="http://schemas.openxmlformats.org/drawingml/2006/main" xmlns:r="http://schemas.openxmlformats.org/officeDocument/2006/relationships" name="1_DESY">
  <a:themeElements>
    <a:clrScheme name="DESY">
      <a:dk1>
        <a:srgbClr val="000000"/>
      </a:dk1>
      <a:lt1>
        <a:srgbClr val="ffffff"/>
      </a:lt1>
      <a:dk2>
        <a:srgbClr val="898d8d"/>
      </a:dk2>
      <a:lt2>
        <a:srgbClr val="b2b4b2"/>
      </a:lt2>
      <a:accent1>
        <a:srgbClr val="009fdf"/>
      </a:accent1>
      <a:accent2>
        <a:srgbClr val="f18f1f"/>
      </a:accent2>
      <a:accent3>
        <a:srgbClr val="004b7d"/>
      </a:accent3>
      <a:accent4>
        <a:srgbClr val="898d8d"/>
      </a:accent4>
      <a:accent5>
        <a:srgbClr val="b2b4b2"/>
      </a:accent5>
      <a:accent6>
        <a:srgbClr val="375e77"/>
      </a:accent6>
      <a:hlink>
        <a:srgbClr val="000000"/>
      </a:hlink>
      <a:folHlink>
        <a:srgbClr val="000000"/>
      </a:folHlink>
    </a:clrScheme>
    <a:fontScheme name="Arial">
      <a:majorFont>
        <a:latin typeface="Arial" pitchFamily="0" charset="1"/>
        <a:ea typeface="Arial" pitchFamily="0" charset="1"/>
        <a:cs typeface="Arial" pitchFamily="0" charset="1"/>
      </a:majorFont>
      <a:minorFont>
        <a:latin typeface="Arial" pitchFamily="0" charset="1"/>
        <a:ea typeface="Arial" pitchFamily="0" charset="1"/>
        <a:cs typeface="Arial" pitchFamily="0" charset="1"/>
      </a:minorFont>
    </a:fontScheme>
    <a:fmtScheme>
      <a:fillStyleLst>
        <a:solidFill>
          <a:schemeClr val="phClr"/>
        </a:solidFill>
        <a:gradFill>
          <a:gsLst>
            <a:gs pos="0">
              <a:schemeClr val="phClr">
                <a:lumMod val="110000"/>
                <a:tint val="67000"/>
              </a:schemeClr>
            </a:gs>
            <a:gs pos="50000">
              <a:schemeClr val="phClr">
                <a:lumMod val="105000"/>
                <a:tint val="73000"/>
              </a:schemeClr>
            </a:gs>
            <a:gs pos="100000">
              <a:schemeClr val="phClr">
                <a:lumMod val="105000"/>
                <a:tint val="81000"/>
              </a:schemeClr>
            </a:gs>
          </a:gsLst>
          <a:lin ang="5400000" scaled="0"/>
          <a:tileRect l="0" t="0" r="0" b="0"/>
        </a:gradFill>
        <a:gradFill>
          <a:gsLst>
            <a:gs pos="0">
              <a:schemeClr val="phClr">
                <a:lumMod val="102000"/>
                <a:tint val="94000"/>
              </a:schemeClr>
            </a:gs>
            <a:gs pos="50000">
              <a:schemeClr val="phClr">
                <a:lumMod val="100000"/>
                <a:shade val="100000"/>
              </a:schemeClr>
            </a:gs>
            <a:gs pos="100000">
              <a:schemeClr val="phClr">
                <a:lumMod val="99000"/>
                <a:shade val="78000"/>
              </a:schemeClr>
            </a:gs>
          </a:gsLst>
          <a:lin ang="5400000" scaled="0"/>
          <a:tileRect l="0" t="0" r="0" b="0"/>
        </a:gradFill>
      </a:fillStyleLst>
      <a:lnStyleLst>
        <a:ln w="6350" cap="flat" cmpd="sng" algn="ctr">
          <a:prstDash val="solid"/>
          <a:miter lim="800000"/>
        </a:ln>
        <a:ln w="12700" cap="flat" cmpd="sng" algn="ctr">
          <a:prstDash val="solid"/>
          <a:miter lim="800000"/>
        </a:ln>
        <a:ln w="19050" cap="flat" cmpd="sng" algn="ctr">
          <a:prstDash val="solid"/>
          <a:miter lim="800000"/>
        </a:ln>
      </a:lnStyleLst>
      <a:effectStyleLst>
        <a:effectStyle>
          <a:effectLst/>
        </a:effectStyle>
        <a:effectStyle>
          <a:effectLst/>
        </a:effectStyle>
        <a:effectStyle>
          <a:effectLst/>
        </a:effectStyle>
      </a:effectStyleLst>
      <a:bgFillStyleLst>
        <a:solidFill>
          <a:schemeClr val="phClr"/>
        </a:solidFill>
        <a:solidFill>
          <a:schemeClr val="phClr">
            <a:tint val="95000"/>
          </a:schemeClr>
        </a:solidFill>
        <a:gradFill>
          <a:gsLst>
            <a:gs pos="0">
              <a:schemeClr val="phClr">
                <a:tint val="93000"/>
                <a:shade val="98000"/>
                <a:lumMod val="102000"/>
              </a:schemeClr>
            </a:gs>
            <a:gs pos="50000">
              <a:schemeClr val="phClr">
                <a:tint val="98000"/>
                <a:shade val="90000"/>
                <a:lumMod val="103000"/>
              </a:schemeClr>
            </a:gs>
            <a:gs pos="100000">
              <a:schemeClr val="phClr">
                <a:shade val="63000"/>
              </a:schemeClr>
            </a:gs>
          </a:gsLst>
          <a:lin ang="5400000" scaled="0"/>
          <a:tileRect l="0" t="0" r="0" b="0"/>
        </a:gradFill>
      </a:bgFillStyleLst>
    </a:fmtScheme>
  </a:themeElements>
</a:theme>
</file>

<file path=ppt/theme/theme29.xml><?xml version="1.0" encoding="utf-8"?>
<a:theme xmlns:a="http://schemas.openxmlformats.org/drawingml/2006/main" xmlns:r="http://schemas.openxmlformats.org/officeDocument/2006/relationships" name="1_DESY">
  <a:themeElements>
    <a:clrScheme name="DESY">
      <a:dk1>
        <a:srgbClr val="000000"/>
      </a:dk1>
      <a:lt1>
        <a:srgbClr val="ffffff"/>
      </a:lt1>
      <a:dk2>
        <a:srgbClr val="898d8d"/>
      </a:dk2>
      <a:lt2>
        <a:srgbClr val="b2b4b2"/>
      </a:lt2>
      <a:accent1>
        <a:srgbClr val="009fdf"/>
      </a:accent1>
      <a:accent2>
        <a:srgbClr val="f18f1f"/>
      </a:accent2>
      <a:accent3>
        <a:srgbClr val="004b7d"/>
      </a:accent3>
      <a:accent4>
        <a:srgbClr val="898d8d"/>
      </a:accent4>
      <a:accent5>
        <a:srgbClr val="b2b4b2"/>
      </a:accent5>
      <a:accent6>
        <a:srgbClr val="375e77"/>
      </a:accent6>
      <a:hlink>
        <a:srgbClr val="000000"/>
      </a:hlink>
      <a:folHlink>
        <a:srgbClr val="000000"/>
      </a:folHlink>
    </a:clrScheme>
    <a:fontScheme name="Arial">
      <a:majorFont>
        <a:latin typeface="Arial" pitchFamily="0" charset="1"/>
        <a:ea typeface="Arial" pitchFamily="0" charset="1"/>
        <a:cs typeface="Arial" pitchFamily="0" charset="1"/>
      </a:majorFont>
      <a:minorFont>
        <a:latin typeface="Arial" pitchFamily="0" charset="1"/>
        <a:ea typeface="Arial" pitchFamily="0" charset="1"/>
        <a:cs typeface="Arial" pitchFamily="0" charset="1"/>
      </a:minorFont>
    </a:fontScheme>
    <a:fmtScheme>
      <a:fillStyleLst>
        <a:solidFill>
          <a:schemeClr val="phClr"/>
        </a:solidFill>
        <a:gradFill>
          <a:gsLst>
            <a:gs pos="0">
              <a:schemeClr val="phClr">
                <a:lumMod val="110000"/>
                <a:tint val="67000"/>
              </a:schemeClr>
            </a:gs>
            <a:gs pos="50000">
              <a:schemeClr val="phClr">
                <a:lumMod val="105000"/>
                <a:tint val="73000"/>
              </a:schemeClr>
            </a:gs>
            <a:gs pos="100000">
              <a:schemeClr val="phClr">
                <a:lumMod val="105000"/>
                <a:tint val="81000"/>
              </a:schemeClr>
            </a:gs>
          </a:gsLst>
          <a:lin ang="5400000" scaled="0"/>
          <a:tileRect l="0" t="0" r="0" b="0"/>
        </a:gradFill>
        <a:gradFill>
          <a:gsLst>
            <a:gs pos="0">
              <a:schemeClr val="phClr">
                <a:lumMod val="102000"/>
                <a:tint val="94000"/>
              </a:schemeClr>
            </a:gs>
            <a:gs pos="50000">
              <a:schemeClr val="phClr">
                <a:lumMod val="100000"/>
                <a:shade val="100000"/>
              </a:schemeClr>
            </a:gs>
            <a:gs pos="100000">
              <a:schemeClr val="phClr">
                <a:lumMod val="99000"/>
                <a:shade val="78000"/>
              </a:schemeClr>
            </a:gs>
          </a:gsLst>
          <a:lin ang="5400000" scaled="0"/>
          <a:tileRect l="0" t="0" r="0" b="0"/>
        </a:gradFill>
      </a:fillStyleLst>
      <a:lnStyleLst>
        <a:ln w="6350" cap="flat" cmpd="sng" algn="ctr">
          <a:prstDash val="solid"/>
          <a:miter lim="800000"/>
        </a:ln>
        <a:ln w="12700" cap="flat" cmpd="sng" algn="ctr">
          <a:prstDash val="solid"/>
          <a:miter lim="800000"/>
        </a:ln>
        <a:ln w="19050" cap="flat" cmpd="sng" algn="ctr">
          <a:prstDash val="solid"/>
          <a:miter lim="800000"/>
        </a:ln>
      </a:lnStyleLst>
      <a:effectStyleLst>
        <a:effectStyle>
          <a:effectLst/>
        </a:effectStyle>
        <a:effectStyle>
          <a:effectLst/>
        </a:effectStyle>
        <a:effectStyle>
          <a:effectLst/>
        </a:effectStyle>
      </a:effectStyleLst>
      <a:bgFillStyleLst>
        <a:solidFill>
          <a:schemeClr val="phClr"/>
        </a:solidFill>
        <a:solidFill>
          <a:schemeClr val="phClr">
            <a:tint val="95000"/>
          </a:schemeClr>
        </a:solidFill>
        <a:gradFill>
          <a:gsLst>
            <a:gs pos="0">
              <a:schemeClr val="phClr">
                <a:tint val="93000"/>
                <a:shade val="98000"/>
                <a:lumMod val="102000"/>
              </a:schemeClr>
            </a:gs>
            <a:gs pos="50000">
              <a:schemeClr val="phClr">
                <a:tint val="98000"/>
                <a:shade val="90000"/>
                <a:lumMod val="103000"/>
              </a:schemeClr>
            </a:gs>
            <a:gs pos="100000">
              <a:schemeClr val="phClr">
                <a:shade val="63000"/>
              </a:schemeClr>
            </a:gs>
          </a:gsLst>
          <a:lin ang="5400000" scaled="0"/>
          <a:tileRect l="0" t="0" r="0" b="0"/>
        </a:gradFill>
      </a:bgFillStyleLst>
    </a:fmtScheme>
  </a:themeElements>
</a:theme>
</file>

<file path=ppt/theme/theme3.xml><?xml version="1.0" encoding="utf-8"?>
<a:theme xmlns:a="http://schemas.openxmlformats.org/drawingml/2006/main" xmlns:r="http://schemas.openxmlformats.org/officeDocument/2006/relationships" name="DESY">
  <a:themeElements>
    <a:clrScheme name="DESY">
      <a:dk1>
        <a:srgbClr val="000000"/>
      </a:dk1>
      <a:lt1>
        <a:srgbClr val="ffffff"/>
      </a:lt1>
      <a:dk2>
        <a:srgbClr val="898d8d"/>
      </a:dk2>
      <a:lt2>
        <a:srgbClr val="b2b4b2"/>
      </a:lt2>
      <a:accent1>
        <a:srgbClr val="009fdf"/>
      </a:accent1>
      <a:accent2>
        <a:srgbClr val="f18f1f"/>
      </a:accent2>
      <a:accent3>
        <a:srgbClr val="004b7d"/>
      </a:accent3>
      <a:accent4>
        <a:srgbClr val="898d8d"/>
      </a:accent4>
      <a:accent5>
        <a:srgbClr val="b2b4b2"/>
      </a:accent5>
      <a:accent6>
        <a:srgbClr val="375e77"/>
      </a:accent6>
      <a:hlink>
        <a:srgbClr val="000000"/>
      </a:hlink>
      <a:folHlink>
        <a:srgbClr val="000000"/>
      </a:folHlink>
    </a:clrScheme>
    <a:fontScheme name="Arial">
      <a:majorFont>
        <a:latin typeface="Arial" pitchFamily="0" charset="1"/>
        <a:ea typeface="Arial" pitchFamily="0" charset="1"/>
        <a:cs typeface="Arial" pitchFamily="0" charset="1"/>
      </a:majorFont>
      <a:minorFont>
        <a:latin typeface="Arial" pitchFamily="0" charset="1"/>
        <a:ea typeface="Arial" pitchFamily="0" charset="1"/>
        <a:cs typeface="Arial" pitchFamily="0" charset="1"/>
      </a:minorFont>
    </a:fontScheme>
    <a:fmtScheme>
      <a:fillStyleLst>
        <a:solidFill>
          <a:schemeClr val="phClr"/>
        </a:solidFill>
        <a:gradFill>
          <a:gsLst>
            <a:gs pos="0">
              <a:schemeClr val="phClr">
                <a:lumMod val="110000"/>
                <a:tint val="67000"/>
              </a:schemeClr>
            </a:gs>
            <a:gs pos="50000">
              <a:schemeClr val="phClr">
                <a:lumMod val="105000"/>
                <a:tint val="73000"/>
              </a:schemeClr>
            </a:gs>
            <a:gs pos="100000">
              <a:schemeClr val="phClr">
                <a:lumMod val="105000"/>
                <a:tint val="81000"/>
              </a:schemeClr>
            </a:gs>
          </a:gsLst>
          <a:lin ang="5400000" scaled="0"/>
          <a:tileRect l="0" t="0" r="0" b="0"/>
        </a:gradFill>
        <a:gradFill>
          <a:gsLst>
            <a:gs pos="0">
              <a:schemeClr val="phClr">
                <a:lumMod val="102000"/>
                <a:tint val="94000"/>
              </a:schemeClr>
            </a:gs>
            <a:gs pos="50000">
              <a:schemeClr val="phClr">
                <a:lumMod val="100000"/>
                <a:shade val="100000"/>
              </a:schemeClr>
            </a:gs>
            <a:gs pos="100000">
              <a:schemeClr val="phClr">
                <a:lumMod val="99000"/>
                <a:shade val="78000"/>
              </a:schemeClr>
            </a:gs>
          </a:gsLst>
          <a:lin ang="5400000" scaled="0"/>
          <a:tileRect l="0" t="0" r="0" b="0"/>
        </a:gradFill>
      </a:fillStyleLst>
      <a:lnStyleLst>
        <a:ln w="6350" cap="flat" cmpd="sng" algn="ctr">
          <a:prstDash val="solid"/>
          <a:miter lim="800000"/>
        </a:ln>
        <a:ln w="12700" cap="flat" cmpd="sng" algn="ctr">
          <a:prstDash val="solid"/>
          <a:miter lim="800000"/>
        </a:ln>
        <a:ln w="19050" cap="flat" cmpd="sng" algn="ctr">
          <a:prstDash val="solid"/>
          <a:miter lim="800000"/>
        </a:ln>
      </a:lnStyleLst>
      <a:effectStyleLst>
        <a:effectStyle>
          <a:effectLst/>
        </a:effectStyle>
        <a:effectStyle>
          <a:effectLst/>
        </a:effectStyle>
        <a:effectStyle>
          <a:effectLst/>
        </a:effectStyle>
      </a:effectStyleLst>
      <a:bgFillStyleLst>
        <a:solidFill>
          <a:schemeClr val="phClr"/>
        </a:solidFill>
        <a:solidFill>
          <a:schemeClr val="phClr">
            <a:tint val="95000"/>
          </a:schemeClr>
        </a:solidFill>
        <a:gradFill>
          <a:gsLst>
            <a:gs pos="0">
              <a:schemeClr val="phClr">
                <a:tint val="93000"/>
                <a:shade val="98000"/>
                <a:lumMod val="102000"/>
              </a:schemeClr>
            </a:gs>
            <a:gs pos="50000">
              <a:schemeClr val="phClr">
                <a:tint val="98000"/>
                <a:shade val="90000"/>
                <a:lumMod val="103000"/>
              </a:schemeClr>
            </a:gs>
            <a:gs pos="100000">
              <a:schemeClr val="phClr">
                <a:shade val="63000"/>
              </a:schemeClr>
            </a:gs>
          </a:gsLst>
          <a:lin ang="5400000" scaled="0"/>
          <a:tileRect l="0" t="0" r="0" b="0"/>
        </a:gradFill>
      </a:bgFillStyleLst>
    </a:fmtScheme>
  </a:themeElements>
</a:theme>
</file>

<file path=ppt/theme/theme30.xml><?xml version="1.0" encoding="utf-8"?>
<a:theme xmlns:a="http://schemas.openxmlformats.org/drawingml/2006/main" xmlns:r="http://schemas.openxmlformats.org/officeDocument/2006/relationships" name="1_DESY">
  <a:themeElements>
    <a:clrScheme name="DESY">
      <a:dk1>
        <a:srgbClr val="000000"/>
      </a:dk1>
      <a:lt1>
        <a:srgbClr val="ffffff"/>
      </a:lt1>
      <a:dk2>
        <a:srgbClr val="898d8d"/>
      </a:dk2>
      <a:lt2>
        <a:srgbClr val="b2b4b2"/>
      </a:lt2>
      <a:accent1>
        <a:srgbClr val="009fdf"/>
      </a:accent1>
      <a:accent2>
        <a:srgbClr val="f18f1f"/>
      </a:accent2>
      <a:accent3>
        <a:srgbClr val="004b7d"/>
      </a:accent3>
      <a:accent4>
        <a:srgbClr val="898d8d"/>
      </a:accent4>
      <a:accent5>
        <a:srgbClr val="b2b4b2"/>
      </a:accent5>
      <a:accent6>
        <a:srgbClr val="375e77"/>
      </a:accent6>
      <a:hlink>
        <a:srgbClr val="000000"/>
      </a:hlink>
      <a:folHlink>
        <a:srgbClr val="000000"/>
      </a:folHlink>
    </a:clrScheme>
    <a:fontScheme name="Arial">
      <a:majorFont>
        <a:latin typeface="Arial" pitchFamily="0" charset="1"/>
        <a:ea typeface="Arial" pitchFamily="0" charset="1"/>
        <a:cs typeface="Arial" pitchFamily="0" charset="1"/>
      </a:majorFont>
      <a:minorFont>
        <a:latin typeface="Arial" pitchFamily="0" charset="1"/>
        <a:ea typeface="Arial" pitchFamily="0" charset="1"/>
        <a:cs typeface="Arial" pitchFamily="0" charset="1"/>
      </a:minorFont>
    </a:fontScheme>
    <a:fmtScheme>
      <a:fillStyleLst>
        <a:solidFill>
          <a:schemeClr val="phClr"/>
        </a:solidFill>
        <a:gradFill>
          <a:gsLst>
            <a:gs pos="0">
              <a:schemeClr val="phClr">
                <a:lumMod val="110000"/>
                <a:tint val="67000"/>
              </a:schemeClr>
            </a:gs>
            <a:gs pos="50000">
              <a:schemeClr val="phClr">
                <a:lumMod val="105000"/>
                <a:tint val="73000"/>
              </a:schemeClr>
            </a:gs>
            <a:gs pos="100000">
              <a:schemeClr val="phClr">
                <a:lumMod val="105000"/>
                <a:tint val="81000"/>
              </a:schemeClr>
            </a:gs>
          </a:gsLst>
          <a:lin ang="5400000" scaled="0"/>
          <a:tileRect l="0" t="0" r="0" b="0"/>
        </a:gradFill>
        <a:gradFill>
          <a:gsLst>
            <a:gs pos="0">
              <a:schemeClr val="phClr">
                <a:lumMod val="102000"/>
                <a:tint val="94000"/>
              </a:schemeClr>
            </a:gs>
            <a:gs pos="50000">
              <a:schemeClr val="phClr">
                <a:lumMod val="100000"/>
                <a:shade val="100000"/>
              </a:schemeClr>
            </a:gs>
            <a:gs pos="100000">
              <a:schemeClr val="phClr">
                <a:lumMod val="99000"/>
                <a:shade val="78000"/>
              </a:schemeClr>
            </a:gs>
          </a:gsLst>
          <a:lin ang="5400000" scaled="0"/>
          <a:tileRect l="0" t="0" r="0" b="0"/>
        </a:gradFill>
      </a:fillStyleLst>
      <a:lnStyleLst>
        <a:ln w="6350" cap="flat" cmpd="sng" algn="ctr">
          <a:prstDash val="solid"/>
          <a:miter lim="800000"/>
        </a:ln>
        <a:ln w="12700" cap="flat" cmpd="sng" algn="ctr">
          <a:prstDash val="solid"/>
          <a:miter lim="800000"/>
        </a:ln>
        <a:ln w="19050" cap="flat" cmpd="sng" algn="ctr">
          <a:prstDash val="solid"/>
          <a:miter lim="800000"/>
        </a:ln>
      </a:lnStyleLst>
      <a:effectStyleLst>
        <a:effectStyle>
          <a:effectLst/>
        </a:effectStyle>
        <a:effectStyle>
          <a:effectLst/>
        </a:effectStyle>
        <a:effectStyle>
          <a:effectLst/>
        </a:effectStyle>
      </a:effectStyleLst>
      <a:bgFillStyleLst>
        <a:solidFill>
          <a:schemeClr val="phClr"/>
        </a:solidFill>
        <a:solidFill>
          <a:schemeClr val="phClr">
            <a:tint val="95000"/>
          </a:schemeClr>
        </a:solidFill>
        <a:gradFill>
          <a:gsLst>
            <a:gs pos="0">
              <a:schemeClr val="phClr">
                <a:tint val="93000"/>
                <a:shade val="98000"/>
                <a:lumMod val="102000"/>
              </a:schemeClr>
            </a:gs>
            <a:gs pos="50000">
              <a:schemeClr val="phClr">
                <a:tint val="98000"/>
                <a:shade val="90000"/>
                <a:lumMod val="103000"/>
              </a:schemeClr>
            </a:gs>
            <a:gs pos="100000">
              <a:schemeClr val="phClr">
                <a:shade val="63000"/>
              </a:schemeClr>
            </a:gs>
          </a:gsLst>
          <a:lin ang="5400000" scaled="0"/>
          <a:tileRect l="0" t="0" r="0" b="0"/>
        </a:gradFill>
      </a:bgFillStyleLst>
    </a:fmtScheme>
  </a:themeElements>
</a:theme>
</file>

<file path=ppt/theme/theme31.xml><?xml version="1.0" encoding="utf-8"?>
<a:theme xmlns:a="http://schemas.openxmlformats.org/drawingml/2006/main" xmlns:r="http://schemas.openxmlformats.org/officeDocument/2006/relationships" name="1_DESY">
  <a:themeElements>
    <a:clrScheme name="DESY">
      <a:dk1>
        <a:srgbClr val="000000"/>
      </a:dk1>
      <a:lt1>
        <a:srgbClr val="ffffff"/>
      </a:lt1>
      <a:dk2>
        <a:srgbClr val="898d8d"/>
      </a:dk2>
      <a:lt2>
        <a:srgbClr val="b2b4b2"/>
      </a:lt2>
      <a:accent1>
        <a:srgbClr val="009fdf"/>
      </a:accent1>
      <a:accent2>
        <a:srgbClr val="f18f1f"/>
      </a:accent2>
      <a:accent3>
        <a:srgbClr val="004b7d"/>
      </a:accent3>
      <a:accent4>
        <a:srgbClr val="898d8d"/>
      </a:accent4>
      <a:accent5>
        <a:srgbClr val="b2b4b2"/>
      </a:accent5>
      <a:accent6>
        <a:srgbClr val="375e77"/>
      </a:accent6>
      <a:hlink>
        <a:srgbClr val="000000"/>
      </a:hlink>
      <a:folHlink>
        <a:srgbClr val="000000"/>
      </a:folHlink>
    </a:clrScheme>
    <a:fontScheme name="Arial">
      <a:majorFont>
        <a:latin typeface="Arial" pitchFamily="0" charset="1"/>
        <a:ea typeface="Arial" pitchFamily="0" charset="1"/>
        <a:cs typeface="Arial" pitchFamily="0" charset="1"/>
      </a:majorFont>
      <a:minorFont>
        <a:latin typeface="Arial" pitchFamily="0" charset="1"/>
        <a:ea typeface="Arial" pitchFamily="0" charset="1"/>
        <a:cs typeface="Arial" pitchFamily="0" charset="1"/>
      </a:minorFont>
    </a:fontScheme>
    <a:fmtScheme>
      <a:fillStyleLst>
        <a:solidFill>
          <a:schemeClr val="phClr"/>
        </a:solidFill>
        <a:gradFill>
          <a:gsLst>
            <a:gs pos="0">
              <a:schemeClr val="phClr">
                <a:lumMod val="110000"/>
                <a:tint val="67000"/>
              </a:schemeClr>
            </a:gs>
            <a:gs pos="50000">
              <a:schemeClr val="phClr">
                <a:lumMod val="105000"/>
                <a:tint val="73000"/>
              </a:schemeClr>
            </a:gs>
            <a:gs pos="100000">
              <a:schemeClr val="phClr">
                <a:lumMod val="105000"/>
                <a:tint val="81000"/>
              </a:schemeClr>
            </a:gs>
          </a:gsLst>
          <a:lin ang="5400000" scaled="0"/>
          <a:tileRect l="0" t="0" r="0" b="0"/>
        </a:gradFill>
        <a:gradFill>
          <a:gsLst>
            <a:gs pos="0">
              <a:schemeClr val="phClr">
                <a:lumMod val="102000"/>
                <a:tint val="94000"/>
              </a:schemeClr>
            </a:gs>
            <a:gs pos="50000">
              <a:schemeClr val="phClr">
                <a:lumMod val="100000"/>
                <a:shade val="100000"/>
              </a:schemeClr>
            </a:gs>
            <a:gs pos="100000">
              <a:schemeClr val="phClr">
                <a:lumMod val="99000"/>
                <a:shade val="78000"/>
              </a:schemeClr>
            </a:gs>
          </a:gsLst>
          <a:lin ang="5400000" scaled="0"/>
          <a:tileRect l="0" t="0" r="0" b="0"/>
        </a:gradFill>
      </a:fillStyleLst>
      <a:lnStyleLst>
        <a:ln w="6350" cap="flat" cmpd="sng" algn="ctr">
          <a:prstDash val="solid"/>
          <a:miter lim="800000"/>
        </a:ln>
        <a:ln w="12700" cap="flat" cmpd="sng" algn="ctr">
          <a:prstDash val="solid"/>
          <a:miter lim="800000"/>
        </a:ln>
        <a:ln w="19050" cap="flat" cmpd="sng" algn="ctr">
          <a:prstDash val="solid"/>
          <a:miter lim="800000"/>
        </a:ln>
      </a:lnStyleLst>
      <a:effectStyleLst>
        <a:effectStyle>
          <a:effectLst/>
        </a:effectStyle>
        <a:effectStyle>
          <a:effectLst/>
        </a:effectStyle>
        <a:effectStyle>
          <a:effectLst/>
        </a:effectStyle>
      </a:effectStyleLst>
      <a:bgFillStyleLst>
        <a:solidFill>
          <a:schemeClr val="phClr"/>
        </a:solidFill>
        <a:solidFill>
          <a:schemeClr val="phClr">
            <a:tint val="95000"/>
          </a:schemeClr>
        </a:solidFill>
        <a:gradFill>
          <a:gsLst>
            <a:gs pos="0">
              <a:schemeClr val="phClr">
                <a:tint val="93000"/>
                <a:shade val="98000"/>
                <a:lumMod val="102000"/>
              </a:schemeClr>
            </a:gs>
            <a:gs pos="50000">
              <a:schemeClr val="phClr">
                <a:tint val="98000"/>
                <a:shade val="90000"/>
                <a:lumMod val="103000"/>
              </a:schemeClr>
            </a:gs>
            <a:gs pos="100000">
              <a:schemeClr val="phClr">
                <a:shade val="63000"/>
              </a:schemeClr>
            </a:gs>
          </a:gsLst>
          <a:lin ang="5400000" scaled="0"/>
          <a:tileRect l="0" t="0" r="0" b="0"/>
        </a:gradFill>
      </a:bgFillStyleLst>
    </a:fmtScheme>
  </a:themeElements>
</a:theme>
</file>

<file path=ppt/theme/theme32.xml><?xml version="1.0" encoding="utf-8"?>
<a:theme xmlns:a="http://schemas.openxmlformats.org/drawingml/2006/main" xmlns:r="http://schemas.openxmlformats.org/officeDocument/2006/relationships" name="1_DESY">
  <a:themeElements>
    <a:clrScheme name="DESY">
      <a:dk1>
        <a:srgbClr val="000000"/>
      </a:dk1>
      <a:lt1>
        <a:srgbClr val="ffffff"/>
      </a:lt1>
      <a:dk2>
        <a:srgbClr val="898d8d"/>
      </a:dk2>
      <a:lt2>
        <a:srgbClr val="b2b4b2"/>
      </a:lt2>
      <a:accent1>
        <a:srgbClr val="009fdf"/>
      </a:accent1>
      <a:accent2>
        <a:srgbClr val="f18f1f"/>
      </a:accent2>
      <a:accent3>
        <a:srgbClr val="004b7d"/>
      </a:accent3>
      <a:accent4>
        <a:srgbClr val="898d8d"/>
      </a:accent4>
      <a:accent5>
        <a:srgbClr val="b2b4b2"/>
      </a:accent5>
      <a:accent6>
        <a:srgbClr val="375e77"/>
      </a:accent6>
      <a:hlink>
        <a:srgbClr val="000000"/>
      </a:hlink>
      <a:folHlink>
        <a:srgbClr val="000000"/>
      </a:folHlink>
    </a:clrScheme>
    <a:fontScheme name="Arial">
      <a:majorFont>
        <a:latin typeface="Arial" pitchFamily="0" charset="1"/>
        <a:ea typeface="Arial" pitchFamily="0" charset="1"/>
        <a:cs typeface="Arial" pitchFamily="0" charset="1"/>
      </a:majorFont>
      <a:minorFont>
        <a:latin typeface="Arial" pitchFamily="0" charset="1"/>
        <a:ea typeface="Arial" pitchFamily="0" charset="1"/>
        <a:cs typeface="Arial" pitchFamily="0" charset="1"/>
      </a:minorFont>
    </a:fontScheme>
    <a:fmtScheme>
      <a:fillStyleLst>
        <a:solidFill>
          <a:schemeClr val="phClr"/>
        </a:solidFill>
        <a:gradFill>
          <a:gsLst>
            <a:gs pos="0">
              <a:schemeClr val="phClr">
                <a:lumMod val="110000"/>
                <a:tint val="67000"/>
              </a:schemeClr>
            </a:gs>
            <a:gs pos="50000">
              <a:schemeClr val="phClr">
                <a:lumMod val="105000"/>
                <a:tint val="73000"/>
              </a:schemeClr>
            </a:gs>
            <a:gs pos="100000">
              <a:schemeClr val="phClr">
                <a:lumMod val="105000"/>
                <a:tint val="81000"/>
              </a:schemeClr>
            </a:gs>
          </a:gsLst>
          <a:lin ang="5400000" scaled="0"/>
          <a:tileRect l="0" t="0" r="0" b="0"/>
        </a:gradFill>
        <a:gradFill>
          <a:gsLst>
            <a:gs pos="0">
              <a:schemeClr val="phClr">
                <a:lumMod val="102000"/>
                <a:tint val="94000"/>
              </a:schemeClr>
            </a:gs>
            <a:gs pos="50000">
              <a:schemeClr val="phClr">
                <a:lumMod val="100000"/>
                <a:shade val="100000"/>
              </a:schemeClr>
            </a:gs>
            <a:gs pos="100000">
              <a:schemeClr val="phClr">
                <a:lumMod val="99000"/>
                <a:shade val="78000"/>
              </a:schemeClr>
            </a:gs>
          </a:gsLst>
          <a:lin ang="5400000" scaled="0"/>
          <a:tileRect l="0" t="0" r="0" b="0"/>
        </a:gradFill>
      </a:fillStyleLst>
      <a:lnStyleLst>
        <a:ln w="6350" cap="flat" cmpd="sng" algn="ctr">
          <a:prstDash val="solid"/>
          <a:miter lim="800000"/>
        </a:ln>
        <a:ln w="12700" cap="flat" cmpd="sng" algn="ctr">
          <a:prstDash val="solid"/>
          <a:miter lim="800000"/>
        </a:ln>
        <a:ln w="19050" cap="flat" cmpd="sng" algn="ctr">
          <a:prstDash val="solid"/>
          <a:miter lim="800000"/>
        </a:ln>
      </a:lnStyleLst>
      <a:effectStyleLst>
        <a:effectStyle>
          <a:effectLst/>
        </a:effectStyle>
        <a:effectStyle>
          <a:effectLst/>
        </a:effectStyle>
        <a:effectStyle>
          <a:effectLst/>
        </a:effectStyle>
      </a:effectStyleLst>
      <a:bgFillStyleLst>
        <a:solidFill>
          <a:schemeClr val="phClr"/>
        </a:solidFill>
        <a:solidFill>
          <a:schemeClr val="phClr">
            <a:tint val="95000"/>
          </a:schemeClr>
        </a:solidFill>
        <a:gradFill>
          <a:gsLst>
            <a:gs pos="0">
              <a:schemeClr val="phClr">
                <a:tint val="93000"/>
                <a:shade val="98000"/>
                <a:lumMod val="102000"/>
              </a:schemeClr>
            </a:gs>
            <a:gs pos="50000">
              <a:schemeClr val="phClr">
                <a:tint val="98000"/>
                <a:shade val="90000"/>
                <a:lumMod val="103000"/>
              </a:schemeClr>
            </a:gs>
            <a:gs pos="100000">
              <a:schemeClr val="phClr">
                <a:shade val="63000"/>
              </a:schemeClr>
            </a:gs>
          </a:gsLst>
          <a:lin ang="5400000" scaled="0"/>
          <a:tileRect l="0" t="0" r="0" b="0"/>
        </a:gradFill>
      </a:bgFillStyleLst>
    </a:fmtScheme>
  </a:themeElements>
</a:theme>
</file>

<file path=ppt/theme/theme33.xml><?xml version="1.0" encoding="utf-8"?>
<a:theme xmlns:a="http://schemas.openxmlformats.org/drawingml/2006/main" xmlns:r="http://schemas.openxmlformats.org/officeDocument/2006/relationships" name="1_DESY">
  <a:themeElements>
    <a:clrScheme name="DESY">
      <a:dk1>
        <a:srgbClr val="000000"/>
      </a:dk1>
      <a:lt1>
        <a:srgbClr val="ffffff"/>
      </a:lt1>
      <a:dk2>
        <a:srgbClr val="898d8d"/>
      </a:dk2>
      <a:lt2>
        <a:srgbClr val="b2b4b2"/>
      </a:lt2>
      <a:accent1>
        <a:srgbClr val="009fdf"/>
      </a:accent1>
      <a:accent2>
        <a:srgbClr val="f18f1f"/>
      </a:accent2>
      <a:accent3>
        <a:srgbClr val="004b7d"/>
      </a:accent3>
      <a:accent4>
        <a:srgbClr val="898d8d"/>
      </a:accent4>
      <a:accent5>
        <a:srgbClr val="b2b4b2"/>
      </a:accent5>
      <a:accent6>
        <a:srgbClr val="375e77"/>
      </a:accent6>
      <a:hlink>
        <a:srgbClr val="000000"/>
      </a:hlink>
      <a:folHlink>
        <a:srgbClr val="000000"/>
      </a:folHlink>
    </a:clrScheme>
    <a:fontScheme name="Arial">
      <a:majorFont>
        <a:latin typeface="Arial" pitchFamily="0" charset="1"/>
        <a:ea typeface="Arial" pitchFamily="0" charset="1"/>
        <a:cs typeface="Arial" pitchFamily="0" charset="1"/>
      </a:majorFont>
      <a:minorFont>
        <a:latin typeface="Arial" pitchFamily="0" charset="1"/>
        <a:ea typeface="Arial" pitchFamily="0" charset="1"/>
        <a:cs typeface="Arial" pitchFamily="0" charset="1"/>
      </a:minorFont>
    </a:fontScheme>
    <a:fmtScheme>
      <a:fillStyleLst>
        <a:solidFill>
          <a:schemeClr val="phClr"/>
        </a:solidFill>
        <a:gradFill>
          <a:gsLst>
            <a:gs pos="0">
              <a:schemeClr val="phClr">
                <a:lumMod val="110000"/>
                <a:tint val="67000"/>
              </a:schemeClr>
            </a:gs>
            <a:gs pos="50000">
              <a:schemeClr val="phClr">
                <a:lumMod val="105000"/>
                <a:tint val="73000"/>
              </a:schemeClr>
            </a:gs>
            <a:gs pos="100000">
              <a:schemeClr val="phClr">
                <a:lumMod val="105000"/>
                <a:tint val="81000"/>
              </a:schemeClr>
            </a:gs>
          </a:gsLst>
          <a:lin ang="5400000" scaled="0"/>
          <a:tileRect l="0" t="0" r="0" b="0"/>
        </a:gradFill>
        <a:gradFill>
          <a:gsLst>
            <a:gs pos="0">
              <a:schemeClr val="phClr">
                <a:lumMod val="102000"/>
                <a:tint val="94000"/>
              </a:schemeClr>
            </a:gs>
            <a:gs pos="50000">
              <a:schemeClr val="phClr">
                <a:lumMod val="100000"/>
                <a:shade val="100000"/>
              </a:schemeClr>
            </a:gs>
            <a:gs pos="100000">
              <a:schemeClr val="phClr">
                <a:lumMod val="99000"/>
                <a:shade val="78000"/>
              </a:schemeClr>
            </a:gs>
          </a:gsLst>
          <a:lin ang="5400000" scaled="0"/>
          <a:tileRect l="0" t="0" r="0" b="0"/>
        </a:gradFill>
      </a:fillStyleLst>
      <a:lnStyleLst>
        <a:ln w="6350" cap="flat" cmpd="sng" algn="ctr">
          <a:prstDash val="solid"/>
          <a:miter lim="800000"/>
        </a:ln>
        <a:ln w="12700" cap="flat" cmpd="sng" algn="ctr">
          <a:prstDash val="solid"/>
          <a:miter lim="800000"/>
        </a:ln>
        <a:ln w="19050" cap="flat" cmpd="sng" algn="ctr">
          <a:prstDash val="solid"/>
          <a:miter lim="800000"/>
        </a:ln>
      </a:lnStyleLst>
      <a:effectStyleLst>
        <a:effectStyle>
          <a:effectLst/>
        </a:effectStyle>
        <a:effectStyle>
          <a:effectLst/>
        </a:effectStyle>
        <a:effectStyle>
          <a:effectLst/>
        </a:effectStyle>
      </a:effectStyleLst>
      <a:bgFillStyleLst>
        <a:solidFill>
          <a:schemeClr val="phClr"/>
        </a:solidFill>
        <a:solidFill>
          <a:schemeClr val="phClr">
            <a:tint val="95000"/>
          </a:schemeClr>
        </a:solidFill>
        <a:gradFill>
          <a:gsLst>
            <a:gs pos="0">
              <a:schemeClr val="phClr">
                <a:tint val="93000"/>
                <a:shade val="98000"/>
                <a:lumMod val="102000"/>
              </a:schemeClr>
            </a:gs>
            <a:gs pos="50000">
              <a:schemeClr val="phClr">
                <a:tint val="98000"/>
                <a:shade val="90000"/>
                <a:lumMod val="103000"/>
              </a:schemeClr>
            </a:gs>
            <a:gs pos="100000">
              <a:schemeClr val="phClr">
                <a:shade val="63000"/>
              </a:schemeClr>
            </a:gs>
          </a:gsLst>
          <a:lin ang="5400000" scaled="0"/>
          <a:tileRect l="0" t="0" r="0" b="0"/>
        </a:gradFill>
      </a:bgFillStyleLst>
    </a:fmtScheme>
  </a:themeElements>
</a:theme>
</file>

<file path=ppt/theme/theme34.xml><?xml version="1.0" encoding="utf-8"?>
<a:theme xmlns:a="http://schemas.openxmlformats.org/drawingml/2006/main" xmlns:r="http://schemas.openxmlformats.org/officeDocument/2006/relationships" name="1_DESY">
  <a:themeElements>
    <a:clrScheme name="DESY">
      <a:dk1>
        <a:srgbClr val="000000"/>
      </a:dk1>
      <a:lt1>
        <a:srgbClr val="ffffff"/>
      </a:lt1>
      <a:dk2>
        <a:srgbClr val="898d8d"/>
      </a:dk2>
      <a:lt2>
        <a:srgbClr val="b2b4b2"/>
      </a:lt2>
      <a:accent1>
        <a:srgbClr val="009fdf"/>
      </a:accent1>
      <a:accent2>
        <a:srgbClr val="f18f1f"/>
      </a:accent2>
      <a:accent3>
        <a:srgbClr val="004b7d"/>
      </a:accent3>
      <a:accent4>
        <a:srgbClr val="898d8d"/>
      </a:accent4>
      <a:accent5>
        <a:srgbClr val="b2b4b2"/>
      </a:accent5>
      <a:accent6>
        <a:srgbClr val="375e77"/>
      </a:accent6>
      <a:hlink>
        <a:srgbClr val="000000"/>
      </a:hlink>
      <a:folHlink>
        <a:srgbClr val="000000"/>
      </a:folHlink>
    </a:clrScheme>
    <a:fontScheme name="Arial">
      <a:majorFont>
        <a:latin typeface="Arial" pitchFamily="0" charset="1"/>
        <a:ea typeface="Arial" pitchFamily="0" charset="1"/>
        <a:cs typeface="Arial" pitchFamily="0" charset="1"/>
      </a:majorFont>
      <a:minorFont>
        <a:latin typeface="Arial" pitchFamily="0" charset="1"/>
        <a:ea typeface="Arial" pitchFamily="0" charset="1"/>
        <a:cs typeface="Arial" pitchFamily="0" charset="1"/>
      </a:minorFont>
    </a:fontScheme>
    <a:fmtScheme>
      <a:fillStyleLst>
        <a:solidFill>
          <a:schemeClr val="phClr"/>
        </a:solidFill>
        <a:gradFill>
          <a:gsLst>
            <a:gs pos="0">
              <a:schemeClr val="phClr">
                <a:lumMod val="110000"/>
                <a:tint val="67000"/>
              </a:schemeClr>
            </a:gs>
            <a:gs pos="50000">
              <a:schemeClr val="phClr">
                <a:lumMod val="105000"/>
                <a:tint val="73000"/>
              </a:schemeClr>
            </a:gs>
            <a:gs pos="100000">
              <a:schemeClr val="phClr">
                <a:lumMod val="105000"/>
                <a:tint val="81000"/>
              </a:schemeClr>
            </a:gs>
          </a:gsLst>
          <a:lin ang="5400000" scaled="0"/>
          <a:tileRect l="0" t="0" r="0" b="0"/>
        </a:gradFill>
        <a:gradFill>
          <a:gsLst>
            <a:gs pos="0">
              <a:schemeClr val="phClr">
                <a:lumMod val="102000"/>
                <a:tint val="94000"/>
              </a:schemeClr>
            </a:gs>
            <a:gs pos="50000">
              <a:schemeClr val="phClr">
                <a:lumMod val="100000"/>
                <a:shade val="100000"/>
              </a:schemeClr>
            </a:gs>
            <a:gs pos="100000">
              <a:schemeClr val="phClr">
                <a:lumMod val="99000"/>
                <a:shade val="78000"/>
              </a:schemeClr>
            </a:gs>
          </a:gsLst>
          <a:lin ang="5400000" scaled="0"/>
          <a:tileRect l="0" t="0" r="0" b="0"/>
        </a:gradFill>
      </a:fillStyleLst>
      <a:lnStyleLst>
        <a:ln w="6350" cap="flat" cmpd="sng" algn="ctr">
          <a:prstDash val="solid"/>
          <a:miter lim="800000"/>
        </a:ln>
        <a:ln w="12700" cap="flat" cmpd="sng" algn="ctr">
          <a:prstDash val="solid"/>
          <a:miter lim="800000"/>
        </a:ln>
        <a:ln w="19050" cap="flat" cmpd="sng" algn="ctr">
          <a:prstDash val="solid"/>
          <a:miter lim="800000"/>
        </a:ln>
      </a:lnStyleLst>
      <a:effectStyleLst>
        <a:effectStyle>
          <a:effectLst/>
        </a:effectStyle>
        <a:effectStyle>
          <a:effectLst/>
        </a:effectStyle>
        <a:effectStyle>
          <a:effectLst/>
        </a:effectStyle>
      </a:effectStyleLst>
      <a:bgFillStyleLst>
        <a:solidFill>
          <a:schemeClr val="phClr"/>
        </a:solidFill>
        <a:solidFill>
          <a:schemeClr val="phClr">
            <a:tint val="95000"/>
          </a:schemeClr>
        </a:solidFill>
        <a:gradFill>
          <a:gsLst>
            <a:gs pos="0">
              <a:schemeClr val="phClr">
                <a:tint val="93000"/>
                <a:shade val="98000"/>
                <a:lumMod val="102000"/>
              </a:schemeClr>
            </a:gs>
            <a:gs pos="50000">
              <a:schemeClr val="phClr">
                <a:tint val="98000"/>
                <a:shade val="90000"/>
                <a:lumMod val="103000"/>
              </a:schemeClr>
            </a:gs>
            <a:gs pos="100000">
              <a:schemeClr val="phClr">
                <a:shade val="63000"/>
              </a:schemeClr>
            </a:gs>
          </a:gsLst>
          <a:lin ang="5400000" scaled="0"/>
          <a:tileRect l="0" t="0" r="0" b="0"/>
        </a:gradFill>
      </a:bgFillStyleLst>
    </a:fmtScheme>
  </a:themeElements>
</a:theme>
</file>

<file path=ppt/theme/theme35.xml><?xml version="1.0" encoding="utf-8"?>
<a:theme xmlns:a="http://schemas.openxmlformats.org/drawingml/2006/main" xmlns:r="http://schemas.openxmlformats.org/officeDocument/2006/relationships" name="1_DESY">
  <a:themeElements>
    <a:clrScheme name="DESY">
      <a:dk1>
        <a:srgbClr val="000000"/>
      </a:dk1>
      <a:lt1>
        <a:srgbClr val="ffffff"/>
      </a:lt1>
      <a:dk2>
        <a:srgbClr val="898d8d"/>
      </a:dk2>
      <a:lt2>
        <a:srgbClr val="b2b4b2"/>
      </a:lt2>
      <a:accent1>
        <a:srgbClr val="009fdf"/>
      </a:accent1>
      <a:accent2>
        <a:srgbClr val="f18f1f"/>
      </a:accent2>
      <a:accent3>
        <a:srgbClr val="004b7d"/>
      </a:accent3>
      <a:accent4>
        <a:srgbClr val="898d8d"/>
      </a:accent4>
      <a:accent5>
        <a:srgbClr val="b2b4b2"/>
      </a:accent5>
      <a:accent6>
        <a:srgbClr val="375e77"/>
      </a:accent6>
      <a:hlink>
        <a:srgbClr val="000000"/>
      </a:hlink>
      <a:folHlink>
        <a:srgbClr val="000000"/>
      </a:folHlink>
    </a:clrScheme>
    <a:fontScheme name="Arial">
      <a:majorFont>
        <a:latin typeface="Arial" pitchFamily="0" charset="1"/>
        <a:ea typeface="Arial" pitchFamily="0" charset="1"/>
        <a:cs typeface="Arial" pitchFamily="0" charset="1"/>
      </a:majorFont>
      <a:minorFont>
        <a:latin typeface="Arial" pitchFamily="0" charset="1"/>
        <a:ea typeface="Arial" pitchFamily="0" charset="1"/>
        <a:cs typeface="Arial" pitchFamily="0" charset="1"/>
      </a:minorFont>
    </a:fontScheme>
    <a:fmtScheme>
      <a:fillStyleLst>
        <a:solidFill>
          <a:schemeClr val="phClr"/>
        </a:solidFill>
        <a:gradFill>
          <a:gsLst>
            <a:gs pos="0">
              <a:schemeClr val="phClr">
                <a:lumMod val="110000"/>
                <a:tint val="67000"/>
              </a:schemeClr>
            </a:gs>
            <a:gs pos="50000">
              <a:schemeClr val="phClr">
                <a:lumMod val="105000"/>
                <a:tint val="73000"/>
              </a:schemeClr>
            </a:gs>
            <a:gs pos="100000">
              <a:schemeClr val="phClr">
                <a:lumMod val="105000"/>
                <a:tint val="81000"/>
              </a:schemeClr>
            </a:gs>
          </a:gsLst>
          <a:lin ang="5400000" scaled="0"/>
          <a:tileRect l="0" t="0" r="0" b="0"/>
        </a:gradFill>
        <a:gradFill>
          <a:gsLst>
            <a:gs pos="0">
              <a:schemeClr val="phClr">
                <a:lumMod val="102000"/>
                <a:tint val="94000"/>
              </a:schemeClr>
            </a:gs>
            <a:gs pos="50000">
              <a:schemeClr val="phClr">
                <a:lumMod val="100000"/>
                <a:shade val="100000"/>
              </a:schemeClr>
            </a:gs>
            <a:gs pos="100000">
              <a:schemeClr val="phClr">
                <a:lumMod val="99000"/>
                <a:shade val="78000"/>
              </a:schemeClr>
            </a:gs>
          </a:gsLst>
          <a:lin ang="5400000" scaled="0"/>
          <a:tileRect l="0" t="0" r="0" b="0"/>
        </a:gradFill>
      </a:fillStyleLst>
      <a:lnStyleLst>
        <a:ln w="6350" cap="flat" cmpd="sng" algn="ctr">
          <a:prstDash val="solid"/>
          <a:miter lim="800000"/>
        </a:ln>
        <a:ln w="12700" cap="flat" cmpd="sng" algn="ctr">
          <a:prstDash val="solid"/>
          <a:miter lim="800000"/>
        </a:ln>
        <a:ln w="19050" cap="flat" cmpd="sng" algn="ctr">
          <a:prstDash val="solid"/>
          <a:miter lim="800000"/>
        </a:ln>
      </a:lnStyleLst>
      <a:effectStyleLst>
        <a:effectStyle>
          <a:effectLst/>
        </a:effectStyle>
        <a:effectStyle>
          <a:effectLst/>
        </a:effectStyle>
        <a:effectStyle>
          <a:effectLst/>
        </a:effectStyle>
      </a:effectStyleLst>
      <a:bgFillStyleLst>
        <a:solidFill>
          <a:schemeClr val="phClr"/>
        </a:solidFill>
        <a:solidFill>
          <a:schemeClr val="phClr">
            <a:tint val="95000"/>
          </a:schemeClr>
        </a:solidFill>
        <a:gradFill>
          <a:gsLst>
            <a:gs pos="0">
              <a:schemeClr val="phClr">
                <a:tint val="93000"/>
                <a:shade val="98000"/>
                <a:lumMod val="102000"/>
              </a:schemeClr>
            </a:gs>
            <a:gs pos="50000">
              <a:schemeClr val="phClr">
                <a:tint val="98000"/>
                <a:shade val="90000"/>
                <a:lumMod val="103000"/>
              </a:schemeClr>
            </a:gs>
            <a:gs pos="100000">
              <a:schemeClr val="phClr">
                <a:shade val="63000"/>
              </a:schemeClr>
            </a:gs>
          </a:gsLst>
          <a:lin ang="5400000" scaled="0"/>
          <a:tileRect l="0" t="0" r="0" b="0"/>
        </a:gradFill>
      </a:bgFillStyleLst>
    </a:fmtScheme>
  </a:themeElements>
</a:theme>
</file>

<file path=ppt/theme/theme36.xml><?xml version="1.0" encoding="utf-8"?>
<a:theme xmlns:a="http://schemas.openxmlformats.org/drawingml/2006/main" xmlns:r="http://schemas.openxmlformats.org/officeDocument/2006/relationships" name="1_DESY">
  <a:themeElements>
    <a:clrScheme name="DESY">
      <a:dk1>
        <a:srgbClr val="000000"/>
      </a:dk1>
      <a:lt1>
        <a:srgbClr val="ffffff"/>
      </a:lt1>
      <a:dk2>
        <a:srgbClr val="898d8d"/>
      </a:dk2>
      <a:lt2>
        <a:srgbClr val="b2b4b2"/>
      </a:lt2>
      <a:accent1>
        <a:srgbClr val="009fdf"/>
      </a:accent1>
      <a:accent2>
        <a:srgbClr val="f18f1f"/>
      </a:accent2>
      <a:accent3>
        <a:srgbClr val="004b7d"/>
      </a:accent3>
      <a:accent4>
        <a:srgbClr val="898d8d"/>
      </a:accent4>
      <a:accent5>
        <a:srgbClr val="b2b4b2"/>
      </a:accent5>
      <a:accent6>
        <a:srgbClr val="375e77"/>
      </a:accent6>
      <a:hlink>
        <a:srgbClr val="000000"/>
      </a:hlink>
      <a:folHlink>
        <a:srgbClr val="000000"/>
      </a:folHlink>
    </a:clrScheme>
    <a:fontScheme name="Arial">
      <a:majorFont>
        <a:latin typeface="Arial" pitchFamily="0" charset="1"/>
        <a:ea typeface="Arial" pitchFamily="0" charset="1"/>
        <a:cs typeface="Arial" pitchFamily="0" charset="1"/>
      </a:majorFont>
      <a:minorFont>
        <a:latin typeface="Arial" pitchFamily="0" charset="1"/>
        <a:ea typeface="Arial" pitchFamily="0" charset="1"/>
        <a:cs typeface="Arial" pitchFamily="0" charset="1"/>
      </a:minorFont>
    </a:fontScheme>
    <a:fmtScheme>
      <a:fillStyleLst>
        <a:solidFill>
          <a:schemeClr val="phClr"/>
        </a:solidFill>
        <a:gradFill>
          <a:gsLst>
            <a:gs pos="0">
              <a:schemeClr val="phClr">
                <a:lumMod val="110000"/>
                <a:tint val="67000"/>
              </a:schemeClr>
            </a:gs>
            <a:gs pos="50000">
              <a:schemeClr val="phClr">
                <a:lumMod val="105000"/>
                <a:tint val="73000"/>
              </a:schemeClr>
            </a:gs>
            <a:gs pos="100000">
              <a:schemeClr val="phClr">
                <a:lumMod val="105000"/>
                <a:tint val="81000"/>
              </a:schemeClr>
            </a:gs>
          </a:gsLst>
          <a:lin ang="5400000" scaled="0"/>
          <a:tileRect l="0" t="0" r="0" b="0"/>
        </a:gradFill>
        <a:gradFill>
          <a:gsLst>
            <a:gs pos="0">
              <a:schemeClr val="phClr">
                <a:lumMod val="102000"/>
                <a:tint val="94000"/>
              </a:schemeClr>
            </a:gs>
            <a:gs pos="50000">
              <a:schemeClr val="phClr">
                <a:lumMod val="100000"/>
                <a:shade val="100000"/>
              </a:schemeClr>
            </a:gs>
            <a:gs pos="100000">
              <a:schemeClr val="phClr">
                <a:lumMod val="99000"/>
                <a:shade val="78000"/>
              </a:schemeClr>
            </a:gs>
          </a:gsLst>
          <a:lin ang="5400000" scaled="0"/>
          <a:tileRect l="0" t="0" r="0" b="0"/>
        </a:gradFill>
      </a:fillStyleLst>
      <a:lnStyleLst>
        <a:ln w="6350" cap="flat" cmpd="sng" algn="ctr">
          <a:prstDash val="solid"/>
          <a:miter lim="800000"/>
        </a:ln>
        <a:ln w="12700" cap="flat" cmpd="sng" algn="ctr">
          <a:prstDash val="solid"/>
          <a:miter lim="800000"/>
        </a:ln>
        <a:ln w="19050" cap="flat" cmpd="sng" algn="ctr">
          <a:prstDash val="solid"/>
          <a:miter lim="800000"/>
        </a:ln>
      </a:lnStyleLst>
      <a:effectStyleLst>
        <a:effectStyle>
          <a:effectLst/>
        </a:effectStyle>
        <a:effectStyle>
          <a:effectLst/>
        </a:effectStyle>
        <a:effectStyle>
          <a:effectLst/>
        </a:effectStyle>
      </a:effectStyleLst>
      <a:bgFillStyleLst>
        <a:solidFill>
          <a:schemeClr val="phClr"/>
        </a:solidFill>
        <a:solidFill>
          <a:schemeClr val="phClr">
            <a:tint val="95000"/>
          </a:schemeClr>
        </a:solidFill>
        <a:gradFill>
          <a:gsLst>
            <a:gs pos="0">
              <a:schemeClr val="phClr">
                <a:tint val="93000"/>
                <a:shade val="98000"/>
                <a:lumMod val="102000"/>
              </a:schemeClr>
            </a:gs>
            <a:gs pos="50000">
              <a:schemeClr val="phClr">
                <a:tint val="98000"/>
                <a:shade val="90000"/>
                <a:lumMod val="103000"/>
              </a:schemeClr>
            </a:gs>
            <a:gs pos="100000">
              <a:schemeClr val="phClr">
                <a:shade val="63000"/>
              </a:schemeClr>
            </a:gs>
          </a:gsLst>
          <a:lin ang="5400000" scaled="0"/>
          <a:tileRect l="0" t="0" r="0" b="0"/>
        </a:gradFill>
      </a:bgFillStyleLst>
    </a:fmtScheme>
  </a:themeElements>
</a:theme>
</file>

<file path=ppt/theme/theme37.xml><?xml version="1.0" encoding="utf-8"?>
<a:theme xmlns:a="http://schemas.openxmlformats.org/drawingml/2006/main" xmlns:r="http://schemas.openxmlformats.org/officeDocument/2006/relationships" name="1_DESY">
  <a:themeElements>
    <a:clrScheme name="DESY">
      <a:dk1>
        <a:srgbClr val="000000"/>
      </a:dk1>
      <a:lt1>
        <a:srgbClr val="ffffff"/>
      </a:lt1>
      <a:dk2>
        <a:srgbClr val="898d8d"/>
      </a:dk2>
      <a:lt2>
        <a:srgbClr val="b2b4b2"/>
      </a:lt2>
      <a:accent1>
        <a:srgbClr val="009fdf"/>
      </a:accent1>
      <a:accent2>
        <a:srgbClr val="f18f1f"/>
      </a:accent2>
      <a:accent3>
        <a:srgbClr val="004b7d"/>
      </a:accent3>
      <a:accent4>
        <a:srgbClr val="898d8d"/>
      </a:accent4>
      <a:accent5>
        <a:srgbClr val="b2b4b2"/>
      </a:accent5>
      <a:accent6>
        <a:srgbClr val="375e77"/>
      </a:accent6>
      <a:hlink>
        <a:srgbClr val="000000"/>
      </a:hlink>
      <a:folHlink>
        <a:srgbClr val="000000"/>
      </a:folHlink>
    </a:clrScheme>
    <a:fontScheme name="Arial">
      <a:majorFont>
        <a:latin typeface="Arial" pitchFamily="0" charset="1"/>
        <a:ea typeface="Arial" pitchFamily="0" charset="1"/>
        <a:cs typeface="Arial" pitchFamily="0" charset="1"/>
      </a:majorFont>
      <a:minorFont>
        <a:latin typeface="Arial" pitchFamily="0" charset="1"/>
        <a:ea typeface="Arial" pitchFamily="0" charset="1"/>
        <a:cs typeface="Arial" pitchFamily="0" charset="1"/>
      </a:minorFont>
    </a:fontScheme>
    <a:fmtScheme>
      <a:fillStyleLst>
        <a:solidFill>
          <a:schemeClr val="phClr"/>
        </a:solidFill>
        <a:gradFill>
          <a:gsLst>
            <a:gs pos="0">
              <a:schemeClr val="phClr">
                <a:lumMod val="110000"/>
                <a:tint val="67000"/>
              </a:schemeClr>
            </a:gs>
            <a:gs pos="50000">
              <a:schemeClr val="phClr">
                <a:lumMod val="105000"/>
                <a:tint val="73000"/>
              </a:schemeClr>
            </a:gs>
            <a:gs pos="100000">
              <a:schemeClr val="phClr">
                <a:lumMod val="105000"/>
                <a:tint val="81000"/>
              </a:schemeClr>
            </a:gs>
          </a:gsLst>
          <a:lin ang="5400000" scaled="0"/>
          <a:tileRect l="0" t="0" r="0" b="0"/>
        </a:gradFill>
        <a:gradFill>
          <a:gsLst>
            <a:gs pos="0">
              <a:schemeClr val="phClr">
                <a:lumMod val="102000"/>
                <a:tint val="94000"/>
              </a:schemeClr>
            </a:gs>
            <a:gs pos="50000">
              <a:schemeClr val="phClr">
                <a:lumMod val="100000"/>
                <a:shade val="100000"/>
              </a:schemeClr>
            </a:gs>
            <a:gs pos="100000">
              <a:schemeClr val="phClr">
                <a:lumMod val="99000"/>
                <a:shade val="78000"/>
              </a:schemeClr>
            </a:gs>
          </a:gsLst>
          <a:lin ang="5400000" scaled="0"/>
          <a:tileRect l="0" t="0" r="0" b="0"/>
        </a:gradFill>
      </a:fillStyleLst>
      <a:lnStyleLst>
        <a:ln w="6350" cap="flat" cmpd="sng" algn="ctr">
          <a:prstDash val="solid"/>
          <a:miter lim="800000"/>
        </a:ln>
        <a:ln w="12700" cap="flat" cmpd="sng" algn="ctr">
          <a:prstDash val="solid"/>
          <a:miter lim="800000"/>
        </a:ln>
        <a:ln w="19050" cap="flat" cmpd="sng" algn="ctr">
          <a:prstDash val="solid"/>
          <a:miter lim="800000"/>
        </a:ln>
      </a:lnStyleLst>
      <a:effectStyleLst>
        <a:effectStyle>
          <a:effectLst/>
        </a:effectStyle>
        <a:effectStyle>
          <a:effectLst/>
        </a:effectStyle>
        <a:effectStyle>
          <a:effectLst/>
        </a:effectStyle>
      </a:effectStyleLst>
      <a:bgFillStyleLst>
        <a:solidFill>
          <a:schemeClr val="phClr"/>
        </a:solidFill>
        <a:solidFill>
          <a:schemeClr val="phClr">
            <a:tint val="95000"/>
          </a:schemeClr>
        </a:solidFill>
        <a:gradFill>
          <a:gsLst>
            <a:gs pos="0">
              <a:schemeClr val="phClr">
                <a:tint val="93000"/>
                <a:shade val="98000"/>
                <a:lumMod val="102000"/>
              </a:schemeClr>
            </a:gs>
            <a:gs pos="50000">
              <a:schemeClr val="phClr">
                <a:tint val="98000"/>
                <a:shade val="90000"/>
                <a:lumMod val="103000"/>
              </a:schemeClr>
            </a:gs>
            <a:gs pos="100000">
              <a:schemeClr val="phClr">
                <a:shade val="63000"/>
              </a:schemeClr>
            </a:gs>
          </a:gsLst>
          <a:lin ang="5400000" scaled="0"/>
          <a:tileRect l="0" t="0" r="0" b="0"/>
        </a:gradFill>
      </a:bgFillStyleLst>
    </a:fmtScheme>
  </a:themeElements>
</a:theme>
</file>

<file path=ppt/theme/theme38.xml><?xml version="1.0" encoding="utf-8"?>
<a:theme xmlns:a="http://schemas.openxmlformats.org/drawingml/2006/main" xmlns:r="http://schemas.openxmlformats.org/officeDocument/2006/relationships" name="1_DESY">
  <a:themeElements>
    <a:clrScheme name="DESY">
      <a:dk1>
        <a:srgbClr val="000000"/>
      </a:dk1>
      <a:lt1>
        <a:srgbClr val="ffffff"/>
      </a:lt1>
      <a:dk2>
        <a:srgbClr val="898d8d"/>
      </a:dk2>
      <a:lt2>
        <a:srgbClr val="b2b4b2"/>
      </a:lt2>
      <a:accent1>
        <a:srgbClr val="009fdf"/>
      </a:accent1>
      <a:accent2>
        <a:srgbClr val="f18f1f"/>
      </a:accent2>
      <a:accent3>
        <a:srgbClr val="004b7d"/>
      </a:accent3>
      <a:accent4>
        <a:srgbClr val="898d8d"/>
      </a:accent4>
      <a:accent5>
        <a:srgbClr val="b2b4b2"/>
      </a:accent5>
      <a:accent6>
        <a:srgbClr val="375e77"/>
      </a:accent6>
      <a:hlink>
        <a:srgbClr val="000000"/>
      </a:hlink>
      <a:folHlink>
        <a:srgbClr val="000000"/>
      </a:folHlink>
    </a:clrScheme>
    <a:fontScheme name="Arial">
      <a:majorFont>
        <a:latin typeface="Arial" pitchFamily="0" charset="1"/>
        <a:ea typeface="Arial" pitchFamily="0" charset="1"/>
        <a:cs typeface="Arial" pitchFamily="0" charset="1"/>
      </a:majorFont>
      <a:minorFont>
        <a:latin typeface="Arial" pitchFamily="0" charset="1"/>
        <a:ea typeface="Arial" pitchFamily="0" charset="1"/>
        <a:cs typeface="Arial" pitchFamily="0" charset="1"/>
      </a:minorFont>
    </a:fontScheme>
    <a:fmtScheme>
      <a:fillStyleLst>
        <a:solidFill>
          <a:schemeClr val="phClr"/>
        </a:solidFill>
        <a:gradFill>
          <a:gsLst>
            <a:gs pos="0">
              <a:schemeClr val="phClr">
                <a:lumMod val="110000"/>
                <a:tint val="67000"/>
              </a:schemeClr>
            </a:gs>
            <a:gs pos="50000">
              <a:schemeClr val="phClr">
                <a:lumMod val="105000"/>
                <a:tint val="73000"/>
              </a:schemeClr>
            </a:gs>
            <a:gs pos="100000">
              <a:schemeClr val="phClr">
                <a:lumMod val="105000"/>
                <a:tint val="81000"/>
              </a:schemeClr>
            </a:gs>
          </a:gsLst>
          <a:lin ang="5400000" scaled="0"/>
          <a:tileRect l="0" t="0" r="0" b="0"/>
        </a:gradFill>
        <a:gradFill>
          <a:gsLst>
            <a:gs pos="0">
              <a:schemeClr val="phClr">
                <a:lumMod val="102000"/>
                <a:tint val="94000"/>
              </a:schemeClr>
            </a:gs>
            <a:gs pos="50000">
              <a:schemeClr val="phClr">
                <a:lumMod val="100000"/>
                <a:shade val="100000"/>
              </a:schemeClr>
            </a:gs>
            <a:gs pos="100000">
              <a:schemeClr val="phClr">
                <a:lumMod val="99000"/>
                <a:shade val="78000"/>
              </a:schemeClr>
            </a:gs>
          </a:gsLst>
          <a:lin ang="5400000" scaled="0"/>
          <a:tileRect l="0" t="0" r="0" b="0"/>
        </a:gradFill>
      </a:fillStyleLst>
      <a:lnStyleLst>
        <a:ln w="6350" cap="flat" cmpd="sng" algn="ctr">
          <a:prstDash val="solid"/>
          <a:miter lim="800000"/>
        </a:ln>
        <a:ln w="12700" cap="flat" cmpd="sng" algn="ctr">
          <a:prstDash val="solid"/>
          <a:miter lim="800000"/>
        </a:ln>
        <a:ln w="19050" cap="flat" cmpd="sng" algn="ctr">
          <a:prstDash val="solid"/>
          <a:miter lim="800000"/>
        </a:ln>
      </a:lnStyleLst>
      <a:effectStyleLst>
        <a:effectStyle>
          <a:effectLst/>
        </a:effectStyle>
        <a:effectStyle>
          <a:effectLst/>
        </a:effectStyle>
        <a:effectStyle>
          <a:effectLst/>
        </a:effectStyle>
      </a:effectStyleLst>
      <a:bgFillStyleLst>
        <a:solidFill>
          <a:schemeClr val="phClr"/>
        </a:solidFill>
        <a:solidFill>
          <a:schemeClr val="phClr">
            <a:tint val="95000"/>
          </a:schemeClr>
        </a:solidFill>
        <a:gradFill>
          <a:gsLst>
            <a:gs pos="0">
              <a:schemeClr val="phClr">
                <a:tint val="93000"/>
                <a:shade val="98000"/>
                <a:lumMod val="102000"/>
              </a:schemeClr>
            </a:gs>
            <a:gs pos="50000">
              <a:schemeClr val="phClr">
                <a:tint val="98000"/>
                <a:shade val="90000"/>
                <a:lumMod val="103000"/>
              </a:schemeClr>
            </a:gs>
            <a:gs pos="100000">
              <a:schemeClr val="phClr">
                <a:shade val="63000"/>
              </a:schemeClr>
            </a:gs>
          </a:gsLst>
          <a:lin ang="5400000" scaled="0"/>
          <a:tileRect l="0" t="0" r="0" b="0"/>
        </a:gradFill>
      </a:bgFillStyleLst>
    </a:fmtScheme>
  </a:themeElements>
</a:theme>
</file>

<file path=ppt/theme/theme39.xml><?xml version="1.0" encoding="utf-8"?>
<a:theme xmlns:a="http://schemas.openxmlformats.org/drawingml/2006/main" xmlns:r="http://schemas.openxmlformats.org/officeDocument/2006/relationships" name="1_DESY">
  <a:themeElements>
    <a:clrScheme name="DESY">
      <a:dk1>
        <a:srgbClr val="000000"/>
      </a:dk1>
      <a:lt1>
        <a:srgbClr val="ffffff"/>
      </a:lt1>
      <a:dk2>
        <a:srgbClr val="898d8d"/>
      </a:dk2>
      <a:lt2>
        <a:srgbClr val="b2b4b2"/>
      </a:lt2>
      <a:accent1>
        <a:srgbClr val="009fdf"/>
      </a:accent1>
      <a:accent2>
        <a:srgbClr val="f18f1f"/>
      </a:accent2>
      <a:accent3>
        <a:srgbClr val="004b7d"/>
      </a:accent3>
      <a:accent4>
        <a:srgbClr val="898d8d"/>
      </a:accent4>
      <a:accent5>
        <a:srgbClr val="b2b4b2"/>
      </a:accent5>
      <a:accent6>
        <a:srgbClr val="375e77"/>
      </a:accent6>
      <a:hlink>
        <a:srgbClr val="000000"/>
      </a:hlink>
      <a:folHlink>
        <a:srgbClr val="000000"/>
      </a:folHlink>
    </a:clrScheme>
    <a:fontScheme name="Arial">
      <a:majorFont>
        <a:latin typeface="Arial" pitchFamily="0" charset="1"/>
        <a:ea typeface="Arial" pitchFamily="0" charset="1"/>
        <a:cs typeface="Arial" pitchFamily="0" charset="1"/>
      </a:majorFont>
      <a:minorFont>
        <a:latin typeface="Arial" pitchFamily="0" charset="1"/>
        <a:ea typeface="Arial" pitchFamily="0" charset="1"/>
        <a:cs typeface="Arial" pitchFamily="0" charset="1"/>
      </a:minorFont>
    </a:fontScheme>
    <a:fmtScheme>
      <a:fillStyleLst>
        <a:solidFill>
          <a:schemeClr val="phClr"/>
        </a:solidFill>
        <a:gradFill>
          <a:gsLst>
            <a:gs pos="0">
              <a:schemeClr val="phClr">
                <a:lumMod val="110000"/>
                <a:tint val="67000"/>
              </a:schemeClr>
            </a:gs>
            <a:gs pos="50000">
              <a:schemeClr val="phClr">
                <a:lumMod val="105000"/>
                <a:tint val="73000"/>
              </a:schemeClr>
            </a:gs>
            <a:gs pos="100000">
              <a:schemeClr val="phClr">
                <a:lumMod val="105000"/>
                <a:tint val="81000"/>
              </a:schemeClr>
            </a:gs>
          </a:gsLst>
          <a:lin ang="5400000" scaled="0"/>
          <a:tileRect l="0" t="0" r="0" b="0"/>
        </a:gradFill>
        <a:gradFill>
          <a:gsLst>
            <a:gs pos="0">
              <a:schemeClr val="phClr">
                <a:lumMod val="102000"/>
                <a:tint val="94000"/>
              </a:schemeClr>
            </a:gs>
            <a:gs pos="50000">
              <a:schemeClr val="phClr">
                <a:lumMod val="100000"/>
                <a:shade val="100000"/>
              </a:schemeClr>
            </a:gs>
            <a:gs pos="100000">
              <a:schemeClr val="phClr">
                <a:lumMod val="99000"/>
                <a:shade val="78000"/>
              </a:schemeClr>
            </a:gs>
          </a:gsLst>
          <a:lin ang="5400000" scaled="0"/>
          <a:tileRect l="0" t="0" r="0" b="0"/>
        </a:gradFill>
      </a:fillStyleLst>
      <a:lnStyleLst>
        <a:ln w="6350" cap="flat" cmpd="sng" algn="ctr">
          <a:prstDash val="solid"/>
          <a:miter lim="800000"/>
        </a:ln>
        <a:ln w="12700" cap="flat" cmpd="sng" algn="ctr">
          <a:prstDash val="solid"/>
          <a:miter lim="800000"/>
        </a:ln>
        <a:ln w="19050" cap="flat" cmpd="sng" algn="ctr">
          <a:prstDash val="solid"/>
          <a:miter lim="800000"/>
        </a:ln>
      </a:lnStyleLst>
      <a:effectStyleLst>
        <a:effectStyle>
          <a:effectLst/>
        </a:effectStyle>
        <a:effectStyle>
          <a:effectLst/>
        </a:effectStyle>
        <a:effectStyle>
          <a:effectLst/>
        </a:effectStyle>
      </a:effectStyleLst>
      <a:bgFillStyleLst>
        <a:solidFill>
          <a:schemeClr val="phClr"/>
        </a:solidFill>
        <a:solidFill>
          <a:schemeClr val="phClr">
            <a:tint val="95000"/>
          </a:schemeClr>
        </a:solidFill>
        <a:gradFill>
          <a:gsLst>
            <a:gs pos="0">
              <a:schemeClr val="phClr">
                <a:tint val="93000"/>
                <a:shade val="98000"/>
                <a:lumMod val="102000"/>
              </a:schemeClr>
            </a:gs>
            <a:gs pos="50000">
              <a:schemeClr val="phClr">
                <a:tint val="98000"/>
                <a:shade val="90000"/>
                <a:lumMod val="103000"/>
              </a:schemeClr>
            </a:gs>
            <a:gs pos="100000">
              <a:schemeClr val="phClr">
                <a:shade val="63000"/>
              </a:schemeClr>
            </a:gs>
          </a:gsLst>
          <a:lin ang="5400000" scaled="0"/>
          <a:tileRect l="0" t="0" r="0" b="0"/>
        </a:gradFill>
      </a:bgFillStyleLst>
    </a:fmtScheme>
  </a:themeElements>
</a:theme>
</file>

<file path=ppt/theme/theme4.xml><?xml version="1.0" encoding="utf-8"?>
<a:theme xmlns:a="http://schemas.openxmlformats.org/drawingml/2006/main" xmlns:r="http://schemas.openxmlformats.org/officeDocument/2006/relationships" name="DESY">
  <a:themeElements>
    <a:clrScheme name="DESY">
      <a:dk1>
        <a:srgbClr val="000000"/>
      </a:dk1>
      <a:lt1>
        <a:srgbClr val="ffffff"/>
      </a:lt1>
      <a:dk2>
        <a:srgbClr val="898d8d"/>
      </a:dk2>
      <a:lt2>
        <a:srgbClr val="b2b4b2"/>
      </a:lt2>
      <a:accent1>
        <a:srgbClr val="009fdf"/>
      </a:accent1>
      <a:accent2>
        <a:srgbClr val="f18f1f"/>
      </a:accent2>
      <a:accent3>
        <a:srgbClr val="004b7d"/>
      </a:accent3>
      <a:accent4>
        <a:srgbClr val="898d8d"/>
      </a:accent4>
      <a:accent5>
        <a:srgbClr val="b2b4b2"/>
      </a:accent5>
      <a:accent6>
        <a:srgbClr val="375e77"/>
      </a:accent6>
      <a:hlink>
        <a:srgbClr val="000000"/>
      </a:hlink>
      <a:folHlink>
        <a:srgbClr val="000000"/>
      </a:folHlink>
    </a:clrScheme>
    <a:fontScheme name="Arial">
      <a:majorFont>
        <a:latin typeface="Arial" pitchFamily="0" charset="1"/>
        <a:ea typeface="Arial" pitchFamily="0" charset="1"/>
        <a:cs typeface="Arial" pitchFamily="0" charset="1"/>
      </a:majorFont>
      <a:minorFont>
        <a:latin typeface="Arial" pitchFamily="0" charset="1"/>
        <a:ea typeface="Arial" pitchFamily="0" charset="1"/>
        <a:cs typeface="Arial" pitchFamily="0" charset="1"/>
      </a:minorFont>
    </a:fontScheme>
    <a:fmtScheme>
      <a:fillStyleLst>
        <a:solidFill>
          <a:schemeClr val="phClr"/>
        </a:solidFill>
        <a:gradFill>
          <a:gsLst>
            <a:gs pos="0">
              <a:schemeClr val="phClr">
                <a:lumMod val="110000"/>
                <a:tint val="67000"/>
              </a:schemeClr>
            </a:gs>
            <a:gs pos="50000">
              <a:schemeClr val="phClr">
                <a:lumMod val="105000"/>
                <a:tint val="73000"/>
              </a:schemeClr>
            </a:gs>
            <a:gs pos="100000">
              <a:schemeClr val="phClr">
                <a:lumMod val="105000"/>
                <a:tint val="81000"/>
              </a:schemeClr>
            </a:gs>
          </a:gsLst>
          <a:lin ang="5400000" scaled="0"/>
          <a:tileRect l="0" t="0" r="0" b="0"/>
        </a:gradFill>
        <a:gradFill>
          <a:gsLst>
            <a:gs pos="0">
              <a:schemeClr val="phClr">
                <a:lumMod val="102000"/>
                <a:tint val="94000"/>
              </a:schemeClr>
            </a:gs>
            <a:gs pos="50000">
              <a:schemeClr val="phClr">
                <a:lumMod val="100000"/>
                <a:shade val="100000"/>
              </a:schemeClr>
            </a:gs>
            <a:gs pos="100000">
              <a:schemeClr val="phClr">
                <a:lumMod val="99000"/>
                <a:shade val="78000"/>
              </a:schemeClr>
            </a:gs>
          </a:gsLst>
          <a:lin ang="5400000" scaled="0"/>
          <a:tileRect l="0" t="0" r="0" b="0"/>
        </a:gradFill>
      </a:fillStyleLst>
      <a:lnStyleLst>
        <a:ln w="6350" cap="flat" cmpd="sng" algn="ctr">
          <a:prstDash val="solid"/>
          <a:miter lim="800000"/>
        </a:ln>
        <a:ln w="12700" cap="flat" cmpd="sng" algn="ctr">
          <a:prstDash val="solid"/>
          <a:miter lim="800000"/>
        </a:ln>
        <a:ln w="19050" cap="flat" cmpd="sng" algn="ctr">
          <a:prstDash val="solid"/>
          <a:miter lim="800000"/>
        </a:ln>
      </a:lnStyleLst>
      <a:effectStyleLst>
        <a:effectStyle>
          <a:effectLst/>
        </a:effectStyle>
        <a:effectStyle>
          <a:effectLst/>
        </a:effectStyle>
        <a:effectStyle>
          <a:effectLst/>
        </a:effectStyle>
      </a:effectStyleLst>
      <a:bgFillStyleLst>
        <a:solidFill>
          <a:schemeClr val="phClr"/>
        </a:solidFill>
        <a:solidFill>
          <a:schemeClr val="phClr">
            <a:tint val="95000"/>
          </a:schemeClr>
        </a:solidFill>
        <a:gradFill>
          <a:gsLst>
            <a:gs pos="0">
              <a:schemeClr val="phClr">
                <a:tint val="93000"/>
                <a:shade val="98000"/>
                <a:lumMod val="102000"/>
              </a:schemeClr>
            </a:gs>
            <a:gs pos="50000">
              <a:schemeClr val="phClr">
                <a:tint val="98000"/>
                <a:shade val="90000"/>
                <a:lumMod val="103000"/>
              </a:schemeClr>
            </a:gs>
            <a:gs pos="100000">
              <a:schemeClr val="phClr">
                <a:shade val="63000"/>
              </a:schemeClr>
            </a:gs>
          </a:gsLst>
          <a:lin ang="5400000" scaled="0"/>
          <a:tileRect l="0" t="0" r="0" b="0"/>
        </a:gradFill>
      </a:bgFillStyleLst>
    </a:fmtScheme>
  </a:themeElements>
</a:theme>
</file>

<file path=ppt/theme/theme40.xml><?xml version="1.0" encoding="utf-8"?>
<a:theme xmlns:a="http://schemas.openxmlformats.org/drawingml/2006/main" xmlns:r="http://schemas.openxmlformats.org/officeDocument/2006/relationships" name="Office Theme">
  <a:themeElements>
    <a:clrScheme name="LibreOffice">
      <a:dk1>
        <a:srgbClr val="000000"/>
      </a:dk1>
      <a:lt1>
        <a:srgbClr val="ffffff"/>
      </a:lt1>
      <a:dk2>
        <a:srgbClr val="000000"/>
      </a:dk2>
      <a:lt2>
        <a:srgbClr val="ffffff"/>
      </a:lt2>
      <a:accent1>
        <a:srgbClr val="18a303"/>
      </a:accent1>
      <a:accent2>
        <a:srgbClr val="0369a3"/>
      </a:accent2>
      <a:accent3>
        <a:srgbClr val="a33e03"/>
      </a:accent3>
      <a:accent4>
        <a:srgbClr val="8e03a3"/>
      </a:accent4>
      <a:accent5>
        <a:srgbClr val="c99c00"/>
      </a:accent5>
      <a:accent6>
        <a:srgbClr val="c9211e"/>
      </a:accent6>
      <a:hlink>
        <a:srgbClr val="0000ee"/>
      </a:hlink>
      <a:folHlink>
        <a:srgbClr val="551a8b"/>
      </a:folHlink>
    </a:clrScheme>
    <a:fontScheme name="Office">
      <a:majorFont>
        <a:latin typeface="Arial" pitchFamily="0" charset="1"/>
        <a:ea typeface="DejaVu Sans" pitchFamily="0" charset="1"/>
        <a:cs typeface="DejaVu Sans" pitchFamily="0" charset="1"/>
      </a:majorFont>
      <a:minorFont>
        <a:latin typeface="Arial" pitchFamily="0" charset="1"/>
        <a:ea typeface="DejaVu Sans" pitchFamily="0" charset="1"/>
        <a:cs typeface="DejaVu Sans" pitchFamily="0" charset="1"/>
      </a:minorFont>
    </a:fontScheme>
    <a:fmtScheme>
      <a:fillStyleLst>
        <a:solidFill>
          <a:schemeClr val="phClr"/>
        </a:solidFill>
        <a:solidFill>
          <a:schemeClr val="phClr"/>
        </a:solidFill>
        <a:solidFill>
          <a:schemeClr val="phClr"/>
        </a:solidFill>
      </a:fillStyleLst>
      <a:lnStyleLst>
        <a:ln w="6350" cap="flat" cmpd="sng" algn="ctr">
          <a:prstDash val="solid"/>
          <a:miter/>
        </a:ln>
        <a:ln w="6350" cap="flat" cmpd="sng" algn="ctr">
          <a:prstDash val="solid"/>
          <a:miter/>
        </a:ln>
        <a:ln w="6350" cap="flat" cmpd="sng" algn="ctr">
          <a:prstDash val="solid"/>
          <a:miter/>
        </a:ln>
      </a:lnStyleLst>
      <a:effectStyleLst>
        <a:effectStyle>
          <a:effectLst/>
        </a:effectStyle>
        <a:effectStyle>
          <a:effectLst/>
        </a:effectStyle>
        <a:effectStyle>
          <a:effectLst/>
        </a:effectStyle>
      </a:effectStyleLst>
      <a:bgFillStyleLst>
        <a:solidFill>
          <a:schemeClr val="phClr"/>
        </a:solidFill>
        <a:solidFill>
          <a:schemeClr val="phClr"/>
        </a:solidFill>
        <a:solidFill>
          <a:schemeClr val="phClr"/>
        </a:solidFill>
      </a:bgFillStyleLst>
    </a:fmtScheme>
  </a:themeElements>
</a:theme>
</file>

<file path=ppt/theme/theme5.xml><?xml version="1.0" encoding="utf-8"?>
<a:theme xmlns:a="http://schemas.openxmlformats.org/drawingml/2006/main" xmlns:r="http://schemas.openxmlformats.org/officeDocument/2006/relationships" name="DESY">
  <a:themeElements>
    <a:clrScheme name="DESY">
      <a:dk1>
        <a:srgbClr val="000000"/>
      </a:dk1>
      <a:lt1>
        <a:srgbClr val="ffffff"/>
      </a:lt1>
      <a:dk2>
        <a:srgbClr val="898d8d"/>
      </a:dk2>
      <a:lt2>
        <a:srgbClr val="b2b4b2"/>
      </a:lt2>
      <a:accent1>
        <a:srgbClr val="009fdf"/>
      </a:accent1>
      <a:accent2>
        <a:srgbClr val="f18f1f"/>
      </a:accent2>
      <a:accent3>
        <a:srgbClr val="004b7d"/>
      </a:accent3>
      <a:accent4>
        <a:srgbClr val="898d8d"/>
      </a:accent4>
      <a:accent5>
        <a:srgbClr val="b2b4b2"/>
      </a:accent5>
      <a:accent6>
        <a:srgbClr val="375e77"/>
      </a:accent6>
      <a:hlink>
        <a:srgbClr val="000000"/>
      </a:hlink>
      <a:folHlink>
        <a:srgbClr val="000000"/>
      </a:folHlink>
    </a:clrScheme>
    <a:fontScheme name="Arial">
      <a:majorFont>
        <a:latin typeface="Arial" pitchFamily="0" charset="1"/>
        <a:ea typeface="Arial" pitchFamily="0" charset="1"/>
        <a:cs typeface="Arial" pitchFamily="0" charset="1"/>
      </a:majorFont>
      <a:minorFont>
        <a:latin typeface="Arial" pitchFamily="0" charset="1"/>
        <a:ea typeface="Arial" pitchFamily="0" charset="1"/>
        <a:cs typeface="Arial" pitchFamily="0" charset="1"/>
      </a:minorFont>
    </a:fontScheme>
    <a:fmtScheme>
      <a:fillStyleLst>
        <a:solidFill>
          <a:schemeClr val="phClr"/>
        </a:solidFill>
        <a:gradFill>
          <a:gsLst>
            <a:gs pos="0">
              <a:schemeClr val="phClr">
                <a:lumMod val="110000"/>
                <a:tint val="67000"/>
              </a:schemeClr>
            </a:gs>
            <a:gs pos="50000">
              <a:schemeClr val="phClr">
                <a:lumMod val="105000"/>
                <a:tint val="73000"/>
              </a:schemeClr>
            </a:gs>
            <a:gs pos="100000">
              <a:schemeClr val="phClr">
                <a:lumMod val="105000"/>
                <a:tint val="81000"/>
              </a:schemeClr>
            </a:gs>
          </a:gsLst>
          <a:lin ang="5400000" scaled="0"/>
          <a:tileRect l="0" t="0" r="0" b="0"/>
        </a:gradFill>
        <a:gradFill>
          <a:gsLst>
            <a:gs pos="0">
              <a:schemeClr val="phClr">
                <a:lumMod val="102000"/>
                <a:tint val="94000"/>
              </a:schemeClr>
            </a:gs>
            <a:gs pos="50000">
              <a:schemeClr val="phClr">
                <a:lumMod val="100000"/>
                <a:shade val="100000"/>
              </a:schemeClr>
            </a:gs>
            <a:gs pos="100000">
              <a:schemeClr val="phClr">
                <a:lumMod val="99000"/>
                <a:shade val="78000"/>
              </a:schemeClr>
            </a:gs>
          </a:gsLst>
          <a:lin ang="5400000" scaled="0"/>
          <a:tileRect l="0" t="0" r="0" b="0"/>
        </a:gradFill>
      </a:fillStyleLst>
      <a:lnStyleLst>
        <a:ln w="6350" cap="flat" cmpd="sng" algn="ctr">
          <a:prstDash val="solid"/>
          <a:miter lim="800000"/>
        </a:ln>
        <a:ln w="12700" cap="flat" cmpd="sng" algn="ctr">
          <a:prstDash val="solid"/>
          <a:miter lim="800000"/>
        </a:ln>
        <a:ln w="19050" cap="flat" cmpd="sng" algn="ctr">
          <a:prstDash val="solid"/>
          <a:miter lim="800000"/>
        </a:ln>
      </a:lnStyleLst>
      <a:effectStyleLst>
        <a:effectStyle>
          <a:effectLst/>
        </a:effectStyle>
        <a:effectStyle>
          <a:effectLst/>
        </a:effectStyle>
        <a:effectStyle>
          <a:effectLst/>
        </a:effectStyle>
      </a:effectStyleLst>
      <a:bgFillStyleLst>
        <a:solidFill>
          <a:schemeClr val="phClr"/>
        </a:solidFill>
        <a:solidFill>
          <a:schemeClr val="phClr">
            <a:tint val="95000"/>
          </a:schemeClr>
        </a:solidFill>
        <a:gradFill>
          <a:gsLst>
            <a:gs pos="0">
              <a:schemeClr val="phClr">
                <a:tint val="93000"/>
                <a:shade val="98000"/>
                <a:lumMod val="102000"/>
              </a:schemeClr>
            </a:gs>
            <a:gs pos="50000">
              <a:schemeClr val="phClr">
                <a:tint val="98000"/>
                <a:shade val="90000"/>
                <a:lumMod val="103000"/>
              </a:schemeClr>
            </a:gs>
            <a:gs pos="100000">
              <a:schemeClr val="phClr">
                <a:shade val="63000"/>
              </a:schemeClr>
            </a:gs>
          </a:gsLst>
          <a:lin ang="5400000" scaled="0"/>
          <a:tileRect l="0" t="0" r="0" b="0"/>
        </a:gradFill>
      </a:bgFillStyleLst>
    </a:fmtScheme>
  </a:themeElements>
</a:theme>
</file>

<file path=ppt/theme/theme6.xml><?xml version="1.0" encoding="utf-8"?>
<a:theme xmlns:a="http://schemas.openxmlformats.org/drawingml/2006/main" xmlns:r="http://schemas.openxmlformats.org/officeDocument/2006/relationships" name="DESY">
  <a:themeElements>
    <a:clrScheme name="DESY">
      <a:dk1>
        <a:srgbClr val="000000"/>
      </a:dk1>
      <a:lt1>
        <a:srgbClr val="ffffff"/>
      </a:lt1>
      <a:dk2>
        <a:srgbClr val="898d8d"/>
      </a:dk2>
      <a:lt2>
        <a:srgbClr val="b2b4b2"/>
      </a:lt2>
      <a:accent1>
        <a:srgbClr val="009fdf"/>
      </a:accent1>
      <a:accent2>
        <a:srgbClr val="f18f1f"/>
      </a:accent2>
      <a:accent3>
        <a:srgbClr val="004b7d"/>
      </a:accent3>
      <a:accent4>
        <a:srgbClr val="898d8d"/>
      </a:accent4>
      <a:accent5>
        <a:srgbClr val="b2b4b2"/>
      </a:accent5>
      <a:accent6>
        <a:srgbClr val="375e77"/>
      </a:accent6>
      <a:hlink>
        <a:srgbClr val="000000"/>
      </a:hlink>
      <a:folHlink>
        <a:srgbClr val="000000"/>
      </a:folHlink>
    </a:clrScheme>
    <a:fontScheme name="Arial">
      <a:majorFont>
        <a:latin typeface="Arial" pitchFamily="0" charset="1"/>
        <a:ea typeface="Arial" pitchFamily="0" charset="1"/>
        <a:cs typeface="Arial" pitchFamily="0" charset="1"/>
      </a:majorFont>
      <a:minorFont>
        <a:latin typeface="Arial" pitchFamily="0" charset="1"/>
        <a:ea typeface="Arial" pitchFamily="0" charset="1"/>
        <a:cs typeface="Arial" pitchFamily="0" charset="1"/>
      </a:minorFont>
    </a:fontScheme>
    <a:fmtScheme>
      <a:fillStyleLst>
        <a:solidFill>
          <a:schemeClr val="phClr"/>
        </a:solidFill>
        <a:gradFill>
          <a:gsLst>
            <a:gs pos="0">
              <a:schemeClr val="phClr">
                <a:lumMod val="110000"/>
                <a:tint val="67000"/>
              </a:schemeClr>
            </a:gs>
            <a:gs pos="50000">
              <a:schemeClr val="phClr">
                <a:lumMod val="105000"/>
                <a:tint val="73000"/>
              </a:schemeClr>
            </a:gs>
            <a:gs pos="100000">
              <a:schemeClr val="phClr">
                <a:lumMod val="105000"/>
                <a:tint val="81000"/>
              </a:schemeClr>
            </a:gs>
          </a:gsLst>
          <a:lin ang="5400000" scaled="0"/>
          <a:tileRect l="0" t="0" r="0" b="0"/>
        </a:gradFill>
        <a:gradFill>
          <a:gsLst>
            <a:gs pos="0">
              <a:schemeClr val="phClr">
                <a:lumMod val="102000"/>
                <a:tint val="94000"/>
              </a:schemeClr>
            </a:gs>
            <a:gs pos="50000">
              <a:schemeClr val="phClr">
                <a:lumMod val="100000"/>
                <a:shade val="100000"/>
              </a:schemeClr>
            </a:gs>
            <a:gs pos="100000">
              <a:schemeClr val="phClr">
                <a:lumMod val="99000"/>
                <a:shade val="78000"/>
              </a:schemeClr>
            </a:gs>
          </a:gsLst>
          <a:lin ang="5400000" scaled="0"/>
          <a:tileRect l="0" t="0" r="0" b="0"/>
        </a:gradFill>
      </a:fillStyleLst>
      <a:lnStyleLst>
        <a:ln w="6350" cap="flat" cmpd="sng" algn="ctr">
          <a:prstDash val="solid"/>
          <a:miter lim="800000"/>
        </a:ln>
        <a:ln w="12700" cap="flat" cmpd="sng" algn="ctr">
          <a:prstDash val="solid"/>
          <a:miter lim="800000"/>
        </a:ln>
        <a:ln w="19050" cap="flat" cmpd="sng" algn="ctr">
          <a:prstDash val="solid"/>
          <a:miter lim="800000"/>
        </a:ln>
      </a:lnStyleLst>
      <a:effectStyleLst>
        <a:effectStyle>
          <a:effectLst/>
        </a:effectStyle>
        <a:effectStyle>
          <a:effectLst/>
        </a:effectStyle>
        <a:effectStyle>
          <a:effectLst/>
        </a:effectStyle>
      </a:effectStyleLst>
      <a:bgFillStyleLst>
        <a:solidFill>
          <a:schemeClr val="phClr"/>
        </a:solidFill>
        <a:solidFill>
          <a:schemeClr val="phClr">
            <a:tint val="95000"/>
          </a:schemeClr>
        </a:solidFill>
        <a:gradFill>
          <a:gsLst>
            <a:gs pos="0">
              <a:schemeClr val="phClr">
                <a:tint val="93000"/>
                <a:shade val="98000"/>
                <a:lumMod val="102000"/>
              </a:schemeClr>
            </a:gs>
            <a:gs pos="50000">
              <a:schemeClr val="phClr">
                <a:tint val="98000"/>
                <a:shade val="90000"/>
                <a:lumMod val="103000"/>
              </a:schemeClr>
            </a:gs>
            <a:gs pos="100000">
              <a:schemeClr val="phClr">
                <a:shade val="63000"/>
              </a:schemeClr>
            </a:gs>
          </a:gsLst>
          <a:lin ang="5400000" scaled="0"/>
          <a:tileRect l="0" t="0" r="0" b="0"/>
        </a:gradFill>
      </a:bgFillStyleLst>
    </a:fmtScheme>
  </a:themeElements>
</a:theme>
</file>

<file path=ppt/theme/theme7.xml><?xml version="1.0" encoding="utf-8"?>
<a:theme xmlns:a="http://schemas.openxmlformats.org/drawingml/2006/main" xmlns:r="http://schemas.openxmlformats.org/officeDocument/2006/relationships" name="DESY">
  <a:themeElements>
    <a:clrScheme name="DESY">
      <a:dk1>
        <a:srgbClr val="000000"/>
      </a:dk1>
      <a:lt1>
        <a:srgbClr val="ffffff"/>
      </a:lt1>
      <a:dk2>
        <a:srgbClr val="898d8d"/>
      </a:dk2>
      <a:lt2>
        <a:srgbClr val="b2b4b2"/>
      </a:lt2>
      <a:accent1>
        <a:srgbClr val="009fdf"/>
      </a:accent1>
      <a:accent2>
        <a:srgbClr val="f18f1f"/>
      </a:accent2>
      <a:accent3>
        <a:srgbClr val="004b7d"/>
      </a:accent3>
      <a:accent4>
        <a:srgbClr val="898d8d"/>
      </a:accent4>
      <a:accent5>
        <a:srgbClr val="b2b4b2"/>
      </a:accent5>
      <a:accent6>
        <a:srgbClr val="375e77"/>
      </a:accent6>
      <a:hlink>
        <a:srgbClr val="000000"/>
      </a:hlink>
      <a:folHlink>
        <a:srgbClr val="000000"/>
      </a:folHlink>
    </a:clrScheme>
    <a:fontScheme name="Arial">
      <a:majorFont>
        <a:latin typeface="Arial" pitchFamily="0" charset="1"/>
        <a:ea typeface="Arial" pitchFamily="0" charset="1"/>
        <a:cs typeface="Arial" pitchFamily="0" charset="1"/>
      </a:majorFont>
      <a:minorFont>
        <a:latin typeface="Arial" pitchFamily="0" charset="1"/>
        <a:ea typeface="Arial" pitchFamily="0" charset="1"/>
        <a:cs typeface="Arial" pitchFamily="0" charset="1"/>
      </a:minorFont>
    </a:fontScheme>
    <a:fmtScheme>
      <a:fillStyleLst>
        <a:solidFill>
          <a:schemeClr val="phClr"/>
        </a:solidFill>
        <a:gradFill>
          <a:gsLst>
            <a:gs pos="0">
              <a:schemeClr val="phClr">
                <a:lumMod val="110000"/>
                <a:tint val="67000"/>
              </a:schemeClr>
            </a:gs>
            <a:gs pos="50000">
              <a:schemeClr val="phClr">
                <a:lumMod val="105000"/>
                <a:tint val="73000"/>
              </a:schemeClr>
            </a:gs>
            <a:gs pos="100000">
              <a:schemeClr val="phClr">
                <a:lumMod val="105000"/>
                <a:tint val="81000"/>
              </a:schemeClr>
            </a:gs>
          </a:gsLst>
          <a:lin ang="5400000" scaled="0"/>
          <a:tileRect l="0" t="0" r="0" b="0"/>
        </a:gradFill>
        <a:gradFill>
          <a:gsLst>
            <a:gs pos="0">
              <a:schemeClr val="phClr">
                <a:lumMod val="102000"/>
                <a:tint val="94000"/>
              </a:schemeClr>
            </a:gs>
            <a:gs pos="50000">
              <a:schemeClr val="phClr">
                <a:lumMod val="100000"/>
                <a:shade val="100000"/>
              </a:schemeClr>
            </a:gs>
            <a:gs pos="100000">
              <a:schemeClr val="phClr">
                <a:lumMod val="99000"/>
                <a:shade val="78000"/>
              </a:schemeClr>
            </a:gs>
          </a:gsLst>
          <a:lin ang="5400000" scaled="0"/>
          <a:tileRect l="0" t="0" r="0" b="0"/>
        </a:gradFill>
      </a:fillStyleLst>
      <a:lnStyleLst>
        <a:ln w="6350" cap="flat" cmpd="sng" algn="ctr">
          <a:prstDash val="solid"/>
          <a:miter lim="800000"/>
        </a:ln>
        <a:ln w="12700" cap="flat" cmpd="sng" algn="ctr">
          <a:prstDash val="solid"/>
          <a:miter lim="800000"/>
        </a:ln>
        <a:ln w="19050" cap="flat" cmpd="sng" algn="ctr">
          <a:prstDash val="solid"/>
          <a:miter lim="800000"/>
        </a:ln>
      </a:lnStyleLst>
      <a:effectStyleLst>
        <a:effectStyle>
          <a:effectLst/>
        </a:effectStyle>
        <a:effectStyle>
          <a:effectLst/>
        </a:effectStyle>
        <a:effectStyle>
          <a:effectLst/>
        </a:effectStyle>
      </a:effectStyleLst>
      <a:bgFillStyleLst>
        <a:solidFill>
          <a:schemeClr val="phClr"/>
        </a:solidFill>
        <a:solidFill>
          <a:schemeClr val="phClr">
            <a:tint val="95000"/>
          </a:schemeClr>
        </a:solidFill>
        <a:gradFill>
          <a:gsLst>
            <a:gs pos="0">
              <a:schemeClr val="phClr">
                <a:tint val="93000"/>
                <a:shade val="98000"/>
                <a:lumMod val="102000"/>
              </a:schemeClr>
            </a:gs>
            <a:gs pos="50000">
              <a:schemeClr val="phClr">
                <a:tint val="98000"/>
                <a:shade val="90000"/>
                <a:lumMod val="103000"/>
              </a:schemeClr>
            </a:gs>
            <a:gs pos="100000">
              <a:schemeClr val="phClr">
                <a:shade val="63000"/>
              </a:schemeClr>
            </a:gs>
          </a:gsLst>
          <a:lin ang="5400000" scaled="0"/>
          <a:tileRect l="0" t="0" r="0" b="0"/>
        </a:gradFill>
      </a:bgFillStyleLst>
    </a:fmtScheme>
  </a:themeElements>
</a:theme>
</file>

<file path=ppt/theme/theme8.xml><?xml version="1.0" encoding="utf-8"?>
<a:theme xmlns:a="http://schemas.openxmlformats.org/drawingml/2006/main" xmlns:r="http://schemas.openxmlformats.org/officeDocument/2006/relationships" name="DESY">
  <a:themeElements>
    <a:clrScheme name="DESY">
      <a:dk1>
        <a:srgbClr val="000000"/>
      </a:dk1>
      <a:lt1>
        <a:srgbClr val="ffffff"/>
      </a:lt1>
      <a:dk2>
        <a:srgbClr val="898d8d"/>
      </a:dk2>
      <a:lt2>
        <a:srgbClr val="b2b4b2"/>
      </a:lt2>
      <a:accent1>
        <a:srgbClr val="009fdf"/>
      </a:accent1>
      <a:accent2>
        <a:srgbClr val="f18f1f"/>
      </a:accent2>
      <a:accent3>
        <a:srgbClr val="004b7d"/>
      </a:accent3>
      <a:accent4>
        <a:srgbClr val="898d8d"/>
      </a:accent4>
      <a:accent5>
        <a:srgbClr val="b2b4b2"/>
      </a:accent5>
      <a:accent6>
        <a:srgbClr val="375e77"/>
      </a:accent6>
      <a:hlink>
        <a:srgbClr val="000000"/>
      </a:hlink>
      <a:folHlink>
        <a:srgbClr val="000000"/>
      </a:folHlink>
    </a:clrScheme>
    <a:fontScheme name="Arial">
      <a:majorFont>
        <a:latin typeface="Arial" pitchFamily="0" charset="1"/>
        <a:ea typeface="Arial" pitchFamily="0" charset="1"/>
        <a:cs typeface="Arial" pitchFamily="0" charset="1"/>
      </a:majorFont>
      <a:minorFont>
        <a:latin typeface="Arial" pitchFamily="0" charset="1"/>
        <a:ea typeface="Arial" pitchFamily="0" charset="1"/>
        <a:cs typeface="Arial" pitchFamily="0" charset="1"/>
      </a:minorFont>
    </a:fontScheme>
    <a:fmtScheme>
      <a:fillStyleLst>
        <a:solidFill>
          <a:schemeClr val="phClr"/>
        </a:solidFill>
        <a:gradFill>
          <a:gsLst>
            <a:gs pos="0">
              <a:schemeClr val="phClr">
                <a:lumMod val="110000"/>
                <a:tint val="67000"/>
              </a:schemeClr>
            </a:gs>
            <a:gs pos="50000">
              <a:schemeClr val="phClr">
                <a:lumMod val="105000"/>
                <a:tint val="73000"/>
              </a:schemeClr>
            </a:gs>
            <a:gs pos="100000">
              <a:schemeClr val="phClr">
                <a:lumMod val="105000"/>
                <a:tint val="81000"/>
              </a:schemeClr>
            </a:gs>
          </a:gsLst>
          <a:lin ang="5400000" scaled="0"/>
          <a:tileRect l="0" t="0" r="0" b="0"/>
        </a:gradFill>
        <a:gradFill>
          <a:gsLst>
            <a:gs pos="0">
              <a:schemeClr val="phClr">
                <a:lumMod val="102000"/>
                <a:tint val="94000"/>
              </a:schemeClr>
            </a:gs>
            <a:gs pos="50000">
              <a:schemeClr val="phClr">
                <a:lumMod val="100000"/>
                <a:shade val="100000"/>
              </a:schemeClr>
            </a:gs>
            <a:gs pos="100000">
              <a:schemeClr val="phClr">
                <a:lumMod val="99000"/>
                <a:shade val="78000"/>
              </a:schemeClr>
            </a:gs>
          </a:gsLst>
          <a:lin ang="5400000" scaled="0"/>
          <a:tileRect l="0" t="0" r="0" b="0"/>
        </a:gradFill>
      </a:fillStyleLst>
      <a:lnStyleLst>
        <a:ln w="6350" cap="flat" cmpd="sng" algn="ctr">
          <a:prstDash val="solid"/>
          <a:miter lim="800000"/>
        </a:ln>
        <a:ln w="12700" cap="flat" cmpd="sng" algn="ctr">
          <a:prstDash val="solid"/>
          <a:miter lim="800000"/>
        </a:ln>
        <a:ln w="19050" cap="flat" cmpd="sng" algn="ctr">
          <a:prstDash val="solid"/>
          <a:miter lim="800000"/>
        </a:ln>
      </a:lnStyleLst>
      <a:effectStyleLst>
        <a:effectStyle>
          <a:effectLst/>
        </a:effectStyle>
        <a:effectStyle>
          <a:effectLst/>
        </a:effectStyle>
        <a:effectStyle>
          <a:effectLst/>
        </a:effectStyle>
      </a:effectStyleLst>
      <a:bgFillStyleLst>
        <a:solidFill>
          <a:schemeClr val="phClr"/>
        </a:solidFill>
        <a:solidFill>
          <a:schemeClr val="phClr">
            <a:tint val="95000"/>
          </a:schemeClr>
        </a:solidFill>
        <a:gradFill>
          <a:gsLst>
            <a:gs pos="0">
              <a:schemeClr val="phClr">
                <a:tint val="93000"/>
                <a:shade val="98000"/>
                <a:lumMod val="102000"/>
              </a:schemeClr>
            </a:gs>
            <a:gs pos="50000">
              <a:schemeClr val="phClr">
                <a:tint val="98000"/>
                <a:shade val="90000"/>
                <a:lumMod val="103000"/>
              </a:schemeClr>
            </a:gs>
            <a:gs pos="100000">
              <a:schemeClr val="phClr">
                <a:shade val="63000"/>
              </a:schemeClr>
            </a:gs>
          </a:gsLst>
          <a:lin ang="5400000" scaled="0"/>
          <a:tileRect l="0" t="0" r="0" b="0"/>
        </a:gradFill>
      </a:bgFillStyleLst>
    </a:fmtScheme>
  </a:themeElements>
</a:theme>
</file>

<file path=ppt/theme/theme9.xml><?xml version="1.0" encoding="utf-8"?>
<a:theme xmlns:a="http://schemas.openxmlformats.org/drawingml/2006/main" xmlns:r="http://schemas.openxmlformats.org/officeDocument/2006/relationships" name="DESY">
  <a:themeElements>
    <a:clrScheme name="DESY">
      <a:dk1>
        <a:srgbClr val="000000"/>
      </a:dk1>
      <a:lt1>
        <a:srgbClr val="ffffff"/>
      </a:lt1>
      <a:dk2>
        <a:srgbClr val="898d8d"/>
      </a:dk2>
      <a:lt2>
        <a:srgbClr val="b2b4b2"/>
      </a:lt2>
      <a:accent1>
        <a:srgbClr val="009fdf"/>
      </a:accent1>
      <a:accent2>
        <a:srgbClr val="f18f1f"/>
      </a:accent2>
      <a:accent3>
        <a:srgbClr val="004b7d"/>
      </a:accent3>
      <a:accent4>
        <a:srgbClr val="898d8d"/>
      </a:accent4>
      <a:accent5>
        <a:srgbClr val="b2b4b2"/>
      </a:accent5>
      <a:accent6>
        <a:srgbClr val="375e77"/>
      </a:accent6>
      <a:hlink>
        <a:srgbClr val="000000"/>
      </a:hlink>
      <a:folHlink>
        <a:srgbClr val="000000"/>
      </a:folHlink>
    </a:clrScheme>
    <a:fontScheme name="Arial">
      <a:majorFont>
        <a:latin typeface="Arial" pitchFamily="0" charset="1"/>
        <a:ea typeface="Arial" pitchFamily="0" charset="1"/>
        <a:cs typeface="Arial" pitchFamily="0" charset="1"/>
      </a:majorFont>
      <a:minorFont>
        <a:latin typeface="Arial" pitchFamily="0" charset="1"/>
        <a:ea typeface="Arial" pitchFamily="0" charset="1"/>
        <a:cs typeface="Arial" pitchFamily="0" charset="1"/>
      </a:minorFont>
    </a:fontScheme>
    <a:fmtScheme>
      <a:fillStyleLst>
        <a:solidFill>
          <a:schemeClr val="phClr"/>
        </a:solidFill>
        <a:gradFill>
          <a:gsLst>
            <a:gs pos="0">
              <a:schemeClr val="phClr">
                <a:lumMod val="110000"/>
                <a:tint val="67000"/>
              </a:schemeClr>
            </a:gs>
            <a:gs pos="50000">
              <a:schemeClr val="phClr">
                <a:lumMod val="105000"/>
                <a:tint val="73000"/>
              </a:schemeClr>
            </a:gs>
            <a:gs pos="100000">
              <a:schemeClr val="phClr">
                <a:lumMod val="105000"/>
                <a:tint val="81000"/>
              </a:schemeClr>
            </a:gs>
          </a:gsLst>
          <a:lin ang="5400000" scaled="0"/>
          <a:tileRect l="0" t="0" r="0" b="0"/>
        </a:gradFill>
        <a:gradFill>
          <a:gsLst>
            <a:gs pos="0">
              <a:schemeClr val="phClr">
                <a:lumMod val="102000"/>
                <a:tint val="94000"/>
              </a:schemeClr>
            </a:gs>
            <a:gs pos="50000">
              <a:schemeClr val="phClr">
                <a:lumMod val="100000"/>
                <a:shade val="100000"/>
              </a:schemeClr>
            </a:gs>
            <a:gs pos="100000">
              <a:schemeClr val="phClr">
                <a:lumMod val="99000"/>
                <a:shade val="78000"/>
              </a:schemeClr>
            </a:gs>
          </a:gsLst>
          <a:lin ang="5400000" scaled="0"/>
          <a:tileRect l="0" t="0" r="0" b="0"/>
        </a:gradFill>
      </a:fillStyleLst>
      <a:lnStyleLst>
        <a:ln w="6350" cap="flat" cmpd="sng" algn="ctr">
          <a:prstDash val="solid"/>
          <a:miter lim="800000"/>
        </a:ln>
        <a:ln w="12700" cap="flat" cmpd="sng" algn="ctr">
          <a:prstDash val="solid"/>
          <a:miter lim="800000"/>
        </a:ln>
        <a:ln w="19050" cap="flat" cmpd="sng" algn="ctr">
          <a:prstDash val="solid"/>
          <a:miter lim="800000"/>
        </a:ln>
      </a:lnStyleLst>
      <a:effectStyleLst>
        <a:effectStyle>
          <a:effectLst/>
        </a:effectStyle>
        <a:effectStyle>
          <a:effectLst/>
        </a:effectStyle>
        <a:effectStyle>
          <a:effectLst/>
        </a:effectStyle>
      </a:effectStyleLst>
      <a:bgFillStyleLst>
        <a:solidFill>
          <a:schemeClr val="phClr"/>
        </a:solidFill>
        <a:solidFill>
          <a:schemeClr val="phClr">
            <a:tint val="95000"/>
          </a:schemeClr>
        </a:solidFill>
        <a:gradFill>
          <a:gsLst>
            <a:gs pos="0">
              <a:schemeClr val="phClr">
                <a:tint val="93000"/>
                <a:shade val="98000"/>
                <a:lumMod val="102000"/>
              </a:schemeClr>
            </a:gs>
            <a:gs pos="50000">
              <a:schemeClr val="phClr">
                <a:tint val="98000"/>
                <a:shade val="90000"/>
                <a:lumMod val="103000"/>
              </a:schemeClr>
            </a:gs>
            <a:gs pos="100000">
              <a:schemeClr val="phClr">
                <a:shade val="63000"/>
              </a:schemeClr>
            </a:gs>
          </a:gsLst>
          <a:lin ang="5400000" scaled="0"/>
          <a:tileRect l="0" t="0" r="0" b="0"/>
        </a:gradFill>
      </a:bgFillStyleLst>
    </a:fmtScheme>
  </a:themeElements>
</a:theme>
</file>

<file path=docProps/app.xml><?xml version="1.0" encoding="utf-8"?>
<Properties xmlns="http://schemas.openxmlformats.org/officeDocument/2006/extended-properties" xmlns:vt="http://schemas.openxmlformats.org/officeDocument/2006/docPropsVTypes">
  <Template/>
  <TotalTime>2044</TotalTime>
  <Application>Collabora_Office/24.04.8.4$Linux_X86_64 LibreOffice_project/445b0ec6accb93043fa7afda6e04d7940eac2863</Application>
  <AppVersion>15.0000</AppVersion>
  <Words>1426</Words>
  <Paragraphs>216</Paragraphs>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erms:created xsi:type="dcterms:W3CDTF">2018-01-19T12:29:50Z</dcterms:created>
  <dc:creator>Microsoft Office-Anwender</dc:creator>
  <dc:description/>
  <dc:language>en-US</dc:language>
  <cp:lastModifiedBy>BEATE HEINEMANN</cp:lastModifiedBy>
  <dcterms:modified xsi:type="dcterms:W3CDTF">2024-12-09T19:58:53Z</dcterms:modified>
  <cp:revision>1034</cp:revision>
  <dc:subject/>
  <dc:title>Präsentation Titel</dc:title>
</cp:coreProperties>
</file>

<file path=docProps/custom.xml><?xml version="1.0" encoding="utf-8"?>
<Properties xmlns="http://schemas.openxmlformats.org/officeDocument/2006/custom-properties" xmlns:vt="http://schemas.openxmlformats.org/officeDocument/2006/docPropsVTypes">
  <property fmtid="{D5CDD505-2E9C-101B-9397-08002B2CF9AE}" pid="2" name="Notes">
    <vt:r8>5</vt:r8>
  </property>
  <property fmtid="{D5CDD505-2E9C-101B-9397-08002B2CF9AE}" pid="3" name="PresentationFormat">
    <vt:lpwstr>Widescreen</vt:lpwstr>
  </property>
  <property fmtid="{D5CDD505-2E9C-101B-9397-08002B2CF9AE}" pid="4" name="Slides">
    <vt:r8>12</vt:r8>
  </property>
</Properties>
</file>